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wmf" ContentType="image/x-w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slides/slide67.xml" ContentType="application/vnd.openxmlformats-officedocument.presentationml.slide+xml"/>
  <Override PartName="/ppt/slides/slide68.xml" ContentType="application/vnd.openxmlformats-officedocument.presentationml.slide+xml"/>
  <Override PartName="/ppt/slides/slide69.xml" ContentType="application/vnd.openxmlformats-officedocument.presentationml.slide+xml"/>
  <Override PartName="/ppt/slides/slide70.xml" ContentType="application/vnd.openxmlformats-officedocument.presentationml.slide+xml"/>
  <Override PartName="/ppt/slides/slide71.xml" ContentType="application/vnd.openxmlformats-officedocument.presentationml.slide+xml"/>
  <Override PartName="/ppt/slides/slide72.xml" ContentType="application/vnd.openxmlformats-officedocument.presentationml.slide+xml"/>
  <Override PartName="/ppt/slides/slide73.xml" ContentType="application/vnd.openxmlformats-officedocument.presentationml.slide+xml"/>
  <Override PartName="/ppt/slides/slide74.xml" ContentType="application/vnd.openxmlformats-officedocument.presentationml.slide+xml"/>
  <Override PartName="/ppt/slides/slide75.xml" ContentType="application/vnd.openxmlformats-officedocument.presentationml.slide+xml"/>
  <Override PartName="/ppt/slides/slide76.xml" ContentType="application/vnd.openxmlformats-officedocument.presentationml.slide+xml"/>
  <Override PartName="/ppt/slides/slide77.xml" ContentType="application/vnd.openxmlformats-officedocument.presentationml.slide+xml"/>
  <Override PartName="/ppt/slides/slide78.xml" ContentType="application/vnd.openxmlformats-officedocument.presentationml.slide+xml"/>
  <Override PartName="/ppt/slides/slide79.xml" ContentType="application/vnd.openxmlformats-officedocument.presentationml.slide+xml"/>
  <Override PartName="/ppt/slides/slide80.xml" ContentType="application/vnd.openxmlformats-officedocument.presentationml.slide+xml"/>
  <Override PartName="/ppt/slides/slide81.xml" ContentType="application/vnd.openxmlformats-officedocument.presentationml.slide+xml"/>
  <Override PartName="/ppt/slides/slide82.xml" ContentType="application/vnd.openxmlformats-officedocument.presentationml.slide+xml"/>
  <Override PartName="/ppt/slides/slide83.xml" ContentType="application/vnd.openxmlformats-officedocument.presentationml.slide+xml"/>
  <Override PartName="/ppt/slides/slide84.xml" ContentType="application/vnd.openxmlformats-officedocument.presentationml.slide+xml"/>
  <Override PartName="/ppt/slides/slide85.xml" ContentType="application/vnd.openxmlformats-officedocument.presentationml.slide+xml"/>
  <Override PartName="/ppt/slides/slide86.xml" ContentType="application/vnd.openxmlformats-officedocument.presentationml.slide+xml"/>
  <Override PartName="/ppt/slides/slide87.xml" ContentType="application/vnd.openxmlformats-officedocument.presentationml.slide+xml"/>
  <Override PartName="/ppt/slides/slide88.xml" ContentType="application/vnd.openxmlformats-officedocument.presentationml.slide+xml"/>
  <Override PartName="/ppt/slides/slide89.xml" ContentType="application/vnd.openxmlformats-officedocument.presentationml.slide+xml"/>
  <Override PartName="/ppt/slides/slide90.xml" ContentType="application/vnd.openxmlformats-officedocument.presentationml.slide+xml"/>
  <Override PartName="/ppt/slides/slide91.xml" ContentType="application/vnd.openxmlformats-officedocument.presentationml.slide+xml"/>
  <Override PartName="/ppt/slides/slide92.xml" ContentType="application/vnd.openxmlformats-officedocument.presentationml.slide+xml"/>
  <Override PartName="/ppt/slides/slide93.xml" ContentType="application/vnd.openxmlformats-officedocument.presentationml.slide+xml"/>
  <Override PartName="/ppt/slides/slide94.xml" ContentType="application/vnd.openxmlformats-officedocument.presentationml.slide+xml"/>
  <Override PartName="/ppt/slides/slide95.xml" ContentType="application/vnd.openxmlformats-officedocument.presentationml.slide+xml"/>
  <Override PartName="/ppt/slides/slide96.xml" ContentType="application/vnd.openxmlformats-officedocument.presentationml.slide+xml"/>
  <Override PartName="/ppt/slides/slide97.xml" ContentType="application/vnd.openxmlformats-officedocument.presentationml.slide+xml"/>
  <Override PartName="/ppt/slides/slide98.xml" ContentType="application/vnd.openxmlformats-officedocument.presentationml.slide+xml"/>
  <Override PartName="/ppt/slides/slide99.xml" ContentType="application/vnd.openxmlformats-officedocument.presentationml.slide+xml"/>
  <Override PartName="/ppt/slides/slide100.xml" ContentType="application/vnd.openxmlformats-officedocument.presentationml.slide+xml"/>
  <Override PartName="/ppt/slides/slide101.xml" ContentType="application/vnd.openxmlformats-officedocument.presentationml.slide+xml"/>
  <Override PartName="/ppt/slides/slide102.xml" ContentType="application/vnd.openxmlformats-officedocument.presentationml.slide+xml"/>
  <Override PartName="/ppt/slides/slide103.xml" ContentType="application/vnd.openxmlformats-officedocument.presentationml.slide+xml"/>
  <Override PartName="/ppt/slides/slide104.xml" ContentType="application/vnd.openxmlformats-officedocument.presentationml.slide+xml"/>
  <Override PartName="/ppt/slides/slide105.xml" ContentType="application/vnd.openxmlformats-officedocument.presentationml.slide+xml"/>
  <Override PartName="/ppt/slides/slide106.xml" ContentType="application/vnd.openxmlformats-officedocument.presentationml.slide+xml"/>
  <Override PartName="/ppt/slides/slide107.xml" ContentType="application/vnd.openxmlformats-officedocument.presentationml.slide+xml"/>
  <Override PartName="/ppt/slides/slide108.xml" ContentType="application/vnd.openxmlformats-officedocument.presentationml.slide+xml"/>
  <Override PartName="/ppt/slides/slide109.xml" ContentType="application/vnd.openxmlformats-officedocument.presentationml.slide+xml"/>
  <Override PartName="/ppt/slides/slide110.xml" ContentType="application/vnd.openxmlformats-officedocument.presentationml.slide+xml"/>
  <Override PartName="/ppt/slides/slide111.xml" ContentType="application/vnd.openxmlformats-officedocument.presentationml.slide+xml"/>
  <Override PartName="/ppt/slides/slide112.xml" ContentType="application/vnd.openxmlformats-officedocument.presentationml.slide+xml"/>
  <Override PartName="/ppt/slides/slide113.xml" ContentType="application/vnd.openxmlformats-officedocument.presentationml.slide+xml"/>
  <Override PartName="/ppt/slides/slide114.xml" ContentType="application/vnd.openxmlformats-officedocument.presentationml.slide+xml"/>
  <Override PartName="/ppt/slides/slide115.xml" ContentType="application/vnd.openxmlformats-officedocument.presentationml.slide+xml"/>
  <Override PartName="/ppt/slides/slide116.xml" ContentType="application/vnd.openxmlformats-officedocument.presentationml.slide+xml"/>
  <Override PartName="/ppt/slides/slide11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charts/chart3.xml" ContentType="application/vnd.openxmlformats-officedocument.drawingml.chart+xml"/>
  <Override PartName="/ppt/charts/chart4.xml" ContentType="application/vnd.openxmlformats-officedocument.drawingml.chart+xml"/>
  <Override PartName="/ppt/charts/chart5.xml" ContentType="application/vnd.openxmlformats-officedocument.drawingml.chart+xml"/>
  <Override PartName="/ppt/notesSlides/notesSlide4.xml" ContentType="application/vnd.openxmlformats-officedocument.presentationml.notesSlide+xml"/>
  <Override PartName="/ppt/charts/chart6.xml" ContentType="application/vnd.openxmlformats-officedocument.drawingml.chart+xml"/>
  <Override PartName="/ppt/charts/chart7.xml" ContentType="application/vnd.openxmlformats-officedocument.drawingml.chart+xml"/>
  <Override PartName="/ppt/charts/chart8.xml" ContentType="application/vnd.openxmlformats-officedocument.drawingml.chart+xml"/>
  <Override PartName="/ppt/charts/chart9.xml" ContentType="application/vnd.openxmlformats-officedocument.drawingml.chart+xml"/>
  <Override PartName="/ppt/charts/chart10.xml" ContentType="application/vnd.openxmlformats-officedocument.drawingml.chart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charts/chart11.xml" ContentType="application/vnd.openxmlformats-officedocument.drawingml.chart+xml"/>
  <Override PartName="/ppt/theme/themeOverride1.xml" ContentType="application/vnd.openxmlformats-officedocument.themeOverride+xml"/>
  <Override PartName="/ppt/charts/chart12.xml" ContentType="application/vnd.openxmlformats-officedocument.drawingml.chart+xml"/>
  <Override PartName="/ppt/charts/chart13.xml" ContentType="application/vnd.openxmlformats-officedocument.drawingml.chart+xml"/>
  <Override PartName="/ppt/charts/chart14.xml" ContentType="application/vnd.openxmlformats-officedocument.drawingml.chart+xml"/>
  <Override PartName="/ppt/charts/chart15.xml" ContentType="application/vnd.openxmlformats-officedocument.drawingml.chart+xml"/>
  <Override PartName="/ppt/charts/chart16.xml" ContentType="application/vnd.openxmlformats-officedocument.drawingml.chart+xml"/>
  <Override PartName="/ppt/charts/chart17.xml" ContentType="application/vnd.openxmlformats-officedocument.drawingml.chart+xml"/>
  <Override PartName="/ppt/charts/chart18.xml" ContentType="application/vnd.openxmlformats-officedocument.drawingml.chart+xml"/>
  <Override PartName="/ppt/charts/chart19.xml" ContentType="application/vnd.openxmlformats-officedocument.drawingml.chart+xml"/>
  <Override PartName="/ppt/charts/chart20.xml" ContentType="application/vnd.openxmlformats-officedocument.drawingml.chart+xml"/>
  <Override PartName="/ppt/charts/chart21.xml" ContentType="application/vnd.openxmlformats-officedocument.drawingml.chart+xml"/>
  <Override PartName="/ppt/charts/chart22.xml" ContentType="application/vnd.openxmlformats-officedocument.drawingml.chart+xml"/>
  <Override PartName="/ppt/charts/chart23.xml" ContentType="application/vnd.openxmlformats-officedocument.drawingml.chart+xml"/>
  <Override PartName="/ppt/charts/chart24.xml" ContentType="application/vnd.openxmlformats-officedocument.drawingml.chart+xml"/>
  <Override PartName="/ppt/charts/chart25.xml" ContentType="application/vnd.openxmlformats-officedocument.drawingml.chart+xml"/>
  <Override PartName="/ppt/charts/chart26.xml" ContentType="application/vnd.openxmlformats-officedocument.drawingml.chart+xml"/>
  <Override PartName="/ppt/charts/chart27.xml" ContentType="application/vnd.openxmlformats-officedocument.drawingml.chart+xml"/>
  <Override PartName="/ppt/charts/chart28.xml" ContentType="application/vnd.openxmlformats-officedocument.drawingml.chart+xml"/>
  <Override PartName="/ppt/notesSlides/notesSlide9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ppt/charts/colors2.xml" ContentType="application/vnd.ms-office.chartcolorstyle+xml"/>
  <Override PartName="/ppt/charts/style2.xml" ContentType="application/vnd.ms-office.chartstyle+xml"/>
  <Override PartName="/ppt/charts/colors3.xml" ContentType="application/vnd.ms-office.chartcolorstyle+xml"/>
  <Override PartName="/ppt/charts/style3.xml" ContentType="application/vnd.ms-office.chartstyle+xml"/>
  <Override PartName="/ppt/charts/colors4.xml" ContentType="application/vnd.ms-office.chartcolorstyle+xml"/>
  <Override PartName="/ppt/charts/style4.xml" ContentType="application/vnd.ms-office.chartstyle+xml"/>
  <Override PartName="/ppt/charts/colors5.xml" ContentType="application/vnd.ms-office.chartcolorstyle+xml"/>
  <Override PartName="/ppt/charts/style5.xml" ContentType="application/vnd.ms-office.chartstyle+xml"/>
  <Override PartName="/ppt/charts/colors6.xml" ContentType="application/vnd.ms-office.chartcolorstyle+xml"/>
  <Override PartName="/ppt/charts/style6.xml" ContentType="application/vnd.ms-office.chartstyle+xml"/>
  <Override PartName="/ppt/charts/colors7.xml" ContentType="application/vnd.ms-office.chartcolorstyle+xml"/>
  <Override PartName="/ppt/charts/style7.xml" ContentType="application/vnd.ms-office.chartstyle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44" r:id="rId1"/>
  </p:sldMasterIdLst>
  <p:notesMasterIdLst>
    <p:notesMasterId r:id="rId119"/>
  </p:notesMasterIdLst>
  <p:handoutMasterIdLst>
    <p:handoutMasterId r:id="rId120"/>
  </p:handoutMasterIdLst>
  <p:sldIdLst>
    <p:sldId id="405" r:id="rId2"/>
    <p:sldId id="650" r:id="rId3"/>
    <p:sldId id="450" r:id="rId4"/>
    <p:sldId id="629" r:id="rId5"/>
    <p:sldId id="630" r:id="rId6"/>
    <p:sldId id="633" r:id="rId7"/>
    <p:sldId id="632" r:id="rId8"/>
    <p:sldId id="452" r:id="rId9"/>
    <p:sldId id="641" r:id="rId10"/>
    <p:sldId id="642" r:id="rId11"/>
    <p:sldId id="643" r:id="rId12"/>
    <p:sldId id="645" r:id="rId13"/>
    <p:sldId id="646" r:id="rId14"/>
    <p:sldId id="647" r:id="rId15"/>
    <p:sldId id="648" r:id="rId16"/>
    <p:sldId id="655" r:id="rId17"/>
    <p:sldId id="458" r:id="rId18"/>
    <p:sldId id="634" r:id="rId19"/>
    <p:sldId id="635" r:id="rId20"/>
    <p:sldId id="636" r:id="rId21"/>
    <p:sldId id="637" r:id="rId22"/>
    <p:sldId id="638" r:id="rId23"/>
    <p:sldId id="639" r:id="rId24"/>
    <p:sldId id="640" r:id="rId25"/>
    <p:sldId id="413" r:id="rId26"/>
    <p:sldId id="414" r:id="rId27"/>
    <p:sldId id="627" r:id="rId28"/>
    <p:sldId id="407" r:id="rId29"/>
    <p:sldId id="409" r:id="rId30"/>
    <p:sldId id="410" r:id="rId31"/>
    <p:sldId id="411" r:id="rId32"/>
    <p:sldId id="412" r:id="rId33"/>
    <p:sldId id="415" r:id="rId34"/>
    <p:sldId id="416" r:id="rId35"/>
    <p:sldId id="417" r:id="rId36"/>
    <p:sldId id="418" r:id="rId37"/>
    <p:sldId id="419" r:id="rId38"/>
    <p:sldId id="420" r:id="rId39"/>
    <p:sldId id="421" r:id="rId40"/>
    <p:sldId id="422" r:id="rId41"/>
    <p:sldId id="423" r:id="rId42"/>
    <p:sldId id="424" r:id="rId43"/>
    <p:sldId id="425" r:id="rId44"/>
    <p:sldId id="426" r:id="rId45"/>
    <p:sldId id="651" r:id="rId46"/>
    <p:sldId id="652" r:id="rId47"/>
    <p:sldId id="653" r:id="rId48"/>
    <p:sldId id="654" r:id="rId49"/>
    <p:sldId id="649" r:id="rId50"/>
    <p:sldId id="656" r:id="rId51"/>
    <p:sldId id="657" r:id="rId52"/>
    <p:sldId id="538" r:id="rId53"/>
    <p:sldId id="539" r:id="rId54"/>
    <p:sldId id="541" r:id="rId55"/>
    <p:sldId id="540" r:id="rId56"/>
    <p:sldId id="542" r:id="rId57"/>
    <p:sldId id="543" r:id="rId58"/>
    <p:sldId id="544" r:id="rId59"/>
    <p:sldId id="545" r:id="rId60"/>
    <p:sldId id="548" r:id="rId61"/>
    <p:sldId id="549" r:id="rId62"/>
    <p:sldId id="550" r:id="rId63"/>
    <p:sldId id="551" r:id="rId64"/>
    <p:sldId id="554" r:id="rId65"/>
    <p:sldId id="556" r:id="rId66"/>
    <p:sldId id="558" r:id="rId67"/>
    <p:sldId id="559" r:id="rId68"/>
    <p:sldId id="560" r:id="rId69"/>
    <p:sldId id="561" r:id="rId70"/>
    <p:sldId id="562" r:id="rId71"/>
    <p:sldId id="564" r:id="rId72"/>
    <p:sldId id="574" r:id="rId73"/>
    <p:sldId id="575" r:id="rId74"/>
    <p:sldId id="576" r:id="rId75"/>
    <p:sldId id="577" r:id="rId76"/>
    <p:sldId id="578" r:id="rId77"/>
    <p:sldId id="579" r:id="rId78"/>
    <p:sldId id="580" r:id="rId79"/>
    <p:sldId id="582" r:id="rId80"/>
    <p:sldId id="583" r:id="rId81"/>
    <p:sldId id="584" r:id="rId82"/>
    <p:sldId id="591" r:id="rId83"/>
    <p:sldId id="592" r:id="rId84"/>
    <p:sldId id="593" r:id="rId85"/>
    <p:sldId id="594" r:id="rId86"/>
    <p:sldId id="595" r:id="rId87"/>
    <p:sldId id="596" r:id="rId88"/>
    <p:sldId id="597" r:id="rId89"/>
    <p:sldId id="598" r:id="rId90"/>
    <p:sldId id="599" r:id="rId91"/>
    <p:sldId id="601" r:id="rId92"/>
    <p:sldId id="602" r:id="rId93"/>
    <p:sldId id="603" r:id="rId94"/>
    <p:sldId id="604" r:id="rId95"/>
    <p:sldId id="605" r:id="rId96"/>
    <p:sldId id="606" r:id="rId97"/>
    <p:sldId id="607" r:id="rId98"/>
    <p:sldId id="608" r:id="rId99"/>
    <p:sldId id="609" r:id="rId100"/>
    <p:sldId id="610" r:id="rId101"/>
    <p:sldId id="611" r:id="rId102"/>
    <p:sldId id="612" r:id="rId103"/>
    <p:sldId id="613" r:id="rId104"/>
    <p:sldId id="614" r:id="rId105"/>
    <p:sldId id="615" r:id="rId106"/>
    <p:sldId id="616" r:id="rId107"/>
    <p:sldId id="617" r:id="rId108"/>
    <p:sldId id="618" r:id="rId109"/>
    <p:sldId id="619" r:id="rId110"/>
    <p:sldId id="620" r:id="rId111"/>
    <p:sldId id="621" r:id="rId112"/>
    <p:sldId id="622" r:id="rId113"/>
    <p:sldId id="623" r:id="rId114"/>
    <p:sldId id="624" r:id="rId115"/>
    <p:sldId id="625" r:id="rId116"/>
    <p:sldId id="626" r:id="rId117"/>
    <p:sldId id="628" r:id="rId118"/>
  </p:sldIdLst>
  <p:sldSz cx="9144000" cy="6858000" type="screen4x3"/>
  <p:notesSz cx="6858000" cy="9144000"/>
  <p:defaultTextStyle>
    <a:defPPr>
      <a:defRPr lang="pt-B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618" userDrawn="1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66FF66"/>
    <a:srgbClr val="FF9900"/>
    <a:srgbClr val="008000"/>
    <a:srgbClr val="800080"/>
    <a:srgbClr val="CC9900"/>
    <a:srgbClr val="D8EEC0"/>
    <a:srgbClr val="046831"/>
    <a:srgbClr val="FF006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37CE84F3-28C3-443E-9E96-99CF82512B78}" styleName="Estilo Escuro 1 - Ênfase 2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wholeTbl>
    <a:band1H>
      <a:tcStyle>
        <a:tcBdr/>
        <a:fill>
          <a:solidFill>
            <a:schemeClr val="accent2">
              <a:shade val="60000"/>
            </a:schemeClr>
          </a:solidFill>
        </a:fill>
      </a:tcStyle>
    </a:band1H>
    <a:band1V>
      <a:tcStyle>
        <a:tcBdr/>
        <a:fill>
          <a:solidFill>
            <a:schemeClr val="accent2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2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2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2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284E427A-3D55-4303-BF80-6455036E1DE7}" styleName="Estilo com Tema 1 - Ênfase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5C22544A-7EE6-4342-B048-85BDC9FD1C3A}" styleName="Estilo Médio 2 - Ênfase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Estilo Médio 2 - Ênfas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005" autoAdjust="0"/>
    <p:restoredTop sz="92233" autoAdjust="0"/>
  </p:normalViewPr>
  <p:slideViewPr>
    <p:cSldViewPr showGuides="1">
      <p:cViewPr>
        <p:scale>
          <a:sx n="40" d="100"/>
          <a:sy n="40" d="100"/>
        </p:scale>
        <p:origin x="-1974" y="-486"/>
      </p:cViewPr>
      <p:guideLst>
        <p:guide orient="horz" pos="754"/>
        <p:guide pos="657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60" d="100"/>
        <a:sy n="60" d="100"/>
      </p:scale>
      <p:origin x="0" y="9144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25.xml"/><Relationship Id="rId117" Type="http://schemas.openxmlformats.org/officeDocument/2006/relationships/slide" Target="slides/slide116.xml"/><Relationship Id="rId21" Type="http://schemas.openxmlformats.org/officeDocument/2006/relationships/slide" Target="slides/slide20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63" Type="http://schemas.openxmlformats.org/officeDocument/2006/relationships/slide" Target="slides/slide62.xml"/><Relationship Id="rId68" Type="http://schemas.openxmlformats.org/officeDocument/2006/relationships/slide" Target="slides/slide67.xml"/><Relationship Id="rId84" Type="http://schemas.openxmlformats.org/officeDocument/2006/relationships/slide" Target="slides/slide83.xml"/><Relationship Id="rId89" Type="http://schemas.openxmlformats.org/officeDocument/2006/relationships/slide" Target="slides/slide88.xml"/><Relationship Id="rId112" Type="http://schemas.openxmlformats.org/officeDocument/2006/relationships/slide" Target="slides/slide111.xml"/><Relationship Id="rId16" Type="http://schemas.openxmlformats.org/officeDocument/2006/relationships/slide" Target="slides/slide15.xml"/><Relationship Id="rId107" Type="http://schemas.openxmlformats.org/officeDocument/2006/relationships/slide" Target="slides/slide106.xml"/><Relationship Id="rId11" Type="http://schemas.openxmlformats.org/officeDocument/2006/relationships/slide" Target="slides/slide10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53" Type="http://schemas.openxmlformats.org/officeDocument/2006/relationships/slide" Target="slides/slide52.xml"/><Relationship Id="rId58" Type="http://schemas.openxmlformats.org/officeDocument/2006/relationships/slide" Target="slides/slide57.xml"/><Relationship Id="rId74" Type="http://schemas.openxmlformats.org/officeDocument/2006/relationships/slide" Target="slides/slide73.xml"/><Relationship Id="rId79" Type="http://schemas.openxmlformats.org/officeDocument/2006/relationships/slide" Target="slides/slide78.xml"/><Relationship Id="rId102" Type="http://schemas.openxmlformats.org/officeDocument/2006/relationships/slide" Target="slides/slide101.xml"/><Relationship Id="rId123" Type="http://schemas.openxmlformats.org/officeDocument/2006/relationships/theme" Target="theme/theme1.xml"/><Relationship Id="rId5" Type="http://schemas.openxmlformats.org/officeDocument/2006/relationships/slide" Target="slides/slide4.xml"/><Relationship Id="rId61" Type="http://schemas.openxmlformats.org/officeDocument/2006/relationships/slide" Target="slides/slide60.xml"/><Relationship Id="rId82" Type="http://schemas.openxmlformats.org/officeDocument/2006/relationships/slide" Target="slides/slide81.xml"/><Relationship Id="rId90" Type="http://schemas.openxmlformats.org/officeDocument/2006/relationships/slide" Target="slides/slide89.xml"/><Relationship Id="rId95" Type="http://schemas.openxmlformats.org/officeDocument/2006/relationships/slide" Target="slides/slide94.xml"/><Relationship Id="rId19" Type="http://schemas.openxmlformats.org/officeDocument/2006/relationships/slide" Target="slides/slide1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56" Type="http://schemas.openxmlformats.org/officeDocument/2006/relationships/slide" Target="slides/slide55.xml"/><Relationship Id="rId64" Type="http://schemas.openxmlformats.org/officeDocument/2006/relationships/slide" Target="slides/slide63.xml"/><Relationship Id="rId69" Type="http://schemas.openxmlformats.org/officeDocument/2006/relationships/slide" Target="slides/slide68.xml"/><Relationship Id="rId77" Type="http://schemas.openxmlformats.org/officeDocument/2006/relationships/slide" Target="slides/slide76.xml"/><Relationship Id="rId100" Type="http://schemas.openxmlformats.org/officeDocument/2006/relationships/slide" Target="slides/slide99.xml"/><Relationship Id="rId105" Type="http://schemas.openxmlformats.org/officeDocument/2006/relationships/slide" Target="slides/slide104.xml"/><Relationship Id="rId113" Type="http://schemas.openxmlformats.org/officeDocument/2006/relationships/slide" Target="slides/slide112.xml"/><Relationship Id="rId118" Type="http://schemas.openxmlformats.org/officeDocument/2006/relationships/slide" Target="slides/slide117.xml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72" Type="http://schemas.openxmlformats.org/officeDocument/2006/relationships/slide" Target="slides/slide71.xml"/><Relationship Id="rId80" Type="http://schemas.openxmlformats.org/officeDocument/2006/relationships/slide" Target="slides/slide79.xml"/><Relationship Id="rId85" Type="http://schemas.openxmlformats.org/officeDocument/2006/relationships/slide" Target="slides/slide84.xml"/><Relationship Id="rId93" Type="http://schemas.openxmlformats.org/officeDocument/2006/relationships/slide" Target="slides/slide92.xml"/><Relationship Id="rId98" Type="http://schemas.openxmlformats.org/officeDocument/2006/relationships/slide" Target="slides/slide97.xml"/><Relationship Id="rId121" Type="http://schemas.openxmlformats.org/officeDocument/2006/relationships/presProps" Target="presProps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59" Type="http://schemas.openxmlformats.org/officeDocument/2006/relationships/slide" Target="slides/slide58.xml"/><Relationship Id="rId67" Type="http://schemas.openxmlformats.org/officeDocument/2006/relationships/slide" Target="slides/slide66.xml"/><Relationship Id="rId103" Type="http://schemas.openxmlformats.org/officeDocument/2006/relationships/slide" Target="slides/slide102.xml"/><Relationship Id="rId108" Type="http://schemas.openxmlformats.org/officeDocument/2006/relationships/slide" Target="slides/slide107.xml"/><Relationship Id="rId116" Type="http://schemas.openxmlformats.org/officeDocument/2006/relationships/slide" Target="slides/slide115.xml"/><Relationship Id="rId124" Type="http://schemas.openxmlformats.org/officeDocument/2006/relationships/tableStyles" Target="tableStyles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54" Type="http://schemas.openxmlformats.org/officeDocument/2006/relationships/slide" Target="slides/slide53.xml"/><Relationship Id="rId62" Type="http://schemas.openxmlformats.org/officeDocument/2006/relationships/slide" Target="slides/slide61.xml"/><Relationship Id="rId70" Type="http://schemas.openxmlformats.org/officeDocument/2006/relationships/slide" Target="slides/slide69.xml"/><Relationship Id="rId75" Type="http://schemas.openxmlformats.org/officeDocument/2006/relationships/slide" Target="slides/slide74.xml"/><Relationship Id="rId83" Type="http://schemas.openxmlformats.org/officeDocument/2006/relationships/slide" Target="slides/slide82.xml"/><Relationship Id="rId88" Type="http://schemas.openxmlformats.org/officeDocument/2006/relationships/slide" Target="slides/slide87.xml"/><Relationship Id="rId91" Type="http://schemas.openxmlformats.org/officeDocument/2006/relationships/slide" Target="slides/slide90.xml"/><Relationship Id="rId96" Type="http://schemas.openxmlformats.org/officeDocument/2006/relationships/slide" Target="slides/slide95.xml"/><Relationship Id="rId111" Type="http://schemas.openxmlformats.org/officeDocument/2006/relationships/slide" Target="slides/slide110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Relationship Id="rId57" Type="http://schemas.openxmlformats.org/officeDocument/2006/relationships/slide" Target="slides/slide56.xml"/><Relationship Id="rId106" Type="http://schemas.openxmlformats.org/officeDocument/2006/relationships/slide" Target="slides/slide105.xml"/><Relationship Id="rId114" Type="http://schemas.openxmlformats.org/officeDocument/2006/relationships/slide" Target="slides/slide113.xml"/><Relationship Id="rId119" Type="http://schemas.openxmlformats.org/officeDocument/2006/relationships/notesMaster" Target="notesMasters/notesMaster1.xml"/><Relationship Id="rId10" Type="http://schemas.openxmlformats.org/officeDocument/2006/relationships/slide" Target="slides/slide9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slide" Target="slides/slide51.xml"/><Relationship Id="rId60" Type="http://schemas.openxmlformats.org/officeDocument/2006/relationships/slide" Target="slides/slide59.xml"/><Relationship Id="rId65" Type="http://schemas.openxmlformats.org/officeDocument/2006/relationships/slide" Target="slides/slide64.xml"/><Relationship Id="rId73" Type="http://schemas.openxmlformats.org/officeDocument/2006/relationships/slide" Target="slides/slide72.xml"/><Relationship Id="rId78" Type="http://schemas.openxmlformats.org/officeDocument/2006/relationships/slide" Target="slides/slide77.xml"/><Relationship Id="rId81" Type="http://schemas.openxmlformats.org/officeDocument/2006/relationships/slide" Target="slides/slide80.xml"/><Relationship Id="rId86" Type="http://schemas.openxmlformats.org/officeDocument/2006/relationships/slide" Target="slides/slide85.xml"/><Relationship Id="rId94" Type="http://schemas.openxmlformats.org/officeDocument/2006/relationships/slide" Target="slides/slide93.xml"/><Relationship Id="rId99" Type="http://schemas.openxmlformats.org/officeDocument/2006/relationships/slide" Target="slides/slide98.xml"/><Relationship Id="rId101" Type="http://schemas.openxmlformats.org/officeDocument/2006/relationships/slide" Target="slides/slide100.xml"/><Relationship Id="rId122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9" Type="http://schemas.openxmlformats.org/officeDocument/2006/relationships/slide" Target="slides/slide38.xml"/><Relationship Id="rId109" Type="http://schemas.openxmlformats.org/officeDocument/2006/relationships/slide" Target="slides/slide108.xml"/><Relationship Id="rId34" Type="http://schemas.openxmlformats.org/officeDocument/2006/relationships/slide" Target="slides/slide33.xml"/><Relationship Id="rId50" Type="http://schemas.openxmlformats.org/officeDocument/2006/relationships/slide" Target="slides/slide49.xml"/><Relationship Id="rId55" Type="http://schemas.openxmlformats.org/officeDocument/2006/relationships/slide" Target="slides/slide54.xml"/><Relationship Id="rId76" Type="http://schemas.openxmlformats.org/officeDocument/2006/relationships/slide" Target="slides/slide75.xml"/><Relationship Id="rId97" Type="http://schemas.openxmlformats.org/officeDocument/2006/relationships/slide" Target="slides/slide96.xml"/><Relationship Id="rId104" Type="http://schemas.openxmlformats.org/officeDocument/2006/relationships/slide" Target="slides/slide103.xml"/><Relationship Id="rId120" Type="http://schemas.openxmlformats.org/officeDocument/2006/relationships/handoutMaster" Target="handoutMasters/handoutMaster1.xml"/><Relationship Id="rId7" Type="http://schemas.openxmlformats.org/officeDocument/2006/relationships/slide" Target="slides/slide6.xml"/><Relationship Id="rId71" Type="http://schemas.openxmlformats.org/officeDocument/2006/relationships/slide" Target="slides/slide70.xml"/><Relationship Id="rId92" Type="http://schemas.openxmlformats.org/officeDocument/2006/relationships/slide" Target="slides/slide91.xml"/><Relationship Id="rId2" Type="http://schemas.openxmlformats.org/officeDocument/2006/relationships/slide" Target="slides/slide1.xml"/><Relationship Id="rId29" Type="http://schemas.openxmlformats.org/officeDocument/2006/relationships/slide" Target="slides/slide28.xml"/><Relationship Id="rId24" Type="http://schemas.openxmlformats.org/officeDocument/2006/relationships/slide" Target="slides/slide23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66" Type="http://schemas.openxmlformats.org/officeDocument/2006/relationships/slide" Target="slides/slide65.xml"/><Relationship Id="rId87" Type="http://schemas.openxmlformats.org/officeDocument/2006/relationships/slide" Target="slides/slide86.xml"/><Relationship Id="rId110" Type="http://schemas.openxmlformats.org/officeDocument/2006/relationships/slide" Target="slides/slide109.xml"/><Relationship Id="rId115" Type="http://schemas.openxmlformats.org/officeDocument/2006/relationships/slide" Target="slides/slide114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Planilha_do_Microsoft_Excel1.xlsx"/></Relationships>
</file>

<file path=ppt/charts/_rels/chart1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Planilha_do_Microsoft_Excel10.xlsx"/></Relationships>
</file>

<file path=ppt/charts/_rels/chart11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Planilha_do_Microsoft_Excel11.xlsx"/><Relationship Id="rId1" Type="http://schemas.openxmlformats.org/officeDocument/2006/relationships/themeOverride" Target="../theme/themeOverride1.xml"/></Relationships>
</file>

<file path=ppt/charts/_rels/chart12.xml.rels><?xml version="1.0" encoding="UTF-8" standalone="yes"?>
<Relationships xmlns="http://schemas.openxmlformats.org/package/2006/relationships"><Relationship Id="rId3" Type="http://schemas.microsoft.com/office/2011/relationships/chartStyle" Target="style2.xml"/><Relationship Id="rId2" Type="http://schemas.microsoft.com/office/2011/relationships/chartColorStyle" Target="colors2.xml"/><Relationship Id="rId1" Type="http://schemas.openxmlformats.org/officeDocument/2006/relationships/package" Target="../embeddings/Planilha_do_Microsoft_Excel12.xlsx"/></Relationships>
</file>

<file path=ppt/charts/_rels/chart13.xml.rels><?xml version="1.0" encoding="UTF-8" standalone="yes"?>
<Relationships xmlns="http://schemas.openxmlformats.org/package/2006/relationships"><Relationship Id="rId3" Type="http://schemas.microsoft.com/office/2011/relationships/chartStyle" Target="style3.xml"/><Relationship Id="rId2" Type="http://schemas.microsoft.com/office/2011/relationships/chartColorStyle" Target="colors3.xml"/><Relationship Id="rId1" Type="http://schemas.openxmlformats.org/officeDocument/2006/relationships/package" Target="../embeddings/Planilha_do_Microsoft_Excel13.xlsx"/></Relationships>
</file>

<file path=ppt/charts/_rels/chart14.xml.rels><?xml version="1.0" encoding="UTF-8" standalone="yes"?>
<Relationships xmlns="http://schemas.openxmlformats.org/package/2006/relationships"><Relationship Id="rId3" Type="http://schemas.microsoft.com/office/2011/relationships/chartStyle" Target="style4.xml"/><Relationship Id="rId2" Type="http://schemas.microsoft.com/office/2011/relationships/chartColorStyle" Target="colors4.xml"/><Relationship Id="rId1" Type="http://schemas.openxmlformats.org/officeDocument/2006/relationships/package" Target="../embeddings/Planilha_do_Microsoft_Excel14.xlsx"/></Relationships>
</file>

<file path=ppt/charts/_rels/chart1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Planilha_do_Microsoft_Excel15.xlsx"/></Relationships>
</file>

<file path=ppt/charts/_rels/chart16.xml.rels><?xml version="1.0" encoding="UTF-8" standalone="yes"?>
<Relationships xmlns="http://schemas.openxmlformats.org/package/2006/relationships"><Relationship Id="rId3" Type="http://schemas.microsoft.com/office/2011/relationships/chartStyle" Target="style5.xml"/><Relationship Id="rId2" Type="http://schemas.microsoft.com/office/2011/relationships/chartColorStyle" Target="colors5.xml"/><Relationship Id="rId1" Type="http://schemas.openxmlformats.org/officeDocument/2006/relationships/package" Target="../embeddings/Planilha_do_Microsoft_Excel16.xlsx"/></Relationships>
</file>

<file path=ppt/charts/_rels/chart1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Planilha_do_Microsoft_Excel17.xlsx"/></Relationships>
</file>

<file path=ppt/charts/_rels/chart1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Planilha_do_Microsoft_Excel18.xlsx"/></Relationships>
</file>

<file path=ppt/charts/_rels/chart1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Planilha_do_Microsoft_Excel19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Planilha_do_Microsoft_Excel2.xlsx"/></Relationships>
</file>

<file path=ppt/charts/_rels/chart2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Planilha_do_Microsoft_Excel20.xlsx"/></Relationships>
</file>

<file path=ppt/charts/_rels/chart21.xml.rels><?xml version="1.0" encoding="UTF-8" standalone="yes"?>
<Relationships xmlns="http://schemas.openxmlformats.org/package/2006/relationships"><Relationship Id="rId3" Type="http://schemas.microsoft.com/office/2011/relationships/chartStyle" Target="style6.xml"/><Relationship Id="rId2" Type="http://schemas.microsoft.com/office/2011/relationships/chartColorStyle" Target="colors6.xml"/><Relationship Id="rId1" Type="http://schemas.openxmlformats.org/officeDocument/2006/relationships/package" Target="../embeddings/Planilha_do_Microsoft_Excel21.xlsx"/></Relationships>
</file>

<file path=ppt/charts/_rels/chart22.xml.rels><?xml version="1.0" encoding="UTF-8" standalone="yes"?>
<Relationships xmlns="http://schemas.openxmlformats.org/package/2006/relationships"><Relationship Id="rId3" Type="http://schemas.microsoft.com/office/2011/relationships/chartStyle" Target="style7.xml"/><Relationship Id="rId2" Type="http://schemas.microsoft.com/office/2011/relationships/chartColorStyle" Target="colors7.xml"/><Relationship Id="rId1" Type="http://schemas.openxmlformats.org/officeDocument/2006/relationships/package" Target="../embeddings/Planilha_do_Microsoft_Excel22.xlsx"/></Relationships>
</file>

<file path=ppt/charts/_rels/chart2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Planilha_do_Microsoft_Excel23.xlsx"/></Relationships>
</file>

<file path=ppt/charts/_rels/chart2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Planilha_do_Microsoft_Excel24.xlsx"/></Relationships>
</file>

<file path=ppt/charts/_rels/chart2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Planilha_do_Microsoft_Excel25.xlsx"/></Relationships>
</file>

<file path=ppt/charts/_rels/chart2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Planilha_do_Microsoft_Excel26.xlsx"/></Relationships>
</file>

<file path=ppt/charts/_rels/chart2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Planilha_do_Microsoft_Excel27.xlsx"/></Relationships>
</file>

<file path=ppt/charts/_rels/chart2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Planilha_do_Microsoft_Excel28.xlsx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Planilha_do_Microsoft_Excel3.xlsx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Planilha_do_Microsoft_Excel4.xlsx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Planilha_do_Microsoft_Excel5.xlsx"/></Relationships>
</file>

<file path=ppt/charts/_rels/chart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Planilha_do_Microsoft_Excel6.xlsx"/></Relationships>
</file>

<file path=ppt/charts/_rels/chart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Planilha_do_Microsoft_Excel7.xlsx"/></Relationships>
</file>

<file path=ppt/charts/_rels/chart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Planilha_do_Microsoft_Excel8.xlsx"/></Relationships>
</file>

<file path=ppt/charts/_rels/chart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Planilha_do_Microsoft_Excel9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/>
          <a:lstStyle/>
          <a:p>
            <a:pPr>
              <a:defRPr sz="1800">
                <a:latin typeface="Arial" pitchFamily="34" charset="0"/>
                <a:cs typeface="Arial" pitchFamily="34" charset="0"/>
              </a:defRPr>
            </a:pPr>
            <a:r>
              <a:rPr lang="en-US" sz="1800" dirty="0" err="1" smtClean="0">
                <a:latin typeface="Arial" pitchFamily="34" charset="0"/>
                <a:cs typeface="Arial" pitchFamily="34" charset="0"/>
              </a:rPr>
              <a:t>Montante</a:t>
            </a:r>
            <a:r>
              <a:rPr lang="en-US" sz="1800" dirty="0" smtClean="0">
                <a:latin typeface="Arial" pitchFamily="34" charset="0"/>
                <a:cs typeface="Arial" pitchFamily="34" charset="0"/>
              </a:rPr>
              <a:t> </a:t>
            </a:r>
            <a:r>
              <a:rPr lang="en-US" sz="1800" dirty="0" err="1" smtClean="0">
                <a:latin typeface="Arial" pitchFamily="34" charset="0"/>
                <a:cs typeface="Arial" pitchFamily="34" charset="0"/>
              </a:rPr>
              <a:t>registrado</a:t>
            </a:r>
            <a:r>
              <a:rPr lang="en-US" sz="1800" baseline="0" dirty="0" smtClean="0">
                <a:latin typeface="Arial" pitchFamily="34" charset="0"/>
                <a:cs typeface="Arial" pitchFamily="34" charset="0"/>
              </a:rPr>
              <a:t> </a:t>
            </a:r>
            <a:r>
              <a:rPr lang="en-US" sz="1800" baseline="0" dirty="0" err="1" smtClean="0">
                <a:latin typeface="Arial" pitchFamily="34" charset="0"/>
                <a:cs typeface="Arial" pitchFamily="34" charset="0"/>
              </a:rPr>
              <a:t>na</a:t>
            </a:r>
            <a:r>
              <a:rPr lang="en-US" sz="1800" baseline="0" dirty="0" smtClean="0">
                <a:latin typeface="Arial" pitchFamily="34" charset="0"/>
                <a:cs typeface="Arial" pitchFamily="34" charset="0"/>
              </a:rPr>
              <a:t> CETIP </a:t>
            </a:r>
            <a:r>
              <a:rPr lang="en-US" sz="1800" baseline="0" dirty="0" err="1" smtClean="0">
                <a:latin typeface="Arial" pitchFamily="34" charset="0"/>
                <a:cs typeface="Arial" pitchFamily="34" charset="0"/>
              </a:rPr>
              <a:t>em</a:t>
            </a:r>
            <a:r>
              <a:rPr lang="en-US" sz="1800" baseline="0" dirty="0" smtClean="0">
                <a:latin typeface="Arial" pitchFamily="34" charset="0"/>
                <a:cs typeface="Arial" pitchFamily="34" charset="0"/>
              </a:rPr>
              <a:t> 2011</a:t>
            </a:r>
            <a:r>
              <a:rPr lang="en-US" sz="1800" dirty="0" smtClean="0">
                <a:latin typeface="Arial" pitchFamily="34" charset="0"/>
                <a:cs typeface="Arial" pitchFamily="34" charset="0"/>
              </a:rPr>
              <a:t> </a:t>
            </a:r>
            <a:endParaRPr lang="en-US" sz="1800" dirty="0">
              <a:latin typeface="Arial" pitchFamily="34" charset="0"/>
              <a:cs typeface="Arial" pitchFamily="34" charset="0"/>
            </a:endParaRPr>
          </a:p>
        </c:rich>
      </c:tx>
      <c:layout>
        <c:manualLayout>
          <c:xMode val="edge"/>
          <c:yMode val="edge"/>
          <c:x val="0.23651200766410302"/>
          <c:y val="5.2655693890592452E-3"/>
        </c:manualLayout>
      </c:layout>
      <c:overlay val="0"/>
      <c:spPr>
        <a:noFill/>
        <a:ln w="17773">
          <a:noFill/>
        </a:ln>
      </c:spPr>
    </c:title>
    <c:autoTitleDeleted val="0"/>
    <c:view3D>
      <c:rotX val="30"/>
      <c:rotY val="0"/>
      <c:rAngAx val="0"/>
      <c:perspective val="0"/>
    </c:view3D>
    <c:floor>
      <c:thickness val="0"/>
    </c:floor>
    <c:sideWall>
      <c:thickness val="0"/>
    </c:sideWall>
    <c:backWall>
      <c:thickness val="0"/>
    </c:backWall>
    <c:plotArea>
      <c:layout>
        <c:manualLayout>
          <c:layoutTarget val="inner"/>
          <c:xMode val="edge"/>
          <c:yMode val="edge"/>
          <c:x val="9.9108027750247768E-4"/>
          <c:y val="0.29020100502512558"/>
          <c:w val="0.66798810703667"/>
          <c:h val="0.52763819095477382"/>
        </c:manualLayout>
      </c:layout>
      <c:pie3DChart>
        <c:varyColors val="1"/>
        <c:ser>
          <c:idx val="0"/>
          <c:order val="0"/>
          <c:tx>
            <c:strRef>
              <c:f>Plan1!$B$1</c:f>
              <c:strCache>
                <c:ptCount val="1"/>
                <c:pt idx="0">
                  <c:v>montante</c:v>
                </c:pt>
              </c:strCache>
            </c:strRef>
          </c:tx>
          <c:dPt>
            <c:idx val="0"/>
            <c:bubble3D val="0"/>
            <c:spPr>
              <a:solidFill>
                <a:srgbClr val="0000FF"/>
              </a:solidFill>
            </c:spPr>
          </c:dPt>
          <c:dPt>
            <c:idx val="1"/>
            <c:bubble3D val="0"/>
            <c:spPr>
              <a:solidFill>
                <a:srgbClr val="FF00FF"/>
              </a:solidFill>
            </c:spPr>
          </c:dPt>
          <c:dPt>
            <c:idx val="2"/>
            <c:bubble3D val="0"/>
            <c:spPr>
              <a:solidFill>
                <a:srgbClr val="A50021"/>
              </a:solidFill>
            </c:spPr>
          </c:dPt>
          <c:dPt>
            <c:idx val="3"/>
            <c:bubble3D val="0"/>
            <c:spPr>
              <a:solidFill>
                <a:srgbClr val="99FF33"/>
              </a:solidFill>
            </c:spPr>
          </c:dPt>
          <c:dPt>
            <c:idx val="4"/>
            <c:bubble3D val="0"/>
            <c:spPr>
              <a:solidFill>
                <a:srgbClr val="006666"/>
              </a:solidFill>
            </c:spPr>
          </c:dPt>
          <c:dPt>
            <c:idx val="5"/>
            <c:bubble3D val="0"/>
            <c:spPr>
              <a:solidFill>
                <a:srgbClr val="66FFFF"/>
              </a:solidFill>
            </c:spPr>
          </c:dPt>
          <c:dPt>
            <c:idx val="6"/>
            <c:bubble3D val="0"/>
            <c:spPr>
              <a:solidFill>
                <a:srgbClr val="FF9900"/>
              </a:solidFill>
            </c:spPr>
          </c:dPt>
          <c:dLbls>
            <c:dLbl>
              <c:idx val="0"/>
              <c:numFmt formatCode="0.0%" sourceLinked="0"/>
              <c:spPr>
                <a:noFill/>
                <a:ln w="17773">
                  <a:noFill/>
                </a:ln>
              </c:spPr>
              <c:txPr>
                <a:bodyPr/>
                <a:lstStyle/>
                <a:p>
                  <a:pPr>
                    <a:defRPr sz="1800">
                      <a:solidFill>
                        <a:schemeClr val="bg1"/>
                      </a:solidFill>
                      <a:latin typeface="Arial" pitchFamily="34" charset="0"/>
                      <a:cs typeface="Arial" pitchFamily="34" charset="0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"/>
              <c:numFmt formatCode="0.0%" sourceLinked="0"/>
              <c:spPr>
                <a:noFill/>
                <a:ln w="17773">
                  <a:noFill/>
                </a:ln>
              </c:spPr>
              <c:txPr>
                <a:bodyPr/>
                <a:lstStyle/>
                <a:p>
                  <a:pPr>
                    <a:defRPr sz="1800">
                      <a:solidFill>
                        <a:schemeClr val="bg1"/>
                      </a:solidFill>
                      <a:latin typeface="Arial" pitchFamily="34" charset="0"/>
                      <a:cs typeface="Arial" pitchFamily="34" charset="0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2"/>
              <c:layout>
                <c:manualLayout>
                  <c:x val="8.098782211323019E-2"/>
                  <c:y val="3.3129275689967645E-2"/>
                </c:manualLayout>
              </c:layout>
              <c:numFmt formatCode="0.0%" sourceLinked="0"/>
              <c:spPr>
                <a:noFill/>
                <a:ln w="17773">
                  <a:noFill/>
                </a:ln>
              </c:spPr>
              <c:txPr>
                <a:bodyPr/>
                <a:lstStyle/>
                <a:p>
                  <a:pPr>
                    <a:defRPr sz="1800">
                      <a:solidFill>
                        <a:schemeClr val="bg1"/>
                      </a:solidFill>
                      <a:latin typeface="Arial" pitchFamily="34" charset="0"/>
                      <a:cs typeface="Arial" pitchFamily="34" charset="0"/>
                    </a:defRPr>
                  </a:pPr>
                  <a:endParaRPr lang="pt-BR"/>
                </a:p>
              </c:txPr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3"/>
              <c:layout>
                <c:manualLayout>
                  <c:x val="-3.5484835951502099E-2"/>
                  <c:y val="-5.0075014178504074E-2"/>
                </c:manualLayout>
              </c:layout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4"/>
              <c:layout>
                <c:manualLayout>
                  <c:x val="-1.6774998713396105E-2"/>
                  <c:y val="-2.6951397415079181E-2"/>
                </c:manualLayout>
              </c:layout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5"/>
              <c:layout>
                <c:manualLayout>
                  <c:x val="9.4522005363799344E-3"/>
                  <c:y val="-9.9887231432754381E-2"/>
                </c:manualLayout>
              </c:layout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6"/>
              <c:layout>
                <c:manualLayout>
                  <c:x val="7.2855359991765734E-2"/>
                  <c:y val="-1.4100393414920724E-2"/>
                </c:manualLayout>
              </c:layout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numFmt formatCode="0.0%" sourceLinked="0"/>
            <c:spPr>
              <a:noFill/>
              <a:ln w="17773">
                <a:noFill/>
              </a:ln>
            </c:spPr>
            <c:txPr>
              <a:bodyPr/>
              <a:lstStyle/>
              <a:p>
                <a:pPr>
                  <a:defRPr sz="1800">
                    <a:latin typeface="Arial" pitchFamily="34" charset="0"/>
                    <a:cs typeface="Arial" pitchFamily="34" charset="0"/>
                  </a:defRPr>
                </a:pPr>
                <a:endParaRPr lang="pt-BR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extLst>
              <c:ext xmlns:c15="http://schemas.microsoft.com/office/drawing/2012/chart" uri="{CE6537A1-D6FC-4f65-9D91-7224C49458BB}"/>
            </c:extLst>
          </c:dLbls>
          <c:cat>
            <c:strRef>
              <c:f>Plan1!$A$2:$A$8</c:f>
              <c:strCache>
                <c:ptCount val="7"/>
                <c:pt idx="0">
                  <c:v>Boi</c:v>
                </c:pt>
                <c:pt idx="1">
                  <c:v>Soja</c:v>
                </c:pt>
                <c:pt idx="2">
                  <c:v>Café</c:v>
                </c:pt>
                <c:pt idx="3">
                  <c:v>Álcool</c:v>
                </c:pt>
                <c:pt idx="4">
                  <c:v>Cana-de-açúcar</c:v>
                </c:pt>
                <c:pt idx="5">
                  <c:v>Algodão</c:v>
                </c:pt>
                <c:pt idx="6">
                  <c:v>Pescado</c:v>
                </c:pt>
              </c:strCache>
            </c:strRef>
          </c:cat>
          <c:val>
            <c:numRef>
              <c:f>Plan1!$B$2:$B$8</c:f>
              <c:numCache>
                <c:formatCode>0.00%</c:formatCode>
                <c:ptCount val="7"/>
                <c:pt idx="0" formatCode="0%">
                  <c:v>0.44</c:v>
                </c:pt>
                <c:pt idx="1">
                  <c:v>0.30099999999999999</c:v>
                </c:pt>
                <c:pt idx="2">
                  <c:v>0.108</c:v>
                </c:pt>
                <c:pt idx="3">
                  <c:v>7.0999999999999994E-2</c:v>
                </c:pt>
                <c:pt idx="4">
                  <c:v>3.5999999999999997E-2</c:v>
                </c:pt>
                <c:pt idx="5">
                  <c:v>2.3E-2</c:v>
                </c:pt>
                <c:pt idx="6">
                  <c:v>2.1000000000000001E-2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</c:pie3DChart>
      <c:spPr>
        <a:noFill/>
        <a:ln w="17773">
          <a:noFill/>
        </a:ln>
      </c:spPr>
    </c:plotArea>
    <c:legend>
      <c:legendPos val="r"/>
      <c:layout>
        <c:manualLayout>
          <c:xMode val="edge"/>
          <c:yMode val="edge"/>
          <c:x val="0.71410891089108908"/>
          <c:y val="0.109717868338558"/>
          <c:w val="0.28094059405940597"/>
          <c:h val="0.74294670846394983"/>
        </c:manualLayout>
      </c:layout>
      <c:overlay val="0"/>
      <c:txPr>
        <a:bodyPr/>
        <a:lstStyle/>
        <a:p>
          <a:pPr>
            <a:defRPr sz="2000">
              <a:latin typeface="Arial" pitchFamily="34" charset="0"/>
              <a:cs typeface="Arial" pitchFamily="34" charset="0"/>
            </a:defRPr>
          </a:pPr>
          <a:endParaRPr lang="pt-BR"/>
        </a:p>
      </c:txPr>
    </c:legend>
    <c:plotVisOnly val="1"/>
    <c:dispBlanksAs val="zero"/>
    <c:showDLblsOverMax val="0"/>
  </c:chart>
  <c:spPr>
    <a:noFill/>
    <a:ln>
      <a:noFill/>
    </a:ln>
  </c:spPr>
  <c:txPr>
    <a:bodyPr/>
    <a:lstStyle/>
    <a:p>
      <a:pPr>
        <a:defRPr sz="1260"/>
      </a:pPr>
      <a:endParaRPr lang="pt-BR"/>
    </a:p>
  </c:txPr>
  <c:externalData r:id="rId1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vert="horz"/>
          <a:lstStyle/>
          <a:p>
            <a:pPr>
              <a:defRPr/>
            </a:pPr>
            <a:r>
              <a:rPr lang="pt-BR"/>
              <a:t>Crédito - % PIB</a:t>
            </a:r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/>
      <c:lineChart>
        <c:grouping val="standard"/>
        <c:varyColors val="0"/>
        <c:ser>
          <c:idx val="0"/>
          <c:order val="0"/>
          <c:tx>
            <c:strRef>
              <c:f>Plan1!$B$1</c:f>
              <c:strCache>
                <c:ptCount val="1"/>
                <c:pt idx="0">
                  <c:v>Total</c:v>
                </c:pt>
              </c:strCache>
            </c:strRef>
          </c:tx>
          <c:spPr>
            <a:ln w="38100" cap="rnd">
              <a:solidFill>
                <a:srgbClr val="00B050"/>
              </a:solidFill>
              <a:round/>
            </a:ln>
            <a:effectLst/>
          </c:spPr>
          <c:marker>
            <c:symbol val="none"/>
          </c:marker>
          <c:cat>
            <c:numRef>
              <c:f>Plan1!$A$2:$A$118</c:f>
              <c:numCache>
                <c:formatCode>mmm\-yy</c:formatCode>
                <c:ptCount val="117"/>
                <c:pt idx="0">
                  <c:v>39142</c:v>
                </c:pt>
                <c:pt idx="1">
                  <c:v>39173</c:v>
                </c:pt>
                <c:pt idx="2">
                  <c:v>39203</c:v>
                </c:pt>
                <c:pt idx="3">
                  <c:v>39234</c:v>
                </c:pt>
                <c:pt idx="4">
                  <c:v>39264</c:v>
                </c:pt>
                <c:pt idx="5">
                  <c:v>39295</c:v>
                </c:pt>
                <c:pt idx="6">
                  <c:v>39326</c:v>
                </c:pt>
                <c:pt idx="7">
                  <c:v>39356</c:v>
                </c:pt>
                <c:pt idx="8">
                  <c:v>39387</c:v>
                </c:pt>
                <c:pt idx="9">
                  <c:v>39417</c:v>
                </c:pt>
                <c:pt idx="10">
                  <c:v>39448</c:v>
                </c:pt>
                <c:pt idx="11">
                  <c:v>39479</c:v>
                </c:pt>
                <c:pt idx="12">
                  <c:v>39508</c:v>
                </c:pt>
                <c:pt idx="13">
                  <c:v>39539</c:v>
                </c:pt>
                <c:pt idx="14">
                  <c:v>39569</c:v>
                </c:pt>
                <c:pt idx="15">
                  <c:v>39600</c:v>
                </c:pt>
                <c:pt idx="16">
                  <c:v>39630</c:v>
                </c:pt>
                <c:pt idx="17">
                  <c:v>39661</c:v>
                </c:pt>
                <c:pt idx="18">
                  <c:v>39692</c:v>
                </c:pt>
                <c:pt idx="19">
                  <c:v>39722</c:v>
                </c:pt>
                <c:pt idx="20">
                  <c:v>39753</c:v>
                </c:pt>
                <c:pt idx="21">
                  <c:v>39783</c:v>
                </c:pt>
                <c:pt idx="22">
                  <c:v>39814</c:v>
                </c:pt>
                <c:pt idx="23">
                  <c:v>39845</c:v>
                </c:pt>
                <c:pt idx="24">
                  <c:v>39873</c:v>
                </c:pt>
                <c:pt idx="25">
                  <c:v>39904</c:v>
                </c:pt>
                <c:pt idx="26">
                  <c:v>39934</c:v>
                </c:pt>
                <c:pt idx="27">
                  <c:v>39965</c:v>
                </c:pt>
                <c:pt idx="28">
                  <c:v>39995</c:v>
                </c:pt>
                <c:pt idx="29">
                  <c:v>40026</c:v>
                </c:pt>
                <c:pt idx="30">
                  <c:v>40057</c:v>
                </c:pt>
                <c:pt idx="31">
                  <c:v>40087</c:v>
                </c:pt>
                <c:pt idx="32">
                  <c:v>40118</c:v>
                </c:pt>
                <c:pt idx="33">
                  <c:v>40148</c:v>
                </c:pt>
                <c:pt idx="34">
                  <c:v>40179</c:v>
                </c:pt>
                <c:pt idx="35">
                  <c:v>40210</c:v>
                </c:pt>
                <c:pt idx="36">
                  <c:v>40238</c:v>
                </c:pt>
                <c:pt idx="37">
                  <c:v>40269</c:v>
                </c:pt>
                <c:pt idx="38">
                  <c:v>40299</c:v>
                </c:pt>
                <c:pt idx="39">
                  <c:v>40330</c:v>
                </c:pt>
                <c:pt idx="40">
                  <c:v>40360</c:v>
                </c:pt>
                <c:pt idx="41">
                  <c:v>40391</c:v>
                </c:pt>
                <c:pt idx="42">
                  <c:v>40422</c:v>
                </c:pt>
                <c:pt idx="43">
                  <c:v>40452</c:v>
                </c:pt>
                <c:pt idx="44">
                  <c:v>40483</c:v>
                </c:pt>
                <c:pt idx="45">
                  <c:v>40513</c:v>
                </c:pt>
                <c:pt idx="46">
                  <c:v>40544</c:v>
                </c:pt>
                <c:pt idx="47">
                  <c:v>40575</c:v>
                </c:pt>
                <c:pt idx="48">
                  <c:v>40603</c:v>
                </c:pt>
                <c:pt idx="49">
                  <c:v>40634</c:v>
                </c:pt>
                <c:pt idx="50">
                  <c:v>40664</c:v>
                </c:pt>
                <c:pt idx="51">
                  <c:v>40695</c:v>
                </c:pt>
                <c:pt idx="52">
                  <c:v>40725</c:v>
                </c:pt>
                <c:pt idx="53">
                  <c:v>40756</c:v>
                </c:pt>
                <c:pt idx="54">
                  <c:v>40787</c:v>
                </c:pt>
                <c:pt idx="55">
                  <c:v>40817</c:v>
                </c:pt>
                <c:pt idx="56">
                  <c:v>40848</c:v>
                </c:pt>
                <c:pt idx="57">
                  <c:v>40878</c:v>
                </c:pt>
                <c:pt idx="58">
                  <c:v>40909</c:v>
                </c:pt>
                <c:pt idx="59">
                  <c:v>40940</c:v>
                </c:pt>
                <c:pt idx="60">
                  <c:v>40969</c:v>
                </c:pt>
                <c:pt idx="61">
                  <c:v>41000</c:v>
                </c:pt>
                <c:pt idx="62">
                  <c:v>41030</c:v>
                </c:pt>
                <c:pt idx="63">
                  <c:v>41061</c:v>
                </c:pt>
                <c:pt idx="64">
                  <c:v>41091</c:v>
                </c:pt>
                <c:pt idx="65">
                  <c:v>41122</c:v>
                </c:pt>
                <c:pt idx="66">
                  <c:v>41153</c:v>
                </c:pt>
                <c:pt idx="67">
                  <c:v>41183</c:v>
                </c:pt>
                <c:pt idx="68">
                  <c:v>41214</c:v>
                </c:pt>
                <c:pt idx="69">
                  <c:v>41244</c:v>
                </c:pt>
                <c:pt idx="70">
                  <c:v>41275</c:v>
                </c:pt>
                <c:pt idx="71">
                  <c:v>41306</c:v>
                </c:pt>
                <c:pt idx="72">
                  <c:v>41334</c:v>
                </c:pt>
                <c:pt idx="73">
                  <c:v>41365</c:v>
                </c:pt>
                <c:pt idx="74">
                  <c:v>41395</c:v>
                </c:pt>
                <c:pt idx="75">
                  <c:v>41426</c:v>
                </c:pt>
                <c:pt idx="76">
                  <c:v>41456</c:v>
                </c:pt>
                <c:pt idx="77">
                  <c:v>41487</c:v>
                </c:pt>
                <c:pt idx="78">
                  <c:v>41518</c:v>
                </c:pt>
                <c:pt idx="79">
                  <c:v>41548</c:v>
                </c:pt>
                <c:pt idx="80">
                  <c:v>41579</c:v>
                </c:pt>
                <c:pt idx="81">
                  <c:v>41609</c:v>
                </c:pt>
                <c:pt idx="82">
                  <c:v>41640</c:v>
                </c:pt>
                <c:pt idx="83">
                  <c:v>41671</c:v>
                </c:pt>
                <c:pt idx="84">
                  <c:v>41699</c:v>
                </c:pt>
                <c:pt idx="85">
                  <c:v>41730</c:v>
                </c:pt>
                <c:pt idx="86">
                  <c:v>41760</c:v>
                </c:pt>
                <c:pt idx="87">
                  <c:v>41791</c:v>
                </c:pt>
                <c:pt idx="88">
                  <c:v>41821</c:v>
                </c:pt>
                <c:pt idx="89">
                  <c:v>41852</c:v>
                </c:pt>
                <c:pt idx="90">
                  <c:v>41883</c:v>
                </c:pt>
                <c:pt idx="91">
                  <c:v>41913</c:v>
                </c:pt>
                <c:pt idx="92">
                  <c:v>41944</c:v>
                </c:pt>
                <c:pt idx="93">
                  <c:v>41974</c:v>
                </c:pt>
                <c:pt idx="94">
                  <c:v>42005</c:v>
                </c:pt>
                <c:pt idx="95">
                  <c:v>42036</c:v>
                </c:pt>
                <c:pt idx="96">
                  <c:v>42064</c:v>
                </c:pt>
                <c:pt idx="97">
                  <c:v>42095</c:v>
                </c:pt>
                <c:pt idx="98">
                  <c:v>42125</c:v>
                </c:pt>
                <c:pt idx="99">
                  <c:v>42156</c:v>
                </c:pt>
                <c:pt idx="100">
                  <c:v>42186</c:v>
                </c:pt>
                <c:pt idx="101">
                  <c:v>42217</c:v>
                </c:pt>
                <c:pt idx="102">
                  <c:v>42248</c:v>
                </c:pt>
                <c:pt idx="103">
                  <c:v>42278</c:v>
                </c:pt>
                <c:pt idx="104">
                  <c:v>42309</c:v>
                </c:pt>
                <c:pt idx="105">
                  <c:v>42339</c:v>
                </c:pt>
                <c:pt idx="106">
                  <c:v>42370</c:v>
                </c:pt>
                <c:pt idx="107">
                  <c:v>42401</c:v>
                </c:pt>
                <c:pt idx="108">
                  <c:v>42430</c:v>
                </c:pt>
                <c:pt idx="109">
                  <c:v>42461</c:v>
                </c:pt>
                <c:pt idx="110">
                  <c:v>42491</c:v>
                </c:pt>
                <c:pt idx="111">
                  <c:v>42522</c:v>
                </c:pt>
                <c:pt idx="112">
                  <c:v>42552</c:v>
                </c:pt>
                <c:pt idx="113">
                  <c:v>42583</c:v>
                </c:pt>
                <c:pt idx="114">
                  <c:v>42614</c:v>
                </c:pt>
                <c:pt idx="115">
                  <c:v>42644</c:v>
                </c:pt>
                <c:pt idx="116">
                  <c:v>42675</c:v>
                </c:pt>
              </c:numCache>
            </c:numRef>
          </c:cat>
          <c:val>
            <c:numRef>
              <c:f>Plan1!$B$2:$B$118</c:f>
              <c:numCache>
                <c:formatCode>0.0%</c:formatCode>
                <c:ptCount val="117"/>
                <c:pt idx="0">
                  <c:v>0.30658408601002018</c:v>
                </c:pt>
                <c:pt idx="1">
                  <c:v>0.31067966102934091</c:v>
                </c:pt>
                <c:pt idx="2">
                  <c:v>0.31159890140715363</c:v>
                </c:pt>
                <c:pt idx="3">
                  <c:v>0.31277663233683273</c:v>
                </c:pt>
                <c:pt idx="4">
                  <c:v>0.31683332234234424</c:v>
                </c:pt>
                <c:pt idx="5">
                  <c:v>0.32345692940003645</c:v>
                </c:pt>
                <c:pt idx="6">
                  <c:v>0.32669666273880732</c:v>
                </c:pt>
                <c:pt idx="7">
                  <c:v>0.33210769623121916</c:v>
                </c:pt>
                <c:pt idx="8">
                  <c:v>0.34040749164342521</c:v>
                </c:pt>
                <c:pt idx="9">
                  <c:v>0.3469966083057634</c:v>
                </c:pt>
                <c:pt idx="10">
                  <c:v>0.3471526154428739</c:v>
                </c:pt>
                <c:pt idx="11">
                  <c:v>0.34845779700537716</c:v>
                </c:pt>
                <c:pt idx="12">
                  <c:v>0.35759967593178715</c:v>
                </c:pt>
                <c:pt idx="13">
                  <c:v>0.36226016003630623</c:v>
                </c:pt>
                <c:pt idx="14">
                  <c:v>0.36811220179814858</c:v>
                </c:pt>
                <c:pt idx="15">
                  <c:v>0.37135266165622627</c:v>
                </c:pt>
                <c:pt idx="16">
                  <c:v>0.37172447291637656</c:v>
                </c:pt>
                <c:pt idx="17">
                  <c:v>0.37587680115111699</c:v>
                </c:pt>
                <c:pt idx="18">
                  <c:v>0.38426698587856811</c:v>
                </c:pt>
                <c:pt idx="19">
                  <c:v>0.39000715699432914</c:v>
                </c:pt>
                <c:pt idx="20">
                  <c:v>0.39372824567719694</c:v>
                </c:pt>
                <c:pt idx="21">
                  <c:v>0.39680550836160655</c:v>
                </c:pt>
                <c:pt idx="22">
                  <c:v>0.39559621531158384</c:v>
                </c:pt>
                <c:pt idx="23">
                  <c:v>0.39403114257240646</c:v>
                </c:pt>
                <c:pt idx="24">
                  <c:v>0.3957997575744201</c:v>
                </c:pt>
                <c:pt idx="25">
                  <c:v>0.39643209722136291</c:v>
                </c:pt>
                <c:pt idx="26">
                  <c:v>0.3986501028942549</c:v>
                </c:pt>
                <c:pt idx="27">
                  <c:v>0.40243166124600821</c:v>
                </c:pt>
                <c:pt idx="28">
                  <c:v>0.41108684573982812</c:v>
                </c:pt>
                <c:pt idx="29">
                  <c:v>0.4153287366573401</c:v>
                </c:pt>
                <c:pt idx="30">
                  <c:v>0.4191575141853664</c:v>
                </c:pt>
                <c:pt idx="31">
                  <c:v>0.42228843326228743</c:v>
                </c:pt>
                <c:pt idx="32">
                  <c:v>0.42416555891426344</c:v>
                </c:pt>
                <c:pt idx="33">
                  <c:v>0.42619208161775707</c:v>
                </c:pt>
                <c:pt idx="34">
                  <c:v>0.42423275124881094</c:v>
                </c:pt>
                <c:pt idx="35">
                  <c:v>0.42226153383462522</c:v>
                </c:pt>
                <c:pt idx="36">
                  <c:v>0.42101100724928203</c:v>
                </c:pt>
                <c:pt idx="37">
                  <c:v>0.41992878548292989</c:v>
                </c:pt>
                <c:pt idx="38">
                  <c:v>0.42307130279760641</c:v>
                </c:pt>
                <c:pt idx="39">
                  <c:v>0.42632495008012766</c:v>
                </c:pt>
                <c:pt idx="40">
                  <c:v>0.42627210977742136</c:v>
                </c:pt>
                <c:pt idx="41">
                  <c:v>0.42958724545325827</c:v>
                </c:pt>
                <c:pt idx="42">
                  <c:v>0.43253009249028046</c:v>
                </c:pt>
                <c:pt idx="43">
                  <c:v>0.43560050120825577</c:v>
                </c:pt>
                <c:pt idx="44">
                  <c:v>0.43857007037754614</c:v>
                </c:pt>
                <c:pt idx="45">
                  <c:v>0.44075538743548059</c:v>
                </c:pt>
                <c:pt idx="46">
                  <c:v>0.43730905540220166</c:v>
                </c:pt>
                <c:pt idx="47">
                  <c:v>0.43761155236260896</c:v>
                </c:pt>
                <c:pt idx="48">
                  <c:v>0.43816857836086998</c:v>
                </c:pt>
                <c:pt idx="49">
                  <c:v>0.43948456696864624</c:v>
                </c:pt>
                <c:pt idx="50">
                  <c:v>0.44106374627151607</c:v>
                </c:pt>
                <c:pt idx="51">
                  <c:v>0.44249933949382536</c:v>
                </c:pt>
                <c:pt idx="52">
                  <c:v>0.443299343203787</c:v>
                </c:pt>
                <c:pt idx="53">
                  <c:v>0.44663497144568387</c:v>
                </c:pt>
                <c:pt idx="54">
                  <c:v>0.45303127893637563</c:v>
                </c:pt>
                <c:pt idx="55">
                  <c:v>0.45292199722120435</c:v>
                </c:pt>
                <c:pt idx="56">
                  <c:v>0.45819486504376206</c:v>
                </c:pt>
                <c:pt idx="57">
                  <c:v>0.46475696134386807</c:v>
                </c:pt>
                <c:pt idx="58">
                  <c:v>0.46095584292933933</c:v>
                </c:pt>
                <c:pt idx="59">
                  <c:v>0.45932826908898583</c:v>
                </c:pt>
                <c:pt idx="60">
                  <c:v>0.46308065203892079</c:v>
                </c:pt>
                <c:pt idx="61">
                  <c:v>0.46578771917368678</c:v>
                </c:pt>
                <c:pt idx="62">
                  <c:v>0.47002972206016186</c:v>
                </c:pt>
                <c:pt idx="63">
                  <c:v>0.47432847216440382</c:v>
                </c:pt>
                <c:pt idx="64">
                  <c:v>0.4738549751230719</c:v>
                </c:pt>
                <c:pt idx="65">
                  <c:v>0.47519500386633007</c:v>
                </c:pt>
                <c:pt idx="66">
                  <c:v>0.47715875488460924</c:v>
                </c:pt>
                <c:pt idx="67">
                  <c:v>0.47938040833109014</c:v>
                </c:pt>
                <c:pt idx="68">
                  <c:v>0.48314209402629699</c:v>
                </c:pt>
                <c:pt idx="69">
                  <c:v>0.49189118460733244</c:v>
                </c:pt>
                <c:pt idx="70">
                  <c:v>0.48670568501506228</c:v>
                </c:pt>
                <c:pt idx="71">
                  <c:v>0.48715849530293887</c:v>
                </c:pt>
                <c:pt idx="72">
                  <c:v>0.49261022354231082</c:v>
                </c:pt>
                <c:pt idx="73">
                  <c:v>0.49141911134003835</c:v>
                </c:pt>
                <c:pt idx="74">
                  <c:v>0.49523849724530017</c:v>
                </c:pt>
                <c:pt idx="75">
                  <c:v>0.49967756319887624</c:v>
                </c:pt>
                <c:pt idx="76">
                  <c:v>0.49800594282222188</c:v>
                </c:pt>
                <c:pt idx="77">
                  <c:v>0.50112913138762871</c:v>
                </c:pt>
                <c:pt idx="78">
                  <c:v>0.50040751576957221</c:v>
                </c:pt>
                <c:pt idx="79">
                  <c:v>0.49744337005261563</c:v>
                </c:pt>
                <c:pt idx="80">
                  <c:v>0.5013929143739122</c:v>
                </c:pt>
                <c:pt idx="81">
                  <c:v>0.50854552810318965</c:v>
                </c:pt>
                <c:pt idx="82">
                  <c:v>0.50455064620010981</c:v>
                </c:pt>
                <c:pt idx="83">
                  <c:v>0.50153872073338368</c:v>
                </c:pt>
                <c:pt idx="84">
                  <c:v>0.50262092393172719</c:v>
                </c:pt>
                <c:pt idx="85">
                  <c:v>0.50272445804708288</c:v>
                </c:pt>
                <c:pt idx="86">
                  <c:v>0.50381818491198671</c:v>
                </c:pt>
                <c:pt idx="87">
                  <c:v>0.50661807941609205</c:v>
                </c:pt>
                <c:pt idx="88">
                  <c:v>0.50496582141979707</c:v>
                </c:pt>
                <c:pt idx="89">
                  <c:v>0.50689302382771873</c:v>
                </c:pt>
                <c:pt idx="90">
                  <c:v>0.50966151656751391</c:v>
                </c:pt>
                <c:pt idx="91">
                  <c:v>0.51062022778080873</c:v>
                </c:pt>
                <c:pt idx="92">
                  <c:v>0.51443198301590898</c:v>
                </c:pt>
                <c:pt idx="93">
                  <c:v>0.52214579353734147</c:v>
                </c:pt>
                <c:pt idx="94">
                  <c:v>0.51955809500946948</c:v>
                </c:pt>
                <c:pt idx="95">
                  <c:v>0.52059969365978065</c:v>
                </c:pt>
                <c:pt idx="96">
                  <c:v>0.52334098169101395</c:v>
                </c:pt>
                <c:pt idx="97">
                  <c:v>0.52190602042798184</c:v>
                </c:pt>
                <c:pt idx="98">
                  <c:v>0.52451863368173568</c:v>
                </c:pt>
                <c:pt idx="99">
                  <c:v>0.5248375349549238</c:v>
                </c:pt>
                <c:pt idx="100">
                  <c:v>0.52447828203587932</c:v>
                </c:pt>
                <c:pt idx="101">
                  <c:v>0.52735179489415307</c:v>
                </c:pt>
                <c:pt idx="102">
                  <c:v>0.53135526709036041</c:v>
                </c:pt>
                <c:pt idx="103">
                  <c:v>0.52877839867341003</c:v>
                </c:pt>
                <c:pt idx="104">
                  <c:v>0.53066810203533665</c:v>
                </c:pt>
                <c:pt idx="105">
                  <c:v>0.53652781847992626</c:v>
                </c:pt>
                <c:pt idx="106">
                  <c:v>0.53210352711158526</c:v>
                </c:pt>
                <c:pt idx="107">
                  <c:v>0.52739634798002877</c:v>
                </c:pt>
                <c:pt idx="108">
                  <c:v>0.52296548740281301</c:v>
                </c:pt>
                <c:pt idx="109">
                  <c:v>0.51815472862145584</c:v>
                </c:pt>
                <c:pt idx="110">
                  <c:v>0.51762652570171319</c:v>
                </c:pt>
                <c:pt idx="111">
                  <c:v>0.51136770823233502</c:v>
                </c:pt>
                <c:pt idx="112">
                  <c:v>0.50738680895245891</c:v>
                </c:pt>
                <c:pt idx="113">
                  <c:v>0.50451076401732642</c:v>
                </c:pt>
                <c:pt idx="114">
                  <c:v>0.50246863089497629</c:v>
                </c:pt>
                <c:pt idx="115">
                  <c:v>0.49652848781667791</c:v>
                </c:pt>
                <c:pt idx="116">
                  <c:v>0.49527970194128201</c:v>
                </c:pt>
              </c:numCache>
            </c:numRef>
          </c:val>
          <c:smooth val="0"/>
        </c:ser>
        <c:ser>
          <c:idx val="1"/>
          <c:order val="1"/>
          <c:tx>
            <c:strRef>
              <c:f>Plan1!$C$1</c:f>
              <c:strCache>
                <c:ptCount val="1"/>
                <c:pt idx="0">
                  <c:v>Livre</c:v>
                </c:pt>
              </c:strCache>
            </c:strRef>
          </c:tx>
          <c:spPr>
            <a:ln w="38100" cap="rnd">
              <a:solidFill>
                <a:srgbClr val="0070C0"/>
              </a:solidFill>
              <a:round/>
            </a:ln>
            <a:effectLst/>
          </c:spPr>
          <c:marker>
            <c:symbol val="none"/>
          </c:marker>
          <c:cat>
            <c:numRef>
              <c:f>Plan1!$A$2:$A$118</c:f>
              <c:numCache>
                <c:formatCode>mmm\-yy</c:formatCode>
                <c:ptCount val="117"/>
                <c:pt idx="0">
                  <c:v>39142</c:v>
                </c:pt>
                <c:pt idx="1">
                  <c:v>39173</c:v>
                </c:pt>
                <c:pt idx="2">
                  <c:v>39203</c:v>
                </c:pt>
                <c:pt idx="3">
                  <c:v>39234</c:v>
                </c:pt>
                <c:pt idx="4">
                  <c:v>39264</c:v>
                </c:pt>
                <c:pt idx="5">
                  <c:v>39295</c:v>
                </c:pt>
                <c:pt idx="6">
                  <c:v>39326</c:v>
                </c:pt>
                <c:pt idx="7">
                  <c:v>39356</c:v>
                </c:pt>
                <c:pt idx="8">
                  <c:v>39387</c:v>
                </c:pt>
                <c:pt idx="9">
                  <c:v>39417</c:v>
                </c:pt>
                <c:pt idx="10">
                  <c:v>39448</c:v>
                </c:pt>
                <c:pt idx="11">
                  <c:v>39479</c:v>
                </c:pt>
                <c:pt idx="12">
                  <c:v>39508</c:v>
                </c:pt>
                <c:pt idx="13">
                  <c:v>39539</c:v>
                </c:pt>
                <c:pt idx="14">
                  <c:v>39569</c:v>
                </c:pt>
                <c:pt idx="15">
                  <c:v>39600</c:v>
                </c:pt>
                <c:pt idx="16">
                  <c:v>39630</c:v>
                </c:pt>
                <c:pt idx="17">
                  <c:v>39661</c:v>
                </c:pt>
                <c:pt idx="18">
                  <c:v>39692</c:v>
                </c:pt>
                <c:pt idx="19">
                  <c:v>39722</c:v>
                </c:pt>
                <c:pt idx="20">
                  <c:v>39753</c:v>
                </c:pt>
                <c:pt idx="21">
                  <c:v>39783</c:v>
                </c:pt>
                <c:pt idx="22">
                  <c:v>39814</c:v>
                </c:pt>
                <c:pt idx="23">
                  <c:v>39845</c:v>
                </c:pt>
                <c:pt idx="24">
                  <c:v>39873</c:v>
                </c:pt>
                <c:pt idx="25">
                  <c:v>39904</c:v>
                </c:pt>
                <c:pt idx="26">
                  <c:v>39934</c:v>
                </c:pt>
                <c:pt idx="27">
                  <c:v>39965</c:v>
                </c:pt>
                <c:pt idx="28">
                  <c:v>39995</c:v>
                </c:pt>
                <c:pt idx="29">
                  <c:v>40026</c:v>
                </c:pt>
                <c:pt idx="30">
                  <c:v>40057</c:v>
                </c:pt>
                <c:pt idx="31">
                  <c:v>40087</c:v>
                </c:pt>
                <c:pt idx="32">
                  <c:v>40118</c:v>
                </c:pt>
                <c:pt idx="33">
                  <c:v>40148</c:v>
                </c:pt>
                <c:pt idx="34">
                  <c:v>40179</c:v>
                </c:pt>
                <c:pt idx="35">
                  <c:v>40210</c:v>
                </c:pt>
                <c:pt idx="36">
                  <c:v>40238</c:v>
                </c:pt>
                <c:pt idx="37">
                  <c:v>40269</c:v>
                </c:pt>
                <c:pt idx="38">
                  <c:v>40299</c:v>
                </c:pt>
                <c:pt idx="39">
                  <c:v>40330</c:v>
                </c:pt>
                <c:pt idx="40">
                  <c:v>40360</c:v>
                </c:pt>
                <c:pt idx="41">
                  <c:v>40391</c:v>
                </c:pt>
                <c:pt idx="42">
                  <c:v>40422</c:v>
                </c:pt>
                <c:pt idx="43">
                  <c:v>40452</c:v>
                </c:pt>
                <c:pt idx="44">
                  <c:v>40483</c:v>
                </c:pt>
                <c:pt idx="45">
                  <c:v>40513</c:v>
                </c:pt>
                <c:pt idx="46">
                  <c:v>40544</c:v>
                </c:pt>
                <c:pt idx="47">
                  <c:v>40575</c:v>
                </c:pt>
                <c:pt idx="48">
                  <c:v>40603</c:v>
                </c:pt>
                <c:pt idx="49">
                  <c:v>40634</c:v>
                </c:pt>
                <c:pt idx="50">
                  <c:v>40664</c:v>
                </c:pt>
                <c:pt idx="51">
                  <c:v>40695</c:v>
                </c:pt>
                <c:pt idx="52">
                  <c:v>40725</c:v>
                </c:pt>
                <c:pt idx="53">
                  <c:v>40756</c:v>
                </c:pt>
                <c:pt idx="54">
                  <c:v>40787</c:v>
                </c:pt>
                <c:pt idx="55">
                  <c:v>40817</c:v>
                </c:pt>
                <c:pt idx="56">
                  <c:v>40848</c:v>
                </c:pt>
                <c:pt idx="57">
                  <c:v>40878</c:v>
                </c:pt>
                <c:pt idx="58">
                  <c:v>40909</c:v>
                </c:pt>
                <c:pt idx="59">
                  <c:v>40940</c:v>
                </c:pt>
                <c:pt idx="60">
                  <c:v>40969</c:v>
                </c:pt>
                <c:pt idx="61">
                  <c:v>41000</c:v>
                </c:pt>
                <c:pt idx="62">
                  <c:v>41030</c:v>
                </c:pt>
                <c:pt idx="63">
                  <c:v>41061</c:v>
                </c:pt>
                <c:pt idx="64">
                  <c:v>41091</c:v>
                </c:pt>
                <c:pt idx="65">
                  <c:v>41122</c:v>
                </c:pt>
                <c:pt idx="66">
                  <c:v>41153</c:v>
                </c:pt>
                <c:pt idx="67">
                  <c:v>41183</c:v>
                </c:pt>
                <c:pt idx="68">
                  <c:v>41214</c:v>
                </c:pt>
                <c:pt idx="69">
                  <c:v>41244</c:v>
                </c:pt>
                <c:pt idx="70">
                  <c:v>41275</c:v>
                </c:pt>
                <c:pt idx="71">
                  <c:v>41306</c:v>
                </c:pt>
                <c:pt idx="72">
                  <c:v>41334</c:v>
                </c:pt>
                <c:pt idx="73">
                  <c:v>41365</c:v>
                </c:pt>
                <c:pt idx="74">
                  <c:v>41395</c:v>
                </c:pt>
                <c:pt idx="75">
                  <c:v>41426</c:v>
                </c:pt>
                <c:pt idx="76">
                  <c:v>41456</c:v>
                </c:pt>
                <c:pt idx="77">
                  <c:v>41487</c:v>
                </c:pt>
                <c:pt idx="78">
                  <c:v>41518</c:v>
                </c:pt>
                <c:pt idx="79">
                  <c:v>41548</c:v>
                </c:pt>
                <c:pt idx="80">
                  <c:v>41579</c:v>
                </c:pt>
                <c:pt idx="81">
                  <c:v>41609</c:v>
                </c:pt>
                <c:pt idx="82">
                  <c:v>41640</c:v>
                </c:pt>
                <c:pt idx="83">
                  <c:v>41671</c:v>
                </c:pt>
                <c:pt idx="84">
                  <c:v>41699</c:v>
                </c:pt>
                <c:pt idx="85">
                  <c:v>41730</c:v>
                </c:pt>
                <c:pt idx="86">
                  <c:v>41760</c:v>
                </c:pt>
                <c:pt idx="87">
                  <c:v>41791</c:v>
                </c:pt>
                <c:pt idx="88">
                  <c:v>41821</c:v>
                </c:pt>
                <c:pt idx="89">
                  <c:v>41852</c:v>
                </c:pt>
                <c:pt idx="90">
                  <c:v>41883</c:v>
                </c:pt>
                <c:pt idx="91">
                  <c:v>41913</c:v>
                </c:pt>
                <c:pt idx="92">
                  <c:v>41944</c:v>
                </c:pt>
                <c:pt idx="93">
                  <c:v>41974</c:v>
                </c:pt>
                <c:pt idx="94">
                  <c:v>42005</c:v>
                </c:pt>
                <c:pt idx="95">
                  <c:v>42036</c:v>
                </c:pt>
                <c:pt idx="96">
                  <c:v>42064</c:v>
                </c:pt>
                <c:pt idx="97">
                  <c:v>42095</c:v>
                </c:pt>
                <c:pt idx="98">
                  <c:v>42125</c:v>
                </c:pt>
                <c:pt idx="99">
                  <c:v>42156</c:v>
                </c:pt>
                <c:pt idx="100">
                  <c:v>42186</c:v>
                </c:pt>
                <c:pt idx="101">
                  <c:v>42217</c:v>
                </c:pt>
                <c:pt idx="102">
                  <c:v>42248</c:v>
                </c:pt>
                <c:pt idx="103">
                  <c:v>42278</c:v>
                </c:pt>
                <c:pt idx="104">
                  <c:v>42309</c:v>
                </c:pt>
                <c:pt idx="105">
                  <c:v>42339</c:v>
                </c:pt>
                <c:pt idx="106">
                  <c:v>42370</c:v>
                </c:pt>
                <c:pt idx="107">
                  <c:v>42401</c:v>
                </c:pt>
                <c:pt idx="108">
                  <c:v>42430</c:v>
                </c:pt>
                <c:pt idx="109">
                  <c:v>42461</c:v>
                </c:pt>
                <c:pt idx="110">
                  <c:v>42491</c:v>
                </c:pt>
                <c:pt idx="111">
                  <c:v>42522</c:v>
                </c:pt>
                <c:pt idx="112">
                  <c:v>42552</c:v>
                </c:pt>
                <c:pt idx="113">
                  <c:v>42583</c:v>
                </c:pt>
                <c:pt idx="114">
                  <c:v>42614</c:v>
                </c:pt>
                <c:pt idx="115">
                  <c:v>42644</c:v>
                </c:pt>
                <c:pt idx="116">
                  <c:v>42675</c:v>
                </c:pt>
              </c:numCache>
            </c:numRef>
          </c:cat>
          <c:val>
            <c:numRef>
              <c:f>Plan1!$C$2:$C$118</c:f>
              <c:numCache>
                <c:formatCode>0.0%</c:formatCode>
                <c:ptCount val="117"/>
                <c:pt idx="0">
                  <c:v>0.19724095114005519</c:v>
                </c:pt>
                <c:pt idx="1">
                  <c:v>0.20095866748763538</c:v>
                </c:pt>
                <c:pt idx="2">
                  <c:v>0.20218984686362484</c:v>
                </c:pt>
                <c:pt idx="3">
                  <c:v>0.20387903941700519</c:v>
                </c:pt>
                <c:pt idx="4">
                  <c:v>0.20804020826617681</c:v>
                </c:pt>
                <c:pt idx="5">
                  <c:v>0.21289689680728685</c:v>
                </c:pt>
                <c:pt idx="6">
                  <c:v>0.21567065650511413</c:v>
                </c:pt>
                <c:pt idx="7">
                  <c:v>0.21924296696248741</c:v>
                </c:pt>
                <c:pt idx="8">
                  <c:v>0.22496425835261993</c:v>
                </c:pt>
                <c:pt idx="9">
                  <c:v>0.23068138009748981</c:v>
                </c:pt>
                <c:pt idx="10">
                  <c:v>0.23195297081976998</c:v>
                </c:pt>
                <c:pt idx="11">
                  <c:v>0.23419400456634479</c:v>
                </c:pt>
                <c:pt idx="12">
                  <c:v>0.24126101550941739</c:v>
                </c:pt>
                <c:pt idx="13">
                  <c:v>0.24502349009199612</c:v>
                </c:pt>
                <c:pt idx="14">
                  <c:v>0.24955641126012451</c:v>
                </c:pt>
                <c:pt idx="15">
                  <c:v>0.25199961486446598</c:v>
                </c:pt>
                <c:pt idx="16">
                  <c:v>0.25380549790593165</c:v>
                </c:pt>
                <c:pt idx="17">
                  <c:v>0.25718952013210689</c:v>
                </c:pt>
                <c:pt idx="18">
                  <c:v>0.26296809661031145</c:v>
                </c:pt>
                <c:pt idx="19">
                  <c:v>0.26633472648572359</c:v>
                </c:pt>
                <c:pt idx="20">
                  <c:v>0.26738618901944272</c:v>
                </c:pt>
                <c:pt idx="21">
                  <c:v>0.26792371517026281</c:v>
                </c:pt>
                <c:pt idx="22">
                  <c:v>0.26528822266636243</c:v>
                </c:pt>
                <c:pt idx="23">
                  <c:v>0.26374279439071585</c:v>
                </c:pt>
                <c:pt idx="24">
                  <c:v>0.26458720575206041</c:v>
                </c:pt>
                <c:pt idx="25">
                  <c:v>0.26501579422453975</c:v>
                </c:pt>
                <c:pt idx="26">
                  <c:v>0.26675256920975948</c:v>
                </c:pt>
                <c:pt idx="27">
                  <c:v>0.26795809290022771</c:v>
                </c:pt>
                <c:pt idx="28">
                  <c:v>0.26676295061392746</c:v>
                </c:pt>
                <c:pt idx="29">
                  <c:v>0.2683049430978886</c:v>
                </c:pt>
                <c:pt idx="30">
                  <c:v>0.26976784326889031</c:v>
                </c:pt>
                <c:pt idx="31">
                  <c:v>0.27080093133124605</c:v>
                </c:pt>
                <c:pt idx="32">
                  <c:v>0.27172585586225073</c:v>
                </c:pt>
                <c:pt idx="33">
                  <c:v>0.2709115889839166</c:v>
                </c:pt>
                <c:pt idx="34">
                  <c:v>0.26812945191578064</c:v>
                </c:pt>
                <c:pt idx="35">
                  <c:v>0.2671610435050778</c:v>
                </c:pt>
                <c:pt idx="36">
                  <c:v>0.26650556830267941</c:v>
                </c:pt>
                <c:pt idx="37">
                  <c:v>0.26521357804014356</c:v>
                </c:pt>
                <c:pt idx="38">
                  <c:v>0.26610758001451151</c:v>
                </c:pt>
                <c:pt idx="39">
                  <c:v>0.26681527335822991</c:v>
                </c:pt>
                <c:pt idx="40">
                  <c:v>0.26551755325265164</c:v>
                </c:pt>
                <c:pt idx="41">
                  <c:v>0.2654573546053221</c:v>
                </c:pt>
                <c:pt idx="42">
                  <c:v>0.26737339292059376</c:v>
                </c:pt>
                <c:pt idx="43">
                  <c:v>0.2686253151835431</c:v>
                </c:pt>
                <c:pt idx="44">
                  <c:v>0.27054510018576328</c:v>
                </c:pt>
                <c:pt idx="45">
                  <c:v>0.27166895660071022</c:v>
                </c:pt>
                <c:pt idx="46">
                  <c:v>0.26885950976103595</c:v>
                </c:pt>
                <c:pt idx="47">
                  <c:v>0.26919919359274669</c:v>
                </c:pt>
                <c:pt idx="48">
                  <c:v>0.26998738042781045</c:v>
                </c:pt>
                <c:pt idx="49">
                  <c:v>0.27131808924763295</c:v>
                </c:pt>
                <c:pt idx="50">
                  <c:v>0.27206258846360482</c:v>
                </c:pt>
                <c:pt idx="51">
                  <c:v>0.27273139785085343</c:v>
                </c:pt>
                <c:pt idx="52">
                  <c:v>0.27242817047478418</c:v>
                </c:pt>
                <c:pt idx="53">
                  <c:v>0.27327027196623033</c:v>
                </c:pt>
                <c:pt idx="54">
                  <c:v>0.2762057576960491</c:v>
                </c:pt>
                <c:pt idx="55">
                  <c:v>0.27593729671097522</c:v>
                </c:pt>
                <c:pt idx="56">
                  <c:v>0.27805444810621088</c:v>
                </c:pt>
                <c:pt idx="57">
                  <c:v>0.28098758289381504</c:v>
                </c:pt>
                <c:pt idx="58">
                  <c:v>0.27808638251985968</c:v>
                </c:pt>
                <c:pt idx="59">
                  <c:v>0.27768201437401502</c:v>
                </c:pt>
                <c:pt idx="60">
                  <c:v>0.28015471513464874</c:v>
                </c:pt>
                <c:pt idx="61">
                  <c:v>0.28161342178660731</c:v>
                </c:pt>
                <c:pt idx="62">
                  <c:v>0.28385607546803482</c:v>
                </c:pt>
                <c:pt idx="63">
                  <c:v>0.28679237909834171</c:v>
                </c:pt>
                <c:pt idx="64">
                  <c:v>0.28532042670561764</c:v>
                </c:pt>
                <c:pt idx="65">
                  <c:v>0.28517081819155427</c:v>
                </c:pt>
                <c:pt idx="66">
                  <c:v>0.28582873954200771</c:v>
                </c:pt>
                <c:pt idx="67">
                  <c:v>0.28550908541287606</c:v>
                </c:pt>
                <c:pt idx="68">
                  <c:v>0.28652673830847403</c:v>
                </c:pt>
                <c:pt idx="69">
                  <c:v>0.29002006330533608</c:v>
                </c:pt>
                <c:pt idx="70">
                  <c:v>0.28498621161857418</c:v>
                </c:pt>
                <c:pt idx="71">
                  <c:v>0.28353637045576624</c:v>
                </c:pt>
                <c:pt idx="72">
                  <c:v>0.28587184505114938</c:v>
                </c:pt>
                <c:pt idx="73">
                  <c:v>0.28339356116676079</c:v>
                </c:pt>
                <c:pt idx="74">
                  <c:v>0.28440213988624802</c:v>
                </c:pt>
                <c:pt idx="75">
                  <c:v>0.284620151447397</c:v>
                </c:pt>
                <c:pt idx="76">
                  <c:v>0.28202107455984249</c:v>
                </c:pt>
                <c:pt idx="77">
                  <c:v>0.28159954396186471</c:v>
                </c:pt>
                <c:pt idx="78">
                  <c:v>0.281651863789523</c:v>
                </c:pt>
                <c:pt idx="79">
                  <c:v>0.2794544032576699</c:v>
                </c:pt>
                <c:pt idx="80">
                  <c:v>0.28046730849428203</c:v>
                </c:pt>
                <c:pt idx="81">
                  <c:v>0.28251137224921735</c:v>
                </c:pt>
                <c:pt idx="82">
                  <c:v>0.27690443777798301</c:v>
                </c:pt>
                <c:pt idx="83">
                  <c:v>0.27416086698448089</c:v>
                </c:pt>
                <c:pt idx="84">
                  <c:v>0.2740048287814057</c:v>
                </c:pt>
                <c:pt idx="85">
                  <c:v>0.27239555669717103</c:v>
                </c:pt>
                <c:pt idx="86">
                  <c:v>0.27220729252205833</c:v>
                </c:pt>
                <c:pt idx="87">
                  <c:v>0.27308106044235603</c:v>
                </c:pt>
                <c:pt idx="88">
                  <c:v>0.27024937571029783</c:v>
                </c:pt>
                <c:pt idx="89">
                  <c:v>0.26984596392446936</c:v>
                </c:pt>
                <c:pt idx="90">
                  <c:v>0.26961894286808713</c:v>
                </c:pt>
                <c:pt idx="91">
                  <c:v>0.26876164624851201</c:v>
                </c:pt>
                <c:pt idx="92">
                  <c:v>0.26975673253907279</c:v>
                </c:pt>
                <c:pt idx="93">
                  <c:v>0.27274992546227661</c:v>
                </c:pt>
                <c:pt idx="94">
                  <c:v>0.26981410410956264</c:v>
                </c:pt>
                <c:pt idx="95">
                  <c:v>0.26933829655372676</c:v>
                </c:pt>
                <c:pt idx="96">
                  <c:v>0.26988865809820123</c:v>
                </c:pt>
                <c:pt idx="97">
                  <c:v>0.26857764835436887</c:v>
                </c:pt>
                <c:pt idx="98">
                  <c:v>0.26947410048541837</c:v>
                </c:pt>
                <c:pt idx="99">
                  <c:v>0.27014704860204175</c:v>
                </c:pt>
                <c:pt idx="100">
                  <c:v>0.26881222605961386</c:v>
                </c:pt>
                <c:pt idx="101">
                  <c:v>0.26934379213937099</c:v>
                </c:pt>
                <c:pt idx="102">
                  <c:v>0.27044006654140362</c:v>
                </c:pt>
                <c:pt idx="103">
                  <c:v>0.26842459668467727</c:v>
                </c:pt>
                <c:pt idx="104">
                  <c:v>0.26969786686565839</c:v>
                </c:pt>
                <c:pt idx="105">
                  <c:v>0.27285955560392133</c:v>
                </c:pt>
                <c:pt idx="106">
                  <c:v>0.26860934882524629</c:v>
                </c:pt>
                <c:pt idx="107">
                  <c:v>0.265654665937887</c:v>
                </c:pt>
                <c:pt idx="108">
                  <c:v>0.26342820441661868</c:v>
                </c:pt>
                <c:pt idx="109">
                  <c:v>0.26009533835225784</c:v>
                </c:pt>
                <c:pt idx="110">
                  <c:v>0.25991220470100429</c:v>
                </c:pt>
                <c:pt idx="111">
                  <c:v>0.25638645106809277</c:v>
                </c:pt>
                <c:pt idx="112">
                  <c:v>0.25306654269674439</c:v>
                </c:pt>
                <c:pt idx="113">
                  <c:v>0.25099989501300768</c:v>
                </c:pt>
                <c:pt idx="114">
                  <c:v>0.24998912059763412</c:v>
                </c:pt>
                <c:pt idx="115">
                  <c:v>0.2476760288055459</c:v>
                </c:pt>
                <c:pt idx="116">
                  <c:v>0.24703997872850952</c:v>
                </c:pt>
              </c:numCache>
            </c:numRef>
          </c:val>
          <c:smooth val="0"/>
        </c:ser>
        <c:ser>
          <c:idx val="2"/>
          <c:order val="2"/>
          <c:tx>
            <c:strRef>
              <c:f>Plan1!$D$1</c:f>
              <c:strCache>
                <c:ptCount val="1"/>
                <c:pt idx="0">
                  <c:v>Direcionado</c:v>
                </c:pt>
              </c:strCache>
            </c:strRef>
          </c:tx>
          <c:spPr>
            <a:ln w="44450" cap="rnd">
              <a:solidFill>
                <a:srgbClr val="FF0000"/>
              </a:solidFill>
              <a:round/>
            </a:ln>
            <a:effectLst/>
          </c:spPr>
          <c:marker>
            <c:symbol val="none"/>
          </c:marker>
          <c:cat>
            <c:numRef>
              <c:f>Plan1!$A$2:$A$118</c:f>
              <c:numCache>
                <c:formatCode>mmm\-yy</c:formatCode>
                <c:ptCount val="117"/>
                <c:pt idx="0">
                  <c:v>39142</c:v>
                </c:pt>
                <c:pt idx="1">
                  <c:v>39173</c:v>
                </c:pt>
                <c:pt idx="2">
                  <c:v>39203</c:v>
                </c:pt>
                <c:pt idx="3">
                  <c:v>39234</c:v>
                </c:pt>
                <c:pt idx="4">
                  <c:v>39264</c:v>
                </c:pt>
                <c:pt idx="5">
                  <c:v>39295</c:v>
                </c:pt>
                <c:pt idx="6">
                  <c:v>39326</c:v>
                </c:pt>
                <c:pt idx="7">
                  <c:v>39356</c:v>
                </c:pt>
                <c:pt idx="8">
                  <c:v>39387</c:v>
                </c:pt>
                <c:pt idx="9">
                  <c:v>39417</c:v>
                </c:pt>
                <c:pt idx="10">
                  <c:v>39448</c:v>
                </c:pt>
                <c:pt idx="11">
                  <c:v>39479</c:v>
                </c:pt>
                <c:pt idx="12">
                  <c:v>39508</c:v>
                </c:pt>
                <c:pt idx="13">
                  <c:v>39539</c:v>
                </c:pt>
                <c:pt idx="14">
                  <c:v>39569</c:v>
                </c:pt>
                <c:pt idx="15">
                  <c:v>39600</c:v>
                </c:pt>
                <c:pt idx="16">
                  <c:v>39630</c:v>
                </c:pt>
                <c:pt idx="17">
                  <c:v>39661</c:v>
                </c:pt>
                <c:pt idx="18">
                  <c:v>39692</c:v>
                </c:pt>
                <c:pt idx="19">
                  <c:v>39722</c:v>
                </c:pt>
                <c:pt idx="20">
                  <c:v>39753</c:v>
                </c:pt>
                <c:pt idx="21">
                  <c:v>39783</c:v>
                </c:pt>
                <c:pt idx="22">
                  <c:v>39814</c:v>
                </c:pt>
                <c:pt idx="23">
                  <c:v>39845</c:v>
                </c:pt>
                <c:pt idx="24">
                  <c:v>39873</c:v>
                </c:pt>
                <c:pt idx="25">
                  <c:v>39904</c:v>
                </c:pt>
                <c:pt idx="26">
                  <c:v>39934</c:v>
                </c:pt>
                <c:pt idx="27">
                  <c:v>39965</c:v>
                </c:pt>
                <c:pt idx="28">
                  <c:v>39995</c:v>
                </c:pt>
                <c:pt idx="29">
                  <c:v>40026</c:v>
                </c:pt>
                <c:pt idx="30">
                  <c:v>40057</c:v>
                </c:pt>
                <c:pt idx="31">
                  <c:v>40087</c:v>
                </c:pt>
                <c:pt idx="32">
                  <c:v>40118</c:v>
                </c:pt>
                <c:pt idx="33">
                  <c:v>40148</c:v>
                </c:pt>
                <c:pt idx="34">
                  <c:v>40179</c:v>
                </c:pt>
                <c:pt idx="35">
                  <c:v>40210</c:v>
                </c:pt>
                <c:pt idx="36">
                  <c:v>40238</c:v>
                </c:pt>
                <c:pt idx="37">
                  <c:v>40269</c:v>
                </c:pt>
                <c:pt idx="38">
                  <c:v>40299</c:v>
                </c:pt>
                <c:pt idx="39">
                  <c:v>40330</c:v>
                </c:pt>
                <c:pt idx="40">
                  <c:v>40360</c:v>
                </c:pt>
                <c:pt idx="41">
                  <c:v>40391</c:v>
                </c:pt>
                <c:pt idx="42">
                  <c:v>40422</c:v>
                </c:pt>
                <c:pt idx="43">
                  <c:v>40452</c:v>
                </c:pt>
                <c:pt idx="44">
                  <c:v>40483</c:v>
                </c:pt>
                <c:pt idx="45">
                  <c:v>40513</c:v>
                </c:pt>
                <c:pt idx="46">
                  <c:v>40544</c:v>
                </c:pt>
                <c:pt idx="47">
                  <c:v>40575</c:v>
                </c:pt>
                <c:pt idx="48">
                  <c:v>40603</c:v>
                </c:pt>
                <c:pt idx="49">
                  <c:v>40634</c:v>
                </c:pt>
                <c:pt idx="50">
                  <c:v>40664</c:v>
                </c:pt>
                <c:pt idx="51">
                  <c:v>40695</c:v>
                </c:pt>
                <c:pt idx="52">
                  <c:v>40725</c:v>
                </c:pt>
                <c:pt idx="53">
                  <c:v>40756</c:v>
                </c:pt>
                <c:pt idx="54">
                  <c:v>40787</c:v>
                </c:pt>
                <c:pt idx="55">
                  <c:v>40817</c:v>
                </c:pt>
                <c:pt idx="56">
                  <c:v>40848</c:v>
                </c:pt>
                <c:pt idx="57">
                  <c:v>40878</c:v>
                </c:pt>
                <c:pt idx="58">
                  <c:v>40909</c:v>
                </c:pt>
                <c:pt idx="59">
                  <c:v>40940</c:v>
                </c:pt>
                <c:pt idx="60">
                  <c:v>40969</c:v>
                </c:pt>
                <c:pt idx="61">
                  <c:v>41000</c:v>
                </c:pt>
                <c:pt idx="62">
                  <c:v>41030</c:v>
                </c:pt>
                <c:pt idx="63">
                  <c:v>41061</c:v>
                </c:pt>
                <c:pt idx="64">
                  <c:v>41091</c:v>
                </c:pt>
                <c:pt idx="65">
                  <c:v>41122</c:v>
                </c:pt>
                <c:pt idx="66">
                  <c:v>41153</c:v>
                </c:pt>
                <c:pt idx="67">
                  <c:v>41183</c:v>
                </c:pt>
                <c:pt idx="68">
                  <c:v>41214</c:v>
                </c:pt>
                <c:pt idx="69">
                  <c:v>41244</c:v>
                </c:pt>
                <c:pt idx="70">
                  <c:v>41275</c:v>
                </c:pt>
                <c:pt idx="71">
                  <c:v>41306</c:v>
                </c:pt>
                <c:pt idx="72">
                  <c:v>41334</c:v>
                </c:pt>
                <c:pt idx="73">
                  <c:v>41365</c:v>
                </c:pt>
                <c:pt idx="74">
                  <c:v>41395</c:v>
                </c:pt>
                <c:pt idx="75">
                  <c:v>41426</c:v>
                </c:pt>
                <c:pt idx="76">
                  <c:v>41456</c:v>
                </c:pt>
                <c:pt idx="77">
                  <c:v>41487</c:v>
                </c:pt>
                <c:pt idx="78">
                  <c:v>41518</c:v>
                </c:pt>
                <c:pt idx="79">
                  <c:v>41548</c:v>
                </c:pt>
                <c:pt idx="80">
                  <c:v>41579</c:v>
                </c:pt>
                <c:pt idx="81">
                  <c:v>41609</c:v>
                </c:pt>
                <c:pt idx="82">
                  <c:v>41640</c:v>
                </c:pt>
                <c:pt idx="83">
                  <c:v>41671</c:v>
                </c:pt>
                <c:pt idx="84">
                  <c:v>41699</c:v>
                </c:pt>
                <c:pt idx="85">
                  <c:v>41730</c:v>
                </c:pt>
                <c:pt idx="86">
                  <c:v>41760</c:v>
                </c:pt>
                <c:pt idx="87">
                  <c:v>41791</c:v>
                </c:pt>
                <c:pt idx="88">
                  <c:v>41821</c:v>
                </c:pt>
                <c:pt idx="89">
                  <c:v>41852</c:v>
                </c:pt>
                <c:pt idx="90">
                  <c:v>41883</c:v>
                </c:pt>
                <c:pt idx="91">
                  <c:v>41913</c:v>
                </c:pt>
                <c:pt idx="92">
                  <c:v>41944</c:v>
                </c:pt>
                <c:pt idx="93">
                  <c:v>41974</c:v>
                </c:pt>
                <c:pt idx="94">
                  <c:v>42005</c:v>
                </c:pt>
                <c:pt idx="95">
                  <c:v>42036</c:v>
                </c:pt>
                <c:pt idx="96">
                  <c:v>42064</c:v>
                </c:pt>
                <c:pt idx="97">
                  <c:v>42095</c:v>
                </c:pt>
                <c:pt idx="98">
                  <c:v>42125</c:v>
                </c:pt>
                <c:pt idx="99">
                  <c:v>42156</c:v>
                </c:pt>
                <c:pt idx="100">
                  <c:v>42186</c:v>
                </c:pt>
                <c:pt idx="101">
                  <c:v>42217</c:v>
                </c:pt>
                <c:pt idx="102">
                  <c:v>42248</c:v>
                </c:pt>
                <c:pt idx="103">
                  <c:v>42278</c:v>
                </c:pt>
                <c:pt idx="104">
                  <c:v>42309</c:v>
                </c:pt>
                <c:pt idx="105">
                  <c:v>42339</c:v>
                </c:pt>
                <c:pt idx="106">
                  <c:v>42370</c:v>
                </c:pt>
                <c:pt idx="107">
                  <c:v>42401</c:v>
                </c:pt>
                <c:pt idx="108">
                  <c:v>42430</c:v>
                </c:pt>
                <c:pt idx="109">
                  <c:v>42461</c:v>
                </c:pt>
                <c:pt idx="110">
                  <c:v>42491</c:v>
                </c:pt>
                <c:pt idx="111">
                  <c:v>42522</c:v>
                </c:pt>
                <c:pt idx="112">
                  <c:v>42552</c:v>
                </c:pt>
                <c:pt idx="113">
                  <c:v>42583</c:v>
                </c:pt>
                <c:pt idx="114">
                  <c:v>42614</c:v>
                </c:pt>
                <c:pt idx="115">
                  <c:v>42644</c:v>
                </c:pt>
                <c:pt idx="116">
                  <c:v>42675</c:v>
                </c:pt>
              </c:numCache>
            </c:numRef>
          </c:cat>
          <c:val>
            <c:numRef>
              <c:f>Plan1!$D$2:$D$118</c:f>
              <c:numCache>
                <c:formatCode>0.0%</c:formatCode>
                <c:ptCount val="117"/>
                <c:pt idx="0">
                  <c:v>0.109343134869965</c:v>
                </c:pt>
                <c:pt idx="1">
                  <c:v>0.10972099354170553</c:v>
                </c:pt>
                <c:pt idx="2">
                  <c:v>0.10940905454352878</c:v>
                </c:pt>
                <c:pt idx="3">
                  <c:v>0.10889759291982753</c:v>
                </c:pt>
                <c:pt idx="4">
                  <c:v>0.10879311407616743</c:v>
                </c:pt>
                <c:pt idx="5">
                  <c:v>0.1105600325927496</c:v>
                </c:pt>
                <c:pt idx="6">
                  <c:v>0.11102600623369319</c:v>
                </c:pt>
                <c:pt idx="7">
                  <c:v>0.11286472926873176</c:v>
                </c:pt>
                <c:pt idx="8">
                  <c:v>0.11544323329080527</c:v>
                </c:pt>
                <c:pt idx="9">
                  <c:v>0.11631522820827359</c:v>
                </c:pt>
                <c:pt idx="10">
                  <c:v>0.11519964462310392</c:v>
                </c:pt>
                <c:pt idx="11">
                  <c:v>0.11426379243903237</c:v>
                </c:pt>
                <c:pt idx="12">
                  <c:v>0.11633866042236976</c:v>
                </c:pt>
                <c:pt idx="13">
                  <c:v>0.11723666994431012</c:v>
                </c:pt>
                <c:pt idx="14">
                  <c:v>0.11855579053802406</c:v>
                </c:pt>
                <c:pt idx="15">
                  <c:v>0.11935304679176029</c:v>
                </c:pt>
                <c:pt idx="16">
                  <c:v>0.1179189750104449</c:v>
                </c:pt>
                <c:pt idx="17">
                  <c:v>0.1186872810190101</c:v>
                </c:pt>
                <c:pt idx="18">
                  <c:v>0.12129888926825666</c:v>
                </c:pt>
                <c:pt idx="19">
                  <c:v>0.12367243050860555</c:v>
                </c:pt>
                <c:pt idx="20">
                  <c:v>0.12634205665775422</c:v>
                </c:pt>
                <c:pt idx="21">
                  <c:v>0.12888179319134374</c:v>
                </c:pt>
                <c:pt idx="22">
                  <c:v>0.13030799264522142</c:v>
                </c:pt>
                <c:pt idx="23">
                  <c:v>0.13028834818169061</c:v>
                </c:pt>
                <c:pt idx="24">
                  <c:v>0.13121255182235969</c:v>
                </c:pt>
                <c:pt idx="25">
                  <c:v>0.13141630299682316</c:v>
                </c:pt>
                <c:pt idx="26">
                  <c:v>0.13189753368449542</c:v>
                </c:pt>
                <c:pt idx="27">
                  <c:v>0.1344735683457805</c:v>
                </c:pt>
                <c:pt idx="28">
                  <c:v>0.14432389512590066</c:v>
                </c:pt>
                <c:pt idx="29">
                  <c:v>0.1470237935594515</c:v>
                </c:pt>
                <c:pt idx="30">
                  <c:v>0.14938967091647609</c:v>
                </c:pt>
                <c:pt idx="31">
                  <c:v>0.15148750193104138</c:v>
                </c:pt>
                <c:pt idx="32">
                  <c:v>0.15243970305201271</c:v>
                </c:pt>
                <c:pt idx="33">
                  <c:v>0.15528049263384047</c:v>
                </c:pt>
                <c:pt idx="34">
                  <c:v>0.1561032993330303</c:v>
                </c:pt>
                <c:pt idx="35">
                  <c:v>0.15510049032954742</c:v>
                </c:pt>
                <c:pt idx="36">
                  <c:v>0.15450543894660262</c:v>
                </c:pt>
                <c:pt idx="37">
                  <c:v>0.15471520744278633</c:v>
                </c:pt>
                <c:pt idx="38">
                  <c:v>0.15696372278309489</c:v>
                </c:pt>
                <c:pt idx="39">
                  <c:v>0.15950967672189775</c:v>
                </c:pt>
                <c:pt idx="40">
                  <c:v>0.16075455652476972</c:v>
                </c:pt>
                <c:pt idx="41">
                  <c:v>0.16412989084793617</c:v>
                </c:pt>
                <c:pt idx="42">
                  <c:v>0.1651566995696867</c:v>
                </c:pt>
                <c:pt idx="43">
                  <c:v>0.16697518602471267</c:v>
                </c:pt>
                <c:pt idx="44">
                  <c:v>0.16802497019178286</c:v>
                </c:pt>
                <c:pt idx="45">
                  <c:v>0.16908643083477037</c:v>
                </c:pt>
                <c:pt idx="46">
                  <c:v>0.16844954564116571</c:v>
                </c:pt>
                <c:pt idx="47">
                  <c:v>0.16841235876986227</c:v>
                </c:pt>
                <c:pt idx="48">
                  <c:v>0.16818119793305952</c:v>
                </c:pt>
                <c:pt idx="49">
                  <c:v>0.16816647772101329</c:v>
                </c:pt>
                <c:pt idx="50">
                  <c:v>0.16900115780791125</c:v>
                </c:pt>
                <c:pt idx="51">
                  <c:v>0.16976794164297193</c:v>
                </c:pt>
                <c:pt idx="52">
                  <c:v>0.17087117272900282</c:v>
                </c:pt>
                <c:pt idx="53">
                  <c:v>0.17336469947945354</c:v>
                </c:pt>
                <c:pt idx="54">
                  <c:v>0.17682552124032652</c:v>
                </c:pt>
                <c:pt idx="55">
                  <c:v>0.17698470051022913</c:v>
                </c:pt>
                <c:pt idx="56">
                  <c:v>0.18014041693755117</c:v>
                </c:pt>
                <c:pt idx="57">
                  <c:v>0.18376937845005303</c:v>
                </c:pt>
                <c:pt idx="58">
                  <c:v>0.18286946040947966</c:v>
                </c:pt>
                <c:pt idx="59">
                  <c:v>0.18164625471497081</c:v>
                </c:pt>
                <c:pt idx="60">
                  <c:v>0.18292593690427206</c:v>
                </c:pt>
                <c:pt idx="61">
                  <c:v>0.18417429738707947</c:v>
                </c:pt>
                <c:pt idx="62">
                  <c:v>0.18617364659212704</c:v>
                </c:pt>
                <c:pt idx="63">
                  <c:v>0.18753609306606212</c:v>
                </c:pt>
                <c:pt idx="64">
                  <c:v>0.18853454841745426</c:v>
                </c:pt>
                <c:pt idx="65">
                  <c:v>0.1900241856747758</c:v>
                </c:pt>
                <c:pt idx="66">
                  <c:v>0.19133001534260152</c:v>
                </c:pt>
                <c:pt idx="67">
                  <c:v>0.19387132291821407</c:v>
                </c:pt>
                <c:pt idx="68">
                  <c:v>0.19661535571782296</c:v>
                </c:pt>
                <c:pt idx="69">
                  <c:v>0.20187112130199636</c:v>
                </c:pt>
                <c:pt idx="70">
                  <c:v>0.2017194733964881</c:v>
                </c:pt>
                <c:pt idx="71">
                  <c:v>0.20362212484717263</c:v>
                </c:pt>
                <c:pt idx="72">
                  <c:v>0.20673837849116145</c:v>
                </c:pt>
                <c:pt idx="73">
                  <c:v>0.20802555017327756</c:v>
                </c:pt>
                <c:pt idx="74">
                  <c:v>0.21083635735905215</c:v>
                </c:pt>
                <c:pt idx="75">
                  <c:v>0.21505741175147924</c:v>
                </c:pt>
                <c:pt idx="76">
                  <c:v>0.21598486826237939</c:v>
                </c:pt>
                <c:pt idx="77">
                  <c:v>0.21952958742576401</c:v>
                </c:pt>
                <c:pt idx="78">
                  <c:v>0.2187556519800492</c:v>
                </c:pt>
                <c:pt idx="79">
                  <c:v>0.21798896679494573</c:v>
                </c:pt>
                <c:pt idx="80">
                  <c:v>0.22092560587963017</c:v>
                </c:pt>
                <c:pt idx="81">
                  <c:v>0.2260341558539723</c:v>
                </c:pt>
                <c:pt idx="82">
                  <c:v>0.22764620842212679</c:v>
                </c:pt>
                <c:pt idx="83">
                  <c:v>0.22737785374890279</c:v>
                </c:pt>
                <c:pt idx="84">
                  <c:v>0.2286160951503215</c:v>
                </c:pt>
                <c:pt idx="85">
                  <c:v>0.23032890134991185</c:v>
                </c:pt>
                <c:pt idx="86">
                  <c:v>0.23161089238992838</c:v>
                </c:pt>
                <c:pt idx="87">
                  <c:v>0.23353701897373602</c:v>
                </c:pt>
                <c:pt idx="88">
                  <c:v>0.23471644570949923</c:v>
                </c:pt>
                <c:pt idx="89">
                  <c:v>0.23704705990324937</c:v>
                </c:pt>
                <c:pt idx="90">
                  <c:v>0.24004257369942678</c:v>
                </c:pt>
                <c:pt idx="91">
                  <c:v>0.24185858153229672</c:v>
                </c:pt>
                <c:pt idx="92">
                  <c:v>0.24467525047683619</c:v>
                </c:pt>
                <c:pt idx="93">
                  <c:v>0.24939586807506486</c:v>
                </c:pt>
                <c:pt idx="94">
                  <c:v>0.24974399089990684</c:v>
                </c:pt>
                <c:pt idx="95">
                  <c:v>0.25126139710605389</c:v>
                </c:pt>
                <c:pt idx="96">
                  <c:v>0.25345232359281272</c:v>
                </c:pt>
                <c:pt idx="97">
                  <c:v>0.25332837207361297</c:v>
                </c:pt>
                <c:pt idx="98">
                  <c:v>0.25504453319631731</c:v>
                </c:pt>
                <c:pt idx="99">
                  <c:v>0.25469048635288205</c:v>
                </c:pt>
                <c:pt idx="100">
                  <c:v>0.25566605597626546</c:v>
                </c:pt>
                <c:pt idx="101">
                  <c:v>0.25800800275478208</c:v>
                </c:pt>
                <c:pt idx="102">
                  <c:v>0.26091520054895678</c:v>
                </c:pt>
                <c:pt idx="103">
                  <c:v>0.26035380198873276</c:v>
                </c:pt>
                <c:pt idx="104">
                  <c:v>0.26097023516967827</c:v>
                </c:pt>
                <c:pt idx="105">
                  <c:v>0.26366826287600492</c:v>
                </c:pt>
                <c:pt idx="106">
                  <c:v>0.26349417828633898</c:v>
                </c:pt>
                <c:pt idx="107">
                  <c:v>0.26174168204214177</c:v>
                </c:pt>
                <c:pt idx="108">
                  <c:v>0.25953728298619433</c:v>
                </c:pt>
                <c:pt idx="109">
                  <c:v>0.258059390269198</c:v>
                </c:pt>
                <c:pt idx="110">
                  <c:v>0.2577143210007089</c:v>
                </c:pt>
                <c:pt idx="111">
                  <c:v>0.25498125716424225</c:v>
                </c:pt>
                <c:pt idx="112">
                  <c:v>0.25432026625571452</c:v>
                </c:pt>
                <c:pt idx="113">
                  <c:v>0.25351086900431874</c:v>
                </c:pt>
                <c:pt idx="114">
                  <c:v>0.25247951029734217</c:v>
                </c:pt>
                <c:pt idx="115">
                  <c:v>0.24885245901113201</c:v>
                </c:pt>
                <c:pt idx="116">
                  <c:v>0.24823972321277249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90177664"/>
        <c:axId val="190179200"/>
      </c:lineChart>
      <c:dateAx>
        <c:axId val="190177664"/>
        <c:scaling>
          <c:orientation val="minMax"/>
        </c:scaling>
        <c:delete val="0"/>
        <c:axPos val="b"/>
        <c:numFmt formatCode="mmm\-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vert="horz"/>
          <a:lstStyle/>
          <a:p>
            <a:pPr>
              <a:defRPr/>
            </a:pPr>
            <a:endParaRPr lang="pt-BR"/>
          </a:p>
        </c:txPr>
        <c:crossAx val="190179200"/>
        <c:crosses val="autoZero"/>
        <c:auto val="1"/>
        <c:lblOffset val="100"/>
        <c:baseTimeUnit val="months"/>
      </c:dateAx>
      <c:valAx>
        <c:axId val="190179200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vert="horz"/>
          <a:lstStyle/>
          <a:p>
            <a:pPr>
              <a:defRPr/>
            </a:pPr>
            <a:endParaRPr lang="pt-BR"/>
          </a:p>
        </c:txPr>
        <c:crossAx val="19017766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vert="horz"/>
        <a:lstStyle/>
        <a:p>
          <a:pPr>
            <a:defRPr sz="1600"/>
          </a:pPr>
          <a:endParaRPr lang="pt-BR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600"/>
      </a:pPr>
      <a:endParaRPr lang="pt-BR"/>
    </a:p>
  </c:txPr>
  <c:externalData r:id="rId1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32920313085695529"/>
          <c:y val="0.1548538953761473"/>
          <c:w val="0.41934772947933319"/>
          <c:h val="0.67684194933506414"/>
        </c:manualLayout>
      </c:layout>
      <c:pieChart>
        <c:varyColors val="1"/>
        <c:ser>
          <c:idx val="0"/>
          <c:order val="0"/>
          <c:tx>
            <c:strRef>
              <c:f>Plan1!$B$1</c:f>
              <c:strCache>
                <c:ptCount val="1"/>
                <c:pt idx="0">
                  <c:v>bilhões</c:v>
                </c:pt>
              </c:strCache>
            </c:strRef>
          </c:tx>
          <c:dPt>
            <c:idx val="1"/>
            <c:bubble3D val="0"/>
            <c:spPr>
              <a:solidFill>
                <a:srgbClr val="00B0F0"/>
              </a:solidFill>
            </c:spPr>
          </c:dPt>
          <c:dPt>
            <c:idx val="2"/>
            <c:bubble3D val="0"/>
            <c:spPr>
              <a:solidFill>
                <a:srgbClr val="FFC000"/>
              </a:solidFill>
            </c:spPr>
          </c:dPt>
          <c:dPt>
            <c:idx val="3"/>
            <c:bubble3D val="0"/>
            <c:spPr>
              <a:solidFill>
                <a:srgbClr val="FF0000"/>
              </a:solidFill>
            </c:spPr>
          </c:dPt>
          <c:dLbls>
            <c:dLbl>
              <c:idx val="0"/>
              <c:layout>
                <c:manualLayout>
                  <c:x val="6.6761040242246647E-2"/>
                  <c:y val="-0.20298207606562241"/>
                </c:manualLayout>
              </c:layout>
              <c:dLblPos val="bestFit"/>
              <c:showLegendKey val="0"/>
              <c:showVal val="1"/>
              <c:showCatName val="0"/>
              <c:showSerName val="0"/>
              <c:showPercent val="1"/>
              <c:showBubbleSize val="0"/>
              <c:separator>
</c:separator>
              <c:extLst>
                <c:ext xmlns:c15="http://schemas.microsoft.com/office/drawing/2012/chart" uri="{CE6537A1-D6FC-4f65-9D91-7224C49458BB}"/>
              </c:extLst>
            </c:dLbl>
            <c:dLbl>
              <c:idx val="1"/>
              <c:layout>
                <c:manualLayout>
                  <c:x val="-5.8827816481342506E-2"/>
                  <c:y val="-0.17092487408806428"/>
                </c:manualLayout>
              </c:layout>
              <c:dLblPos val="bestFit"/>
              <c:showLegendKey val="0"/>
              <c:showVal val="1"/>
              <c:showCatName val="0"/>
              <c:showSerName val="0"/>
              <c:showPercent val="1"/>
              <c:showBubbleSize val="0"/>
              <c:separator>
</c:separator>
              <c:extLst>
                <c:ext xmlns:c15="http://schemas.microsoft.com/office/drawing/2012/chart" uri="{CE6537A1-D6FC-4f65-9D91-7224C49458BB}"/>
              </c:extLst>
            </c:dLbl>
            <c:dLbl>
              <c:idx val="2"/>
              <c:layout>
                <c:manualLayout>
                  <c:x val="-0.10107437115510608"/>
                  <c:y val="8.431689851225109E-2"/>
                </c:manualLayout>
              </c:layout>
              <c:dLblPos val="bestFit"/>
              <c:showLegendKey val="0"/>
              <c:showVal val="1"/>
              <c:showCatName val="0"/>
              <c:showSerName val="0"/>
              <c:showPercent val="1"/>
              <c:showBubbleSize val="0"/>
              <c:separator>
</c:separator>
              <c:extLst>
                <c:ext xmlns:c15="http://schemas.microsoft.com/office/drawing/2012/chart" uri="{CE6537A1-D6FC-4f65-9D91-7224C49458BB}"/>
              </c:extLst>
            </c:dLbl>
            <c:dLbl>
              <c:idx val="3"/>
              <c:layout>
                <c:manualLayout>
                  <c:x val="-4.3963527148988546E-2"/>
                  <c:y val="7.7354952763533094E-4"/>
                </c:manualLayout>
              </c:layout>
              <c:dLblPos val="bestFit"/>
              <c:showLegendKey val="0"/>
              <c:showVal val="1"/>
              <c:showCatName val="0"/>
              <c:showSerName val="0"/>
              <c:showPercent val="1"/>
              <c:showBubbleSize val="0"/>
              <c:separator>
</c:separator>
              <c:extLst>
                <c:ext xmlns:c15="http://schemas.microsoft.com/office/drawing/2012/chart" uri="{CE6537A1-D6FC-4f65-9D91-7224C49458BB}"/>
              </c:extLst>
            </c:dLbl>
            <c:dLbl>
              <c:idx val="4"/>
              <c:layout>
                <c:manualLayout>
                  <c:x val="5.6529273639329691E-2"/>
                  <c:y val="2.3206485829059928E-3"/>
                </c:manualLayout>
              </c:layout>
              <c:dLblPos val="bestFit"/>
              <c:showLegendKey val="0"/>
              <c:showVal val="1"/>
              <c:showCatName val="0"/>
              <c:showSerName val="0"/>
              <c:showPercent val="1"/>
              <c:showBubbleSize val="0"/>
              <c:separator>
</c:separator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dLblPos val="bestFit"/>
            <c:showLegendKey val="0"/>
            <c:showVal val="1"/>
            <c:showCatName val="0"/>
            <c:showSerName val="0"/>
            <c:showPercent val="1"/>
            <c:showBubbleSize val="0"/>
            <c:separator>
</c:separator>
            <c:showLeaderLines val="1"/>
            <c:extLst>
              <c:ext xmlns:c15="http://schemas.microsoft.com/office/drawing/2012/chart" uri="{CE6537A1-D6FC-4f65-9D91-7224C49458BB}"/>
            </c:extLst>
          </c:dLbls>
          <c:cat>
            <c:strRef>
              <c:f>Plan1!$A$2:$A$6</c:f>
              <c:strCache>
                <c:ptCount val="5"/>
                <c:pt idx="0">
                  <c:v>Bancos Públicos</c:v>
                </c:pt>
                <c:pt idx="1">
                  <c:v>Bancos Privados</c:v>
                </c:pt>
                <c:pt idx="2">
                  <c:v>Cooperativa de Crédito</c:v>
                </c:pt>
                <c:pt idx="3">
                  <c:v>Bco. Desenv. e Ag. Fomento</c:v>
                </c:pt>
                <c:pt idx="4">
                  <c:v>Sociedade de Crédito, Financiamento e Investimento</c:v>
                </c:pt>
              </c:strCache>
            </c:strRef>
          </c:cat>
          <c:val>
            <c:numRef>
              <c:f>Plan1!$B$2:$B$6</c:f>
              <c:numCache>
                <c:formatCode>_(* #,##0.00_);_(* \(#,##0.00\);_(* "-"??_);_(@_)</c:formatCode>
                <c:ptCount val="5"/>
                <c:pt idx="0">
                  <c:v>91.041124180619988</c:v>
                </c:pt>
                <c:pt idx="1">
                  <c:v>48.681953168100002</c:v>
                </c:pt>
                <c:pt idx="2">
                  <c:v>19.618339820839999</c:v>
                </c:pt>
                <c:pt idx="3">
                  <c:v>2.5160568848600002</c:v>
                </c:pt>
                <c:pt idx="4">
                  <c:v>3.2115028980000002E-2</c:v>
                </c:pt>
              </c:numCache>
            </c:numRef>
          </c:val>
        </c:ser>
        <c:dLbls>
          <c:dLblPos val="bestFit"/>
          <c:showLegendKey val="0"/>
          <c:showVal val="0"/>
          <c:showCatName val="0"/>
          <c:showSerName val="0"/>
          <c:showPercent val="1"/>
          <c:showBubbleSize val="0"/>
          <c:showLeaderLines val="1"/>
        </c:dLbls>
        <c:firstSliceAng val="0"/>
      </c:pieChart>
    </c:plotArea>
    <c:legend>
      <c:legendPos val="b"/>
      <c:layout>
        <c:manualLayout>
          <c:xMode val="edge"/>
          <c:yMode val="edge"/>
          <c:x val="0"/>
          <c:y val="0.55533702273821428"/>
          <c:w val="0.65231169242201625"/>
          <c:h val="0.44466297726178572"/>
        </c:manualLayout>
      </c:layout>
      <c:overlay val="0"/>
      <c:txPr>
        <a:bodyPr/>
        <a:lstStyle/>
        <a:p>
          <a:pPr>
            <a:defRPr sz="1800"/>
          </a:pPr>
          <a:endParaRPr lang="pt-BR"/>
        </a:p>
      </c:txPr>
    </c:legend>
    <c:plotVisOnly val="1"/>
    <c:dispBlanksAs val="gap"/>
    <c:showDLblsOverMax val="0"/>
  </c:chart>
  <c:txPr>
    <a:bodyPr/>
    <a:lstStyle/>
    <a:p>
      <a:pPr>
        <a:defRPr sz="1800"/>
      </a:pPr>
      <a:endParaRPr lang="pt-BR"/>
    </a:p>
  </c:txPr>
  <c:externalData r:id="rId2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35167197606063094"/>
          <c:y val="7.4404679241988986E-2"/>
          <c:w val="0.41934772947933319"/>
          <c:h val="0.67684194933506414"/>
        </c:manualLayout>
      </c:layout>
      <c:pieChart>
        <c:varyColors val="1"/>
        <c:ser>
          <c:idx val="0"/>
          <c:order val="0"/>
          <c:tx>
            <c:strRef>
              <c:f>Plan1!$B$1</c:f>
              <c:strCache>
                <c:ptCount val="1"/>
                <c:pt idx="0">
                  <c:v>bilhões</c:v>
                </c:pt>
              </c:strCache>
            </c:strRef>
          </c:tx>
          <c:dPt>
            <c:idx val="0"/>
            <c:bubble3D val="0"/>
            <c:spPr>
              <a:solidFill>
                <a:srgbClr val="0000FF"/>
              </a:solidFill>
              <a:ln>
                <a:noFill/>
              </a:ln>
              <a:effectLst/>
            </c:spPr>
          </c:dPt>
          <c:dPt>
            <c:idx val="1"/>
            <c:bubble3D val="0"/>
            <c:spPr>
              <a:solidFill>
                <a:srgbClr val="00B0F0"/>
              </a:solidFill>
              <a:ln>
                <a:noFill/>
              </a:ln>
              <a:effectLst/>
            </c:spPr>
          </c:dPt>
          <c:dPt>
            <c:idx val="2"/>
            <c:bubble3D val="0"/>
            <c:spPr>
              <a:solidFill>
                <a:srgbClr val="FF0000"/>
              </a:solidFill>
              <a:ln>
                <a:noFill/>
              </a:ln>
              <a:effectLst/>
            </c:spPr>
          </c:dPt>
          <c:dPt>
            <c:idx val="3"/>
            <c:bubble3D val="0"/>
            <c:spPr>
              <a:solidFill>
                <a:srgbClr val="FF66FF"/>
              </a:solidFill>
              <a:ln>
                <a:noFill/>
              </a:ln>
              <a:effectLst/>
            </c:spPr>
          </c:dPt>
          <c:dLbls>
            <c:dLbl>
              <c:idx val="0"/>
              <c:layout>
                <c:manualLayout>
                  <c:x val="3.0816246866290219E-2"/>
                  <c:y val="1.670598108146714E-2"/>
                </c:manualLayout>
              </c:layout>
              <c:dLblPos val="bestFit"/>
              <c:showLegendKey val="0"/>
              <c:showVal val="1"/>
              <c:showCatName val="0"/>
              <c:showSerName val="0"/>
              <c:showPercent val="1"/>
              <c:showBubbleSize val="0"/>
              <c:separator>
</c:separator>
              <c:extLst>
                <c:ext xmlns:c15="http://schemas.microsoft.com/office/drawing/2012/chart" uri="{CE6537A1-D6FC-4f65-9D91-7224C49458BB}"/>
              </c:extLst>
            </c:dLbl>
            <c:dLbl>
              <c:idx val="1"/>
              <c:layout>
                <c:manualLayout>
                  <c:x val="-5.882770271902156E-2"/>
                  <c:y val="-4.8446127818156659E-2"/>
                </c:manualLayout>
              </c:layout>
              <c:dLblPos val="bestFit"/>
              <c:showLegendKey val="0"/>
              <c:showVal val="1"/>
              <c:showCatName val="0"/>
              <c:showSerName val="0"/>
              <c:showPercent val="1"/>
              <c:showBubbleSize val="0"/>
              <c:separator>
</c:separator>
              <c:extLst>
                <c:ext xmlns:c15="http://schemas.microsoft.com/office/drawing/2012/chart" uri="{CE6537A1-D6FC-4f65-9D91-7224C49458BB}"/>
              </c:extLst>
            </c:dLbl>
            <c:dLbl>
              <c:idx val="2"/>
              <c:layout>
                <c:manualLayout>
                  <c:x val="-0.10251216048458384"/>
                  <c:y val="5.3374917406837835E-2"/>
                </c:manualLayout>
              </c:layout>
              <c:dLblPos val="bestFit"/>
              <c:showLegendKey val="0"/>
              <c:showVal val="1"/>
              <c:showCatName val="0"/>
              <c:showSerName val="0"/>
              <c:showPercent val="1"/>
              <c:showBubbleSize val="0"/>
              <c:separator>
</c:separator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24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pt-BR"/>
              </a:p>
            </c:txPr>
            <c:dLblPos val="bestFit"/>
            <c:showLegendKey val="0"/>
            <c:showVal val="1"/>
            <c:showCatName val="0"/>
            <c:showSerName val="0"/>
            <c:showPercent val="1"/>
            <c:showBubbleSize val="0"/>
            <c:separator>
</c:separator>
            <c:showLeaderLines val="1"/>
            <c:leaderLines>
              <c:spPr>
                <a:ln w="6350" cap="flat" cmpd="sng" algn="ctr">
                  <a:solidFill>
                    <a:schemeClr val="tx1"/>
                  </a:solidFill>
                  <a:prstDash val="solid"/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Plan1!$A$2:$A$5</c:f>
              <c:strCache>
                <c:ptCount val="4"/>
                <c:pt idx="0">
                  <c:v>Controlado - agrícola</c:v>
                </c:pt>
                <c:pt idx="1">
                  <c:v>Controlado - pecuária</c:v>
                </c:pt>
                <c:pt idx="2">
                  <c:v>Livre - agrícola</c:v>
                </c:pt>
                <c:pt idx="3">
                  <c:v>Livre - pecuária</c:v>
                </c:pt>
              </c:strCache>
            </c:strRef>
          </c:cat>
          <c:val>
            <c:numRef>
              <c:f>Plan1!$B$2:$B$5</c:f>
              <c:numCache>
                <c:formatCode>General</c:formatCode>
                <c:ptCount val="4"/>
                <c:pt idx="0">
                  <c:v>88.941000000000003</c:v>
                </c:pt>
                <c:pt idx="1">
                  <c:v>42.875</c:v>
                </c:pt>
                <c:pt idx="2">
                  <c:v>21.231999999999999</c:v>
                </c:pt>
                <c:pt idx="3">
                  <c:v>8.7579999999999991</c:v>
                </c:pt>
              </c:numCache>
            </c:numRef>
          </c:val>
        </c:ser>
        <c:dLbls>
          <c:dLblPos val="bestFit"/>
          <c:showLegendKey val="0"/>
          <c:showVal val="0"/>
          <c:showCatName val="0"/>
          <c:showSerName val="0"/>
          <c:showPercent val="1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"/>
          <c:y val="0.63617286571333342"/>
          <c:w val="0.47472625606236452"/>
          <c:h val="0.34493042439728921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24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pt-BR"/>
        </a:p>
      </c:txPr>
    </c:legend>
    <c:plotVisOnly val="1"/>
    <c:dispBlanksAs val="gap"/>
    <c:showDLblsOverMax val="0"/>
  </c:chart>
  <c:spPr>
    <a:noFill/>
    <a:ln w="9525" cap="flat" cmpd="sng" algn="ctr">
      <a:noFill/>
      <a:prstDash val="solid"/>
    </a:ln>
    <a:effectLst/>
  </c:spPr>
  <c:txPr>
    <a:bodyPr/>
    <a:lstStyle/>
    <a:p>
      <a:pPr>
        <a:defRPr sz="1800"/>
      </a:pPr>
      <a:endParaRPr lang="pt-BR"/>
    </a:p>
  </c:txPr>
  <c:externalData r:id="rId1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35167197606063094"/>
          <c:y val="7.4404679241988986E-2"/>
          <c:w val="0.41934772947933319"/>
          <c:h val="0.67684194933506414"/>
        </c:manualLayout>
      </c:layout>
      <c:pieChart>
        <c:varyColors val="1"/>
        <c:ser>
          <c:idx val="0"/>
          <c:order val="0"/>
          <c:tx>
            <c:strRef>
              <c:f>Plan1!$B$1</c:f>
              <c:strCache>
                <c:ptCount val="1"/>
                <c:pt idx="0">
                  <c:v>bilhões</c:v>
                </c:pt>
              </c:strCache>
            </c:strRef>
          </c:tx>
          <c:dPt>
            <c:idx val="0"/>
            <c:bubble3D val="0"/>
            <c:spPr>
              <a:solidFill>
                <a:srgbClr val="0000FF"/>
              </a:solidFill>
              <a:ln>
                <a:noFill/>
              </a:ln>
              <a:effectLst/>
            </c:spPr>
          </c:dPt>
          <c:dPt>
            <c:idx val="1"/>
            <c:bubble3D val="0"/>
            <c:spPr>
              <a:solidFill>
                <a:srgbClr val="7030A0"/>
              </a:solidFill>
              <a:ln>
                <a:noFill/>
              </a:ln>
              <a:effectLst/>
            </c:spPr>
          </c:dPt>
          <c:dPt>
            <c:idx val="2"/>
            <c:bubble3D val="0"/>
            <c:spPr>
              <a:solidFill>
                <a:srgbClr val="FF0000"/>
              </a:solidFill>
              <a:ln>
                <a:noFill/>
              </a:ln>
              <a:effectLst/>
            </c:spPr>
          </c:dPt>
          <c:dPt>
            <c:idx val="3"/>
            <c:bubble3D val="0"/>
            <c:spPr>
              <a:solidFill>
                <a:srgbClr val="FFC000"/>
              </a:solidFill>
              <a:ln>
                <a:noFill/>
              </a:ln>
              <a:effectLst/>
            </c:spPr>
          </c:dPt>
          <c:dPt>
            <c:idx val="4"/>
            <c:bubble3D val="0"/>
            <c:spPr>
              <a:solidFill>
                <a:schemeClr val="tx2">
                  <a:lumMod val="75000"/>
                  <a:lumOff val="25000"/>
                </a:schemeClr>
              </a:solidFill>
              <a:ln>
                <a:noFill/>
              </a:ln>
              <a:effectLst/>
            </c:spPr>
          </c:dPt>
          <c:dLbls>
            <c:dLbl>
              <c:idx val="0"/>
              <c:layout>
                <c:manualLayout>
                  <c:x val="3.0816246866290219E-2"/>
                  <c:y val="1.670598108146714E-2"/>
                </c:manualLayout>
              </c:layout>
              <c:dLblPos val="bestFit"/>
              <c:showLegendKey val="0"/>
              <c:showVal val="1"/>
              <c:showCatName val="0"/>
              <c:showSerName val="0"/>
              <c:showPercent val="1"/>
              <c:showBubbleSize val="0"/>
              <c:separator>
</c:separator>
              <c:extLst>
                <c:ext xmlns:c15="http://schemas.microsoft.com/office/drawing/2012/chart" uri="{CE6537A1-D6FC-4f65-9D91-7224C49458BB}"/>
              </c:extLst>
            </c:dLbl>
            <c:dLbl>
              <c:idx val="1"/>
              <c:layout>
                <c:manualLayout>
                  <c:x val="-5.882770271902156E-2"/>
                  <c:y val="-4.8446127818156659E-2"/>
                </c:manualLayout>
              </c:layout>
              <c:dLblPos val="bestFit"/>
              <c:showLegendKey val="0"/>
              <c:showVal val="1"/>
              <c:showCatName val="0"/>
              <c:showSerName val="0"/>
              <c:showPercent val="1"/>
              <c:showBubbleSize val="0"/>
              <c:separator>
</c:separator>
              <c:extLst>
                <c:ext xmlns:c15="http://schemas.microsoft.com/office/drawing/2012/chart" uri="{CE6537A1-D6FC-4f65-9D91-7224C49458BB}"/>
              </c:extLst>
            </c:dLbl>
            <c:dLbl>
              <c:idx val="2"/>
              <c:layout>
                <c:manualLayout>
                  <c:x val="-0.10251216048458384"/>
                  <c:y val="5.3374917406837835E-2"/>
                </c:manualLayout>
              </c:layout>
              <c:dLblPos val="bestFit"/>
              <c:showLegendKey val="0"/>
              <c:showVal val="1"/>
              <c:showCatName val="0"/>
              <c:showSerName val="0"/>
              <c:showPercent val="1"/>
              <c:showBubbleSize val="0"/>
              <c:separator>
</c:separator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24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pt-BR"/>
              </a:p>
            </c:txPr>
            <c:dLblPos val="bestFit"/>
            <c:showLegendKey val="0"/>
            <c:showVal val="1"/>
            <c:showCatName val="0"/>
            <c:showSerName val="0"/>
            <c:showPercent val="1"/>
            <c:showBubbleSize val="0"/>
            <c:separator>
</c:separator>
            <c:showLeaderLines val="1"/>
            <c:leaderLines>
              <c:spPr>
                <a:ln w="6350" cap="flat" cmpd="sng" algn="ctr">
                  <a:solidFill>
                    <a:schemeClr val="tx1"/>
                  </a:solidFill>
                  <a:prstDash val="solid"/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Plan1!$A$2:$A$6</c:f>
              <c:strCache>
                <c:ptCount val="5"/>
                <c:pt idx="0">
                  <c:v>Sul</c:v>
                </c:pt>
                <c:pt idx="1">
                  <c:v>Sudeste</c:v>
                </c:pt>
                <c:pt idx="2">
                  <c:v>Centro-Oeste</c:v>
                </c:pt>
                <c:pt idx="3">
                  <c:v>Nordeste</c:v>
                </c:pt>
                <c:pt idx="4">
                  <c:v>Norte</c:v>
                </c:pt>
              </c:strCache>
            </c:strRef>
          </c:cat>
          <c:val>
            <c:numRef>
              <c:f>Plan1!$B$2:$B$6</c:f>
              <c:numCache>
                <c:formatCode>General</c:formatCode>
                <c:ptCount val="5"/>
                <c:pt idx="0">
                  <c:v>62.341999999999999</c:v>
                </c:pt>
                <c:pt idx="1">
                  <c:v>44.445</c:v>
                </c:pt>
                <c:pt idx="2">
                  <c:v>36.347000000000001</c:v>
                </c:pt>
                <c:pt idx="3">
                  <c:v>12.067</c:v>
                </c:pt>
                <c:pt idx="4">
                  <c:v>6.6059999999999999</c:v>
                </c:pt>
              </c:numCache>
            </c:numRef>
          </c:val>
        </c:ser>
        <c:dLbls>
          <c:dLblPos val="bestFit"/>
          <c:showLegendKey val="0"/>
          <c:showVal val="0"/>
          <c:showCatName val="0"/>
          <c:showSerName val="0"/>
          <c:showPercent val="1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b"/>
      <c:legendEntry>
        <c:idx val="0"/>
        <c:txPr>
          <a:bodyPr rot="0" spcFirstLastPara="1" vertOverflow="ellipsis" vert="horz" wrap="square" anchor="ctr" anchorCtr="1"/>
          <a:lstStyle/>
          <a:p>
            <a:pPr>
              <a:defRPr sz="28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pt-BR"/>
          </a:p>
        </c:txPr>
      </c:legendEntry>
      <c:layout>
        <c:manualLayout>
          <c:xMode val="edge"/>
          <c:yMode val="edge"/>
          <c:x val="0"/>
          <c:y val="0.56887410901712687"/>
          <c:w val="0.3769563185973116"/>
          <c:h val="0.41222923330156297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28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pt-BR"/>
        </a:p>
      </c:txPr>
    </c:legend>
    <c:plotVisOnly val="1"/>
    <c:dispBlanksAs val="gap"/>
    <c:showDLblsOverMax val="0"/>
  </c:chart>
  <c:spPr>
    <a:noFill/>
    <a:ln w="9525" cap="flat" cmpd="sng" algn="ctr">
      <a:noFill/>
      <a:prstDash val="solid"/>
    </a:ln>
    <a:effectLst/>
  </c:spPr>
  <c:txPr>
    <a:bodyPr/>
    <a:lstStyle/>
    <a:p>
      <a:pPr>
        <a:defRPr sz="1800"/>
      </a:pPr>
      <a:endParaRPr lang="pt-BR"/>
    </a:p>
  </c:txPr>
  <c:externalData r:id="rId1">
    <c:autoUpdate val="0"/>
  </c:externalData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39402586737138912"/>
          <c:y val="0.19198427270264318"/>
          <c:w val="0.41934772947933319"/>
          <c:h val="0.67684194933506414"/>
        </c:manualLayout>
      </c:layout>
      <c:pieChart>
        <c:varyColors val="1"/>
        <c:ser>
          <c:idx val="0"/>
          <c:order val="0"/>
          <c:tx>
            <c:strRef>
              <c:f>Plan1!$B$1</c:f>
              <c:strCache>
                <c:ptCount val="1"/>
                <c:pt idx="0">
                  <c:v>milhoes</c:v>
                </c:pt>
              </c:strCache>
            </c:strRef>
          </c:tx>
          <c:spPr>
            <a:solidFill>
              <a:schemeClr val="accent1"/>
            </a:solidFill>
          </c:spPr>
          <c:dPt>
            <c:idx val="0"/>
            <c:bubble3D val="0"/>
            <c:spPr>
              <a:solidFill>
                <a:schemeClr val="accent1"/>
              </a:solidFill>
              <a:ln>
                <a:noFill/>
              </a:ln>
              <a:effectLst/>
            </c:spPr>
          </c:dPt>
          <c:dPt>
            <c:idx val="1"/>
            <c:bubble3D val="0"/>
            <c:spPr>
              <a:solidFill>
                <a:srgbClr val="FFFF00"/>
              </a:solidFill>
              <a:ln>
                <a:noFill/>
              </a:ln>
              <a:effectLst/>
            </c:spPr>
          </c:dPt>
          <c:dPt>
            <c:idx val="2"/>
            <c:bubble3D val="0"/>
            <c:spPr>
              <a:solidFill>
                <a:srgbClr val="663300"/>
              </a:solidFill>
              <a:ln>
                <a:noFill/>
              </a:ln>
              <a:effectLst/>
            </c:spPr>
          </c:dPt>
          <c:dPt>
            <c:idx val="3"/>
            <c:bubble3D val="0"/>
            <c:spPr>
              <a:solidFill>
                <a:schemeClr val="accent1">
                  <a:lumMod val="60000"/>
                  <a:lumOff val="40000"/>
                </a:schemeClr>
              </a:solidFill>
              <a:ln>
                <a:noFill/>
              </a:ln>
              <a:effectLst/>
            </c:spPr>
          </c:dPt>
          <c:dPt>
            <c:idx val="4"/>
            <c:bubble3D val="0"/>
            <c:spPr>
              <a:solidFill>
                <a:srgbClr val="FFFF66"/>
              </a:solidFill>
              <a:ln>
                <a:noFill/>
              </a:ln>
              <a:effectLst/>
            </c:spPr>
          </c:dPt>
          <c:dPt>
            <c:idx val="5"/>
            <c:bubble3D val="0"/>
            <c:spPr>
              <a:solidFill>
                <a:srgbClr val="7030A0"/>
              </a:solidFill>
              <a:ln>
                <a:noFill/>
              </a:ln>
              <a:effectLst/>
            </c:spPr>
          </c:dPt>
          <c:dPt>
            <c:idx val="6"/>
            <c:bubble3D val="0"/>
            <c:spPr>
              <a:solidFill>
                <a:srgbClr val="006699"/>
              </a:solidFill>
              <a:ln>
                <a:noFill/>
              </a:ln>
              <a:effectLst/>
            </c:spPr>
          </c:dPt>
          <c:dPt>
            <c:idx val="7"/>
            <c:bubble3D val="0"/>
            <c:spPr>
              <a:solidFill>
                <a:srgbClr val="FF9900"/>
              </a:solidFill>
              <a:ln>
                <a:noFill/>
              </a:ln>
              <a:effectLst/>
            </c:spPr>
          </c:dPt>
          <c:dPt>
            <c:idx val="8"/>
            <c:bubble3D val="0"/>
            <c:spPr>
              <a:solidFill>
                <a:srgbClr val="FFCCFF"/>
              </a:solidFill>
              <a:ln>
                <a:noFill/>
              </a:ln>
              <a:effectLst/>
            </c:spPr>
          </c:dPt>
          <c:dPt>
            <c:idx val="9"/>
            <c:bubble3D val="0"/>
            <c:spPr>
              <a:solidFill>
                <a:srgbClr val="A50021"/>
              </a:solidFill>
              <a:ln>
                <a:noFill/>
              </a:ln>
              <a:effectLst/>
            </c:spPr>
          </c:dPt>
          <c:dPt>
            <c:idx val="10"/>
            <c:bubble3D val="0"/>
            <c:spPr>
              <a:solidFill>
                <a:srgbClr val="00FFFF"/>
              </a:solidFill>
              <a:ln>
                <a:noFill/>
              </a:ln>
              <a:effectLst/>
            </c:spPr>
          </c:dPt>
          <c:dLbls>
            <c:dLbl>
              <c:idx val="0"/>
              <c:layout>
                <c:manualLayout>
                  <c:x val="3.0816246866290219E-2"/>
                  <c:y val="1.670598108146714E-2"/>
                </c:manualLayout>
              </c:layout>
              <c:dLblPos val="bestFit"/>
              <c:showLegendKey val="0"/>
              <c:showVal val="0"/>
              <c:showCatName val="1"/>
              <c:showSerName val="0"/>
              <c:showPercent val="1"/>
              <c:showBubbleSize val="0"/>
              <c:separator>
</c:separator>
              <c:extLst>
                <c:ext xmlns:c15="http://schemas.microsoft.com/office/drawing/2012/chart" uri="{CE6537A1-D6FC-4f65-9D91-7224C49458BB}"/>
              </c:extLst>
            </c:dLbl>
            <c:dLbl>
              <c:idx val="1"/>
              <c:layout>
                <c:manualLayout>
                  <c:x val="9.6453960446648654E-2"/>
                  <c:y val="-8.2215523811194468E-3"/>
                </c:manualLayout>
              </c:layout>
              <c:dLblPos val="bestFit"/>
              <c:showLegendKey val="0"/>
              <c:showVal val="0"/>
              <c:showCatName val="1"/>
              <c:showSerName val="0"/>
              <c:showPercent val="1"/>
              <c:showBubbleSize val="0"/>
              <c:separator>
</c:separator>
              <c:extLst>
                <c:ext xmlns:c15="http://schemas.microsoft.com/office/drawing/2012/chart" uri="{CE6537A1-D6FC-4f65-9D91-7224C49458BB}"/>
              </c:extLst>
            </c:dLbl>
            <c:dLbl>
              <c:idx val="2"/>
              <c:layout>
                <c:manualLayout>
                  <c:x val="-9.3885405165028663E-2"/>
                  <c:y val="0.12144727583874697"/>
                </c:manualLayout>
              </c:layout>
              <c:dLblPos val="bestFit"/>
              <c:showLegendKey val="0"/>
              <c:showVal val="0"/>
              <c:showCatName val="1"/>
              <c:showSerName val="0"/>
              <c:showPercent val="1"/>
              <c:showBubbleSize val="0"/>
              <c:separator>
</c:separator>
              <c:extLst>
                <c:ext xmlns:c15="http://schemas.microsoft.com/office/drawing/2012/chart" uri="{CE6537A1-D6FC-4f65-9D91-7224C49458BB}"/>
              </c:extLst>
            </c:dLbl>
            <c:dLbl>
              <c:idx val="3"/>
              <c:layout>
                <c:manualLayout>
                  <c:x val="-0.20403349673230362"/>
                  <c:y val="0.29113090748201464"/>
                </c:manualLayout>
              </c:layout>
              <c:dLblPos val="bestFit"/>
              <c:showLegendKey val="0"/>
              <c:showVal val="0"/>
              <c:showCatName val="1"/>
              <c:showSerName val="0"/>
              <c:showPercent val="1"/>
              <c:showBubbleSize val="0"/>
              <c:separator>
</c:separator>
              <c:extLst>
                <c:ext xmlns:c15="http://schemas.microsoft.com/office/drawing/2012/chart" uri="{CE6537A1-D6FC-4f65-9D91-7224C49458BB}"/>
              </c:extLst>
            </c:dLbl>
            <c:dLbl>
              <c:idx val="6"/>
              <c:layout>
                <c:manualLayout>
                  <c:x val="-0.31249478516935564"/>
                  <c:y val="0.1100559976766714"/>
                </c:manualLayout>
              </c:layout>
              <c:dLblPos val="bestFit"/>
              <c:showLegendKey val="0"/>
              <c:showVal val="0"/>
              <c:showCatName val="1"/>
              <c:showSerName val="0"/>
              <c:showPercent val="1"/>
              <c:showBubbleSize val="0"/>
              <c:separator>
</c:separator>
              <c:extLst>
                <c:ext xmlns:c15="http://schemas.microsoft.com/office/drawing/2012/chart" uri="{CE6537A1-D6FC-4f65-9D91-7224C49458BB}"/>
              </c:extLst>
            </c:dLbl>
            <c:dLbl>
              <c:idx val="7"/>
              <c:layout>
                <c:manualLayout>
                  <c:x val="-0.27519282561572361"/>
                  <c:y val="-2.8378425788947427E-2"/>
                </c:manualLayout>
              </c:layout>
              <c:dLblPos val="bestFit"/>
              <c:showLegendKey val="0"/>
              <c:showVal val="0"/>
              <c:showCatName val="1"/>
              <c:showSerName val="0"/>
              <c:showPercent val="1"/>
              <c:showBubbleSize val="0"/>
              <c:separator>
</c:separator>
              <c:extLst>
                <c:ext xmlns:c15="http://schemas.microsoft.com/office/drawing/2012/chart" uri="{CE6537A1-D6FC-4f65-9D91-7224C49458BB}"/>
              </c:extLst>
            </c:dLbl>
            <c:dLbl>
              <c:idx val="8"/>
              <c:layout>
                <c:manualLayout>
                  <c:x val="-0.13881427240523303"/>
                  <c:y val="-9.2108897133495335E-2"/>
                </c:manualLayout>
              </c:layout>
              <c:dLblPos val="bestFit"/>
              <c:showLegendKey val="0"/>
              <c:showVal val="0"/>
              <c:showCatName val="1"/>
              <c:showSerName val="0"/>
              <c:showPercent val="1"/>
              <c:showBubbleSize val="0"/>
              <c:separator>
</c:separator>
            </c:dLbl>
            <c:dLbl>
              <c:idx val="10"/>
              <c:layout>
                <c:manualLayout>
                  <c:x val="2.9526654138619792E-2"/>
                  <c:y val="9.708899303586151E-3"/>
                </c:manualLayout>
              </c:layout>
              <c:dLblPos val="bestFit"/>
              <c:showLegendKey val="0"/>
              <c:showVal val="0"/>
              <c:showCatName val="1"/>
              <c:showSerName val="0"/>
              <c:showPercent val="1"/>
              <c:showBubbleSize val="0"/>
              <c:separator>
</c:separator>
              <c:extLst>
                <c:ext xmlns:c15="http://schemas.microsoft.com/office/drawing/2012/chart" uri="{CE6537A1-D6FC-4f65-9D91-7224C49458BB}"/>
              </c:extLst>
            </c:dLbl>
            <c:numFmt formatCode="0.0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24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pt-BR"/>
              </a:p>
            </c:txPr>
            <c:dLblPos val="bestFit"/>
            <c:showLegendKey val="0"/>
            <c:showVal val="0"/>
            <c:showCatName val="1"/>
            <c:showSerName val="0"/>
            <c:showPercent val="1"/>
            <c:showBubbleSize val="0"/>
            <c:separator>
</c:separator>
            <c:showLeaderLines val="1"/>
            <c:leaderLines>
              <c:spPr>
                <a:ln w="6350" cap="flat" cmpd="sng" algn="ctr">
                  <a:solidFill>
                    <a:schemeClr val="tx1"/>
                  </a:solidFill>
                  <a:prstDash val="solid"/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Plan1!$A$2:$A$12</c:f>
              <c:strCache>
                <c:ptCount val="11"/>
                <c:pt idx="0">
                  <c:v>Soja</c:v>
                </c:pt>
                <c:pt idx="1">
                  <c:v>Milho</c:v>
                </c:pt>
                <c:pt idx="2">
                  <c:v>Café</c:v>
                </c:pt>
                <c:pt idx="3">
                  <c:v>Cana-de-açúcar</c:v>
                </c:pt>
                <c:pt idx="4">
                  <c:v>Arroz</c:v>
                </c:pt>
                <c:pt idx="5">
                  <c:v>Trigo</c:v>
                </c:pt>
                <c:pt idx="6">
                  <c:v>Algodão</c:v>
                </c:pt>
                <c:pt idx="7">
                  <c:v>Laranja</c:v>
                </c:pt>
                <c:pt idx="8">
                  <c:v>Batata-inglesa</c:v>
                </c:pt>
                <c:pt idx="9">
                  <c:v>Feijão</c:v>
                </c:pt>
                <c:pt idx="10">
                  <c:v>Demais</c:v>
                </c:pt>
              </c:strCache>
            </c:strRef>
          </c:cat>
          <c:val>
            <c:numRef>
              <c:f>Plan1!$B$2:$B$12</c:f>
              <c:numCache>
                <c:formatCode>General</c:formatCode>
                <c:ptCount val="11"/>
                <c:pt idx="0">
                  <c:v>23665</c:v>
                </c:pt>
                <c:pt idx="1">
                  <c:v>9786</c:v>
                </c:pt>
                <c:pt idx="2">
                  <c:v>4712</c:v>
                </c:pt>
                <c:pt idx="3">
                  <c:v>4474</c:v>
                </c:pt>
                <c:pt idx="4">
                  <c:v>1927</c:v>
                </c:pt>
                <c:pt idx="5">
                  <c:v>1895</c:v>
                </c:pt>
                <c:pt idx="6">
                  <c:v>1668</c:v>
                </c:pt>
                <c:pt idx="7">
                  <c:v>729</c:v>
                </c:pt>
                <c:pt idx="8">
                  <c:v>530</c:v>
                </c:pt>
                <c:pt idx="9">
                  <c:v>528</c:v>
                </c:pt>
                <c:pt idx="10">
                  <c:v>4243</c:v>
                </c:pt>
              </c:numCache>
            </c:numRef>
          </c:val>
        </c:ser>
        <c:dLbls>
          <c:dLblPos val="bestFit"/>
          <c:showLegendKey val="0"/>
          <c:showVal val="0"/>
          <c:showCatName val="0"/>
          <c:showSerName val="0"/>
          <c:showPercent val="1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 w="9525" cap="flat" cmpd="sng" algn="ctr">
      <a:noFill/>
      <a:prstDash val="solid"/>
    </a:ln>
    <a:effectLst/>
  </c:spPr>
  <c:txPr>
    <a:bodyPr/>
    <a:lstStyle/>
    <a:p>
      <a:pPr>
        <a:defRPr sz="1800"/>
      </a:pPr>
      <a:endParaRPr lang="pt-BR"/>
    </a:p>
  </c:txPr>
  <c:externalData r:id="rId1">
    <c:autoUpdate val="0"/>
  </c:externalData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35886095532187828"/>
          <c:y val="0.1007077444571907"/>
          <c:w val="0.32004065218752303"/>
          <c:h val="0.65053877636494795"/>
        </c:manualLayout>
      </c:layout>
      <c:pieChart>
        <c:varyColors val="1"/>
        <c:ser>
          <c:idx val="0"/>
          <c:order val="0"/>
          <c:tx>
            <c:strRef>
              <c:f>Plan1!$B$1</c:f>
              <c:strCache>
                <c:ptCount val="1"/>
                <c:pt idx="0">
                  <c:v>bilhões</c:v>
                </c:pt>
              </c:strCache>
            </c:strRef>
          </c:tx>
          <c:dPt>
            <c:idx val="0"/>
            <c:bubble3D val="0"/>
            <c:spPr>
              <a:solidFill>
                <a:srgbClr val="FF0000"/>
              </a:solidFill>
            </c:spPr>
          </c:dPt>
          <c:dPt>
            <c:idx val="1"/>
            <c:bubble3D val="0"/>
            <c:spPr>
              <a:solidFill>
                <a:srgbClr val="0000FF"/>
              </a:solidFill>
            </c:spPr>
          </c:dPt>
          <c:dPt>
            <c:idx val="2"/>
            <c:bubble3D val="0"/>
            <c:spPr>
              <a:solidFill>
                <a:schemeClr val="tx2">
                  <a:lumMod val="50000"/>
                  <a:lumOff val="50000"/>
                </a:schemeClr>
              </a:solidFill>
            </c:spPr>
          </c:dPt>
          <c:dPt>
            <c:idx val="3"/>
            <c:bubble3D val="0"/>
            <c:spPr>
              <a:solidFill>
                <a:srgbClr val="FFFF00"/>
              </a:solidFill>
            </c:spPr>
          </c:dPt>
          <c:dLbls>
            <c:dLbl>
              <c:idx val="0"/>
              <c:layout>
                <c:manualLayout>
                  <c:x val="3.0816246866290219E-2"/>
                  <c:y val="1.670598108146714E-2"/>
                </c:manualLayout>
              </c:layout>
              <c:dLblPos val="bestFit"/>
              <c:showLegendKey val="0"/>
              <c:showVal val="1"/>
              <c:showCatName val="0"/>
              <c:showSerName val="0"/>
              <c:showPercent val="1"/>
              <c:showBubbleSize val="0"/>
              <c:separator>
</c:separator>
              <c:extLst>
                <c:ext xmlns:c15="http://schemas.microsoft.com/office/drawing/2012/chart" uri="{CE6537A1-D6FC-4f65-9D91-7224C49458BB}"/>
              </c:extLst>
            </c:dLbl>
            <c:dLbl>
              <c:idx val="1"/>
              <c:layout>
                <c:manualLayout>
                  <c:x val="-8.3989029298262977E-2"/>
                  <c:y val="-4.9652382817414333E-2"/>
                </c:manualLayout>
              </c:layout>
              <c:dLblPos val="bestFit"/>
              <c:showLegendKey val="0"/>
              <c:showVal val="1"/>
              <c:showCatName val="0"/>
              <c:showSerName val="0"/>
              <c:showPercent val="1"/>
              <c:showBubbleSize val="0"/>
              <c:separator>
</c:separator>
              <c:extLst>
                <c:ext xmlns:c15="http://schemas.microsoft.com/office/drawing/2012/chart" uri="{CE6537A1-D6FC-4f65-9D91-7224C49458BB}">
                  <c15:layout>
                    <c:manualLayout>
                      <c:w val="0.10063114592910366"/>
                      <c:h val="0.14527251786045087"/>
                    </c:manualLayout>
                  </c15:layout>
                </c:ext>
              </c:extLst>
            </c:dLbl>
            <c:dLbl>
              <c:idx val="2"/>
              <c:layout>
                <c:manualLayout>
                  <c:x val="-0.13558140790747764"/>
                  <c:y val="0.13812925800167761"/>
                </c:manualLayout>
              </c:layout>
              <c:dLblPos val="bestFit"/>
              <c:showLegendKey val="0"/>
              <c:showVal val="1"/>
              <c:showCatName val="0"/>
              <c:showSerName val="0"/>
              <c:showPercent val="1"/>
              <c:showBubbleSize val="0"/>
              <c:separator>
</c:separator>
              <c:extLst>
                <c:ext xmlns:c15="http://schemas.microsoft.com/office/drawing/2012/chart" uri="{CE6537A1-D6FC-4f65-9D91-7224C49458BB}"/>
              </c:extLst>
            </c:dLbl>
            <c:dLbl>
              <c:idx val="4"/>
              <c:layout>
                <c:manualLayout>
                  <c:x val="0.17251118280453678"/>
                  <c:y val="2.045796853983263E-2"/>
                </c:manualLayout>
              </c:layout>
              <c:dLblPos val="bestFit"/>
              <c:showLegendKey val="0"/>
              <c:showVal val="1"/>
              <c:showCatName val="0"/>
              <c:showSerName val="0"/>
              <c:showPercent val="1"/>
              <c:showBubbleSize val="0"/>
              <c:separator>
</c:separator>
              <c:extLst>
                <c:ext xmlns:c15="http://schemas.microsoft.com/office/drawing/2012/chart" uri="{CE6537A1-D6FC-4f65-9D91-7224C49458BB}"/>
              </c:extLst>
            </c:dLbl>
            <c:numFmt formatCode="0.00%" sourceLinked="0"/>
            <c:spPr>
              <a:noFill/>
              <a:ln>
                <a:noFill/>
              </a:ln>
              <a:effectLst/>
            </c:spPr>
            <c:dLblPos val="bestFit"/>
            <c:showLegendKey val="0"/>
            <c:showVal val="1"/>
            <c:showCatName val="0"/>
            <c:showSerName val="0"/>
            <c:showPercent val="1"/>
            <c:showBubbleSize val="0"/>
            <c:separator>
</c:separator>
            <c:showLeaderLines val="1"/>
            <c:extLst>
              <c:ext xmlns:c15="http://schemas.microsoft.com/office/drawing/2012/chart" uri="{CE6537A1-D6FC-4f65-9D91-7224C49458BB}"/>
            </c:extLst>
          </c:dLbls>
          <c:cat>
            <c:strRef>
              <c:f>Plan1!$A$2:$A$6</c:f>
              <c:strCache>
                <c:ptCount val="5"/>
                <c:pt idx="0">
                  <c:v>Bancos Públicos</c:v>
                </c:pt>
                <c:pt idx="1">
                  <c:v>Bancos Privados</c:v>
                </c:pt>
                <c:pt idx="2">
                  <c:v>Cooperativas de Crédito</c:v>
                </c:pt>
                <c:pt idx="3">
                  <c:v>Bco Desenvolvimento e Ag. Fomento</c:v>
                </c:pt>
                <c:pt idx="4">
                  <c:v>Soc. Crédito, Financ. e Invest.</c:v>
                </c:pt>
              </c:strCache>
            </c:strRef>
          </c:cat>
          <c:val>
            <c:numRef>
              <c:f>Plan1!$B$2:$B$6</c:f>
              <c:numCache>
                <c:formatCode>General</c:formatCode>
                <c:ptCount val="5"/>
                <c:pt idx="0">
                  <c:v>91.012</c:v>
                </c:pt>
                <c:pt idx="1">
                  <c:v>48.63</c:v>
                </c:pt>
                <c:pt idx="2">
                  <c:v>19.617000000000001</c:v>
                </c:pt>
                <c:pt idx="3">
                  <c:v>2.5150000000000001</c:v>
                </c:pt>
                <c:pt idx="4">
                  <c:v>3.2000000000000001E-2</c:v>
                </c:pt>
              </c:numCache>
            </c:numRef>
          </c:val>
        </c:ser>
        <c:dLbls>
          <c:dLblPos val="bestFit"/>
          <c:showLegendKey val="0"/>
          <c:showVal val="0"/>
          <c:showCatName val="0"/>
          <c:showSerName val="0"/>
          <c:showPercent val="1"/>
          <c:showBubbleSize val="0"/>
          <c:showLeaderLines val="1"/>
        </c:dLbls>
        <c:firstSliceAng val="0"/>
      </c:pieChart>
    </c:plotArea>
    <c:legend>
      <c:legendPos val="b"/>
      <c:layout>
        <c:manualLayout>
          <c:xMode val="edge"/>
          <c:yMode val="edge"/>
          <c:x val="0"/>
          <c:y val="0.63617286571333342"/>
          <c:w val="0.595500862223038"/>
          <c:h val="0.34493042439728921"/>
        </c:manualLayout>
      </c:layout>
      <c:overlay val="0"/>
    </c:legend>
    <c:plotVisOnly val="1"/>
    <c:dispBlanksAs val="gap"/>
    <c:showDLblsOverMax val="0"/>
  </c:chart>
  <c:txPr>
    <a:bodyPr/>
    <a:lstStyle/>
    <a:p>
      <a:pPr>
        <a:defRPr sz="1800"/>
      </a:pPr>
      <a:endParaRPr lang="pt-BR"/>
    </a:p>
  </c:txPr>
  <c:externalData r:id="rId1">
    <c:autoUpdate val="0"/>
  </c:externalData>
</c:chartSpace>
</file>

<file path=ppt/charts/chart1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Plan1!$B$1</c:f>
              <c:strCache>
                <c:ptCount val="1"/>
                <c:pt idx="0">
                  <c:v>FIDC</c:v>
                </c:pt>
              </c:strCache>
            </c:strRef>
          </c:tx>
          <c:spPr>
            <a:solidFill>
              <a:srgbClr val="0070C0"/>
            </a:solidFill>
            <a:ln>
              <a:noFill/>
            </a:ln>
            <a:effectLst/>
          </c:spPr>
          <c:invertIfNegative val="0"/>
          <c:dLbls>
            <c:numFmt formatCode="#,##0.0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600" b="1" i="0" u="none" strike="noStrike" kern="1200" baseline="0">
                    <a:solidFill>
                      <a:srgbClr val="FF0000"/>
                    </a:solidFill>
                    <a:latin typeface="+mn-lt"/>
                    <a:ea typeface="+mn-ea"/>
                    <a:cs typeface="+mn-cs"/>
                  </a:defRPr>
                </a:pPr>
                <a:endParaRPr lang="pt-BR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Plan1!$A$3:$A$15</c:f>
              <c:numCache>
                <c:formatCode>General</c:formatCode>
                <c:ptCount val="13"/>
                <c:pt idx="0">
                  <c:v>2004</c:v>
                </c:pt>
                <c:pt idx="1">
                  <c:v>2005</c:v>
                </c:pt>
                <c:pt idx="2">
                  <c:v>2006</c:v>
                </c:pt>
                <c:pt idx="3">
                  <c:v>2007</c:v>
                </c:pt>
                <c:pt idx="4">
                  <c:v>2008</c:v>
                </c:pt>
                <c:pt idx="5">
                  <c:v>2009</c:v>
                </c:pt>
                <c:pt idx="6">
                  <c:v>2010</c:v>
                </c:pt>
                <c:pt idx="7">
                  <c:v>2011</c:v>
                </c:pt>
                <c:pt idx="8">
                  <c:v>2012</c:v>
                </c:pt>
                <c:pt idx="9">
                  <c:v>2013</c:v>
                </c:pt>
                <c:pt idx="10">
                  <c:v>2014</c:v>
                </c:pt>
                <c:pt idx="11">
                  <c:v>2015</c:v>
                </c:pt>
                <c:pt idx="12">
                  <c:v>2016</c:v>
                </c:pt>
              </c:numCache>
            </c:numRef>
          </c:cat>
          <c:val>
            <c:numRef>
              <c:f>Plan1!$B$3:$B$15</c:f>
              <c:numCache>
                <c:formatCode>General</c:formatCode>
                <c:ptCount val="13"/>
                <c:pt idx="0">
                  <c:v>4.5668009448699998</c:v>
                </c:pt>
                <c:pt idx="1">
                  <c:v>12.246259779010002</c:v>
                </c:pt>
                <c:pt idx="2">
                  <c:v>19.33015429768</c:v>
                </c:pt>
                <c:pt idx="3">
                  <c:v>28.688368658920002</c:v>
                </c:pt>
                <c:pt idx="4">
                  <c:v>43.523421355390006</c:v>
                </c:pt>
                <c:pt idx="5">
                  <c:v>53.288305092069997</c:v>
                </c:pt>
                <c:pt idx="6">
                  <c:v>59.432046076470002</c:v>
                </c:pt>
                <c:pt idx="7">
                  <c:v>78.431293135610005</c:v>
                </c:pt>
                <c:pt idx="8">
                  <c:v>64.606921884789983</c:v>
                </c:pt>
                <c:pt idx="9">
                  <c:v>77.546022218679994</c:v>
                </c:pt>
                <c:pt idx="10">
                  <c:v>66.303498123899985</c:v>
                </c:pt>
                <c:pt idx="11">
                  <c:v>74.547871714549999</c:v>
                </c:pt>
                <c:pt idx="12">
                  <c:v>86.540263960440001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31"/>
        <c:overlap val="-27"/>
        <c:axId val="196002944"/>
        <c:axId val="196004480"/>
      </c:barChart>
      <c:catAx>
        <c:axId val="19600294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pt-BR"/>
          </a:p>
        </c:txPr>
        <c:crossAx val="196004480"/>
        <c:crosses val="autoZero"/>
        <c:auto val="1"/>
        <c:lblAlgn val="ctr"/>
        <c:lblOffset val="100"/>
        <c:noMultiLvlLbl val="0"/>
      </c:catAx>
      <c:valAx>
        <c:axId val="196004480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pt-BR"/>
          </a:p>
        </c:txPr>
        <c:crossAx val="1960029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pt-BR"/>
    </a:p>
  </c:txPr>
  <c:externalData r:id="rId1">
    <c:autoUpdate val="0"/>
  </c:externalData>
</c:chartSpace>
</file>

<file path=ppt/charts/chart17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2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pt-BR" dirty="0" smtClean="0"/>
              <a:t>Composição das Emissões de Cotas </a:t>
            </a:r>
            <a:r>
              <a:rPr lang="pt-BR" dirty="0"/>
              <a:t>de </a:t>
            </a:r>
            <a:r>
              <a:rPr lang="pt-BR" dirty="0" smtClean="0"/>
              <a:t>FIDC por Ativo-lastro, </a:t>
            </a:r>
            <a:r>
              <a:rPr lang="pt-BR" dirty="0"/>
              <a:t>em </a:t>
            </a:r>
            <a:r>
              <a:rPr lang="pt-BR" dirty="0" smtClean="0"/>
              <a:t>%</a:t>
            </a:r>
            <a:endParaRPr lang="pt-BR" dirty="0"/>
          </a:p>
        </c:rich>
      </c:tx>
      <c:layout>
        <c:manualLayout>
          <c:xMode val="edge"/>
          <c:yMode val="edge"/>
          <c:x val="0.13449973489847108"/>
          <c:y val="2.2905102896214995E-3"/>
        </c:manualLayout>
      </c:layout>
      <c:overlay val="0"/>
      <c:spPr>
        <a:noFill/>
        <a:ln>
          <a:noFill/>
        </a:ln>
        <a:effectLst/>
      </c:spPr>
    </c:title>
    <c:autoTitleDeleted val="0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Plan1!$A$2</c:f>
              <c:strCache>
                <c:ptCount val="1"/>
                <c:pt idx="0">
                  <c:v>2016</c:v>
                </c:pt>
              </c:strCache>
            </c:strRef>
          </c:tx>
          <c:spPr>
            <a:solidFill>
              <a:srgbClr val="0066FF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accent6">
                        <a:lumMod val="50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pt-BR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Plan1!$B$1:$N$1</c:f>
              <c:strCache>
                <c:ptCount val="13"/>
                <c:pt idx="0">
                  <c:v>Recebíveis Comerciais</c:v>
                </c:pt>
                <c:pt idx="1">
                  <c:v>Crédito Pessoa Jurídica</c:v>
                </c:pt>
                <c:pt idx="2">
                  <c:v>Multiclasse</c:v>
                </c:pt>
                <c:pt idx="3">
                  <c:v>Financiamento Veículos</c:v>
                </c:pt>
                <c:pt idx="4">
                  <c:v>Títulos Mobiliários</c:v>
                </c:pt>
                <c:pt idx="5">
                  <c:v>Prestação de Serviço Público</c:v>
                </c:pt>
                <c:pt idx="6">
                  <c:v>Crédito Imobiliário</c:v>
                </c:pt>
                <c:pt idx="7">
                  <c:v>Setor Público</c:v>
                </c:pt>
                <c:pt idx="8">
                  <c:v>Crédito Pessoal2</c:v>
                </c:pt>
                <c:pt idx="9">
                  <c:v>Recebíveis do Agronegócio</c:v>
                </c:pt>
                <c:pt idx="10">
                  <c:v>Recebíveis Educacionais</c:v>
                </c:pt>
                <c:pt idx="11">
                  <c:v>Direitos</c:v>
                </c:pt>
                <c:pt idx="12">
                  <c:v>Recbíveis Médicos</c:v>
                </c:pt>
              </c:strCache>
            </c:strRef>
          </c:cat>
          <c:val>
            <c:numRef>
              <c:f>Plan1!$B$2:$N$2</c:f>
              <c:numCache>
                <c:formatCode>#,##0.0</c:formatCode>
                <c:ptCount val="13"/>
                <c:pt idx="0">
                  <c:v>60.6</c:v>
                </c:pt>
                <c:pt idx="1">
                  <c:v>17.600000000000001</c:v>
                </c:pt>
                <c:pt idx="2">
                  <c:v>4.9000000000000004</c:v>
                </c:pt>
                <c:pt idx="3">
                  <c:v>3.5</c:v>
                </c:pt>
                <c:pt idx="4">
                  <c:v>3.2</c:v>
                </c:pt>
                <c:pt idx="5">
                  <c:v>2.5</c:v>
                </c:pt>
                <c:pt idx="6">
                  <c:v>2.2999999999999998</c:v>
                </c:pt>
                <c:pt idx="7">
                  <c:v>1.8</c:v>
                </c:pt>
                <c:pt idx="8">
                  <c:v>1.7</c:v>
                </c:pt>
                <c:pt idx="9">
                  <c:v>0.7</c:v>
                </c:pt>
                <c:pt idx="10">
                  <c:v>0.5</c:v>
                </c:pt>
                <c:pt idx="11">
                  <c:v>3</c:v>
                </c:pt>
                <c:pt idx="12">
                  <c:v>0.2</c:v>
                </c:pt>
              </c:numCache>
            </c:numRef>
          </c:val>
        </c:ser>
        <c:ser>
          <c:idx val="1"/>
          <c:order val="1"/>
          <c:tx>
            <c:strRef>
              <c:f>Plan1!$A$3</c:f>
              <c:strCache>
                <c:ptCount val="1"/>
                <c:pt idx="0">
                  <c:v>2015</c:v>
                </c:pt>
              </c:strCache>
            </c:strRef>
          </c:tx>
          <c:spPr>
            <a:solidFill>
              <a:srgbClr val="FF000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t" anchorCtr="0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rgbClr val="7030A0"/>
                    </a:solidFill>
                    <a:latin typeface="+mn-lt"/>
                    <a:ea typeface="+mn-ea"/>
                    <a:cs typeface="+mn-cs"/>
                  </a:defRPr>
                </a:pPr>
                <a:endParaRPr lang="pt-BR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Plan1!$B$1:$N$1</c:f>
              <c:strCache>
                <c:ptCount val="13"/>
                <c:pt idx="0">
                  <c:v>Recebíveis Comerciais</c:v>
                </c:pt>
                <c:pt idx="1">
                  <c:v>Crédito Pessoa Jurídica</c:v>
                </c:pt>
                <c:pt idx="2">
                  <c:v>Multiclasse</c:v>
                </c:pt>
                <c:pt idx="3">
                  <c:v>Financiamento Veículos</c:v>
                </c:pt>
                <c:pt idx="4">
                  <c:v>Títulos Mobiliários</c:v>
                </c:pt>
                <c:pt idx="5">
                  <c:v>Prestação de Serviço Público</c:v>
                </c:pt>
                <c:pt idx="6">
                  <c:v>Crédito Imobiliário</c:v>
                </c:pt>
                <c:pt idx="7">
                  <c:v>Setor Público</c:v>
                </c:pt>
                <c:pt idx="8">
                  <c:v>Crédito Pessoal2</c:v>
                </c:pt>
                <c:pt idx="9">
                  <c:v>Recebíveis do Agronegócio</c:v>
                </c:pt>
                <c:pt idx="10">
                  <c:v>Recebíveis Educacionais</c:v>
                </c:pt>
                <c:pt idx="11">
                  <c:v>Direitos</c:v>
                </c:pt>
                <c:pt idx="12">
                  <c:v>Recbíveis Médicos</c:v>
                </c:pt>
              </c:strCache>
            </c:strRef>
          </c:cat>
          <c:val>
            <c:numRef>
              <c:f>Plan1!$B$3:$N$3</c:f>
              <c:numCache>
                <c:formatCode>#,##0.0</c:formatCode>
                <c:ptCount val="13"/>
                <c:pt idx="0">
                  <c:v>54.1</c:v>
                </c:pt>
                <c:pt idx="1">
                  <c:v>11.3</c:v>
                </c:pt>
                <c:pt idx="2">
                  <c:v>9.6</c:v>
                </c:pt>
                <c:pt idx="3">
                  <c:v>11.1</c:v>
                </c:pt>
                <c:pt idx="4">
                  <c:v>0</c:v>
                </c:pt>
                <c:pt idx="5">
                  <c:v>4.5</c:v>
                </c:pt>
                <c:pt idx="6">
                  <c:v>0.4</c:v>
                </c:pt>
                <c:pt idx="7">
                  <c:v>2.2000000000000002</c:v>
                </c:pt>
                <c:pt idx="8">
                  <c:v>2.1</c:v>
                </c:pt>
                <c:pt idx="9">
                  <c:v>1.3</c:v>
                </c:pt>
                <c:pt idx="10">
                  <c:v>0.4</c:v>
                </c:pt>
                <c:pt idx="11">
                  <c:v>3</c:v>
                </c:pt>
                <c:pt idx="12">
                  <c:v>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30"/>
        <c:axId val="196781184"/>
        <c:axId val="196782720"/>
      </c:barChart>
      <c:catAx>
        <c:axId val="196781184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pt-BR"/>
          </a:p>
        </c:txPr>
        <c:crossAx val="196782720"/>
        <c:crosses val="autoZero"/>
        <c:auto val="1"/>
        <c:lblAlgn val="ctr"/>
        <c:lblOffset val="100"/>
        <c:tickLblSkip val="1"/>
        <c:noMultiLvlLbl val="0"/>
      </c:catAx>
      <c:valAx>
        <c:axId val="196782720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pt-BR"/>
          </a:p>
        </c:txPr>
        <c:crossAx val="19678118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r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pt-BR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2000"/>
      </a:pPr>
      <a:endParaRPr lang="pt-BR"/>
    </a:p>
  </c:txPr>
  <c:externalData r:id="rId1">
    <c:autoUpdate val="0"/>
  </c:externalData>
</c:chartSpace>
</file>

<file path=ppt/charts/chart18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20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pt-BR" sz="2000" dirty="0" smtClean="0"/>
              <a:t>Composição do Patrimônio Líquido </a:t>
            </a:r>
            <a:r>
              <a:rPr lang="pt-BR" sz="2000" dirty="0"/>
              <a:t>de </a:t>
            </a:r>
            <a:r>
              <a:rPr lang="pt-BR" sz="2000" dirty="0" smtClean="0"/>
              <a:t>FIDC por Ativo-lastro,              em</a:t>
            </a:r>
            <a:r>
              <a:rPr lang="pt-BR" sz="2000" baseline="0" dirty="0" smtClean="0"/>
              <a:t> dez 2016</a:t>
            </a:r>
            <a:endParaRPr lang="pt-BR" sz="2000" dirty="0"/>
          </a:p>
        </c:rich>
      </c:tx>
      <c:layout>
        <c:manualLayout>
          <c:xMode val="edge"/>
          <c:yMode val="edge"/>
          <c:x val="0.11980227505585797"/>
          <c:y val="3.0823029596354124E-2"/>
        </c:manualLayout>
      </c:layout>
      <c:overlay val="0"/>
      <c:spPr>
        <a:noFill/>
        <a:ln>
          <a:noFill/>
        </a:ln>
        <a:effectLst/>
      </c:spPr>
    </c:title>
    <c:autoTitleDeleted val="0"/>
    <c:view3D>
      <c:rotX val="15"/>
      <c:rotY val="0"/>
      <c:rAngAx val="0"/>
      <c:perspective val="30"/>
    </c:view3D>
    <c:floor>
      <c:thickness val="0"/>
      <c:spPr>
        <a:noFill/>
        <a:ln>
          <a:noFill/>
        </a:ln>
        <a:effectLst/>
        <a:sp3d/>
      </c:spPr>
    </c:floor>
    <c:sideWall>
      <c:thickness val="0"/>
      <c:spPr>
        <a:noFill/>
        <a:ln>
          <a:noFill/>
        </a:ln>
        <a:effectLst/>
        <a:sp3d/>
      </c:spPr>
    </c:sideWall>
    <c:backWall>
      <c:thickness val="0"/>
      <c:spPr>
        <a:noFill/>
        <a:ln>
          <a:noFill/>
        </a:ln>
        <a:effectLst/>
        <a:sp3d/>
      </c:spPr>
    </c:backWall>
    <c:plotArea>
      <c:layout>
        <c:manualLayout>
          <c:layoutTarget val="inner"/>
          <c:xMode val="edge"/>
          <c:yMode val="edge"/>
          <c:x val="0.14283803857184593"/>
          <c:y val="0.33920340233944535"/>
          <c:w val="0.7144036841434962"/>
          <c:h val="0.64006210567246913"/>
        </c:manualLayout>
      </c:layout>
      <c:pie3DChart>
        <c:varyColors val="1"/>
        <c:ser>
          <c:idx val="0"/>
          <c:order val="0"/>
          <c:tx>
            <c:strRef>
              <c:f>Plan1!$A$2</c:f>
              <c:strCache>
                <c:ptCount val="1"/>
                <c:pt idx="0">
                  <c:v>2016</c:v>
                </c:pt>
              </c:strCache>
            </c:strRef>
          </c:tx>
          <c:dPt>
            <c:idx val="0"/>
            <c:bubble3D val="0"/>
            <c:spPr>
              <a:solidFill>
                <a:srgbClr val="00B0F0"/>
              </a:solidFill>
              <a:ln>
                <a:noFill/>
              </a:ln>
              <a:effectLst/>
              <a:sp3d/>
            </c:spPr>
          </c:dPt>
          <c:dPt>
            <c:idx val="1"/>
            <c:bubble3D val="0"/>
            <c:spPr>
              <a:solidFill>
                <a:srgbClr val="FF9900"/>
              </a:solidFill>
              <a:ln>
                <a:noFill/>
              </a:ln>
              <a:effectLst/>
              <a:sp3d/>
            </c:spPr>
          </c:dPt>
          <c:dPt>
            <c:idx val="2"/>
            <c:bubble3D val="0"/>
            <c:spPr>
              <a:solidFill>
                <a:schemeClr val="bg1">
                  <a:lumMod val="50000"/>
                </a:schemeClr>
              </a:solidFill>
              <a:ln>
                <a:noFill/>
              </a:ln>
              <a:effectLst/>
              <a:sp3d/>
            </c:spPr>
          </c:dPt>
          <c:dPt>
            <c:idx val="3"/>
            <c:bubble3D val="0"/>
            <c:spPr>
              <a:solidFill>
                <a:srgbClr val="FFFF00"/>
              </a:solidFill>
              <a:ln>
                <a:noFill/>
              </a:ln>
              <a:effectLst/>
              <a:sp3d/>
            </c:spPr>
          </c:dPt>
          <c:dPt>
            <c:idx val="4"/>
            <c:bubble3D val="0"/>
            <c:spPr>
              <a:solidFill>
                <a:srgbClr val="006699"/>
              </a:solidFill>
              <a:ln>
                <a:noFill/>
              </a:ln>
              <a:effectLst/>
              <a:sp3d/>
            </c:spPr>
          </c:dPt>
          <c:dPt>
            <c:idx val="5"/>
            <c:bubble3D val="0"/>
            <c:spPr>
              <a:solidFill>
                <a:srgbClr val="FF0066"/>
              </a:solidFill>
              <a:ln>
                <a:noFill/>
              </a:ln>
              <a:effectLst/>
              <a:sp3d/>
            </c:spPr>
          </c:dPt>
          <c:dPt>
            <c:idx val="6"/>
            <c:bubble3D val="0"/>
            <c:spPr>
              <a:solidFill>
                <a:srgbClr val="FFCC99"/>
              </a:solidFill>
              <a:ln>
                <a:noFill/>
              </a:ln>
              <a:effectLst/>
              <a:sp3d/>
            </c:spPr>
          </c:dPt>
          <c:dPt>
            <c:idx val="7"/>
            <c:bubble3D val="0"/>
            <c:spPr>
              <a:solidFill>
                <a:srgbClr val="CC66FF"/>
              </a:solidFill>
              <a:ln>
                <a:noFill/>
              </a:ln>
              <a:effectLst/>
              <a:sp3d/>
            </c:spPr>
          </c:dPt>
          <c:dPt>
            <c:idx val="8"/>
            <c:bubble3D val="0"/>
            <c:spPr>
              <a:solidFill>
                <a:srgbClr val="CCECFF"/>
              </a:solidFill>
              <a:ln>
                <a:noFill/>
              </a:ln>
              <a:effectLst/>
              <a:sp3d/>
            </c:spPr>
          </c:dPt>
          <c:dPt>
            <c:idx val="9"/>
            <c:bubble3D val="0"/>
            <c:spPr>
              <a:solidFill>
                <a:srgbClr val="003366"/>
              </a:solidFill>
              <a:ln>
                <a:noFill/>
              </a:ln>
              <a:effectLst/>
              <a:sp3d/>
            </c:spPr>
          </c:dPt>
          <c:dPt>
            <c:idx val="10"/>
            <c:bubble3D val="0"/>
            <c:spPr>
              <a:solidFill>
                <a:schemeClr val="accent1">
                  <a:lumMod val="60000"/>
                  <a:lumOff val="40000"/>
                </a:schemeClr>
              </a:solidFill>
              <a:ln>
                <a:noFill/>
              </a:ln>
              <a:effectLst/>
              <a:sp3d/>
            </c:spPr>
          </c:dPt>
          <c:dPt>
            <c:idx val="11"/>
            <c:bubble3D val="0"/>
            <c:spPr>
              <a:solidFill>
                <a:schemeClr val="tx1">
                  <a:lumMod val="65000"/>
                  <a:lumOff val="35000"/>
                </a:schemeClr>
              </a:solidFill>
            </c:spPr>
          </c:dPt>
          <c:dLbls>
            <c:dLbl>
              <c:idx val="0"/>
              <c:layout>
                <c:manualLayout>
                  <c:x val="3.1545727078201788E-2"/>
                  <c:y val="-4.873362024102585E-2"/>
                </c:manualLayout>
              </c:layout>
              <c:dLblPos val="bestFit"/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1"/>
              <c:layout>
                <c:manualLayout>
                  <c:x val="0.14494300016047601"/>
                  <c:y val="2.9294178571147738E-3"/>
                </c:manualLayout>
              </c:layout>
              <c:dLblPos val="bestFit"/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2"/>
              <c:layout>
                <c:manualLayout>
                  <c:x val="-5.4530521122398146E-2"/>
                  <c:y val="1.9456117706925662E-2"/>
                </c:manualLayout>
              </c:layout>
              <c:dLblPos val="bestFit"/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3"/>
              <c:layout>
                <c:manualLayout>
                  <c:x val="1.0766018402530927E-3"/>
                  <c:y val="-1.708162446880571E-2"/>
                </c:manualLayout>
              </c:layout>
              <c:dLblPos val="bestFit"/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4"/>
              <c:layout>
                <c:manualLayout>
                  <c:x val="-1.2281210363485119E-2"/>
                  <c:y val="2.59167208673E-2"/>
                </c:manualLayout>
              </c:layout>
              <c:dLblPos val="bestFit"/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5"/>
              <c:layout>
                <c:manualLayout>
                  <c:x val="-7.2854245187285532E-2"/>
                  <c:y val="-7.2235009452815122E-2"/>
                </c:manualLayout>
              </c:layout>
              <c:dLblPos val="bestFit"/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6"/>
              <c:layout>
                <c:manualLayout>
                  <c:x val="-4.394527761410115E-2"/>
                  <c:y val="-0.12263300498421165"/>
                </c:manualLayout>
              </c:layout>
              <c:dLblPos val="bestFit"/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7"/>
              <c:layout>
                <c:manualLayout>
                  <c:x val="-0.17030889149462955"/>
                  <c:y val="-0.21668565092994807"/>
                </c:manualLayout>
              </c:layout>
              <c:numFmt formatCode="0.0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0">
                  <a:spAutoFit/>
                </a:bodyPr>
                <a:lstStyle/>
                <a:p>
                  <a:pPr algn="ctr" rtl="0">
                    <a:defRPr lang="en-US" sz="1800" b="0" i="0" u="none" strike="noStrike" kern="1200" baseline="0">
                      <a:solidFill>
                        <a:srgbClr val="70AD47">
                          <a:lumMod val="50000"/>
                        </a:srgb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t-BR"/>
                </a:p>
              </c:txPr>
              <c:dLblPos val="bestFit"/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8"/>
              <c:layout>
                <c:manualLayout>
                  <c:x val="7.1694708818361742E-3"/>
                  <c:y val="-3.2987684942109206E-2"/>
                </c:manualLayout>
              </c:layout>
              <c:dLblPos val="bestFit"/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9"/>
              <c:layout>
                <c:manualLayout>
                  <c:x val="-5.0383395875034888E-3"/>
                  <c:y val="-0.11704051062051581"/>
                </c:manualLayout>
              </c:layout>
              <c:dLblPos val="bestFit"/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10"/>
              <c:layout>
                <c:manualLayout>
                  <c:x val="0.12146502643710153"/>
                  <c:y val="-0.13526001139055799"/>
                </c:manualLayout>
              </c:layout>
              <c:numFmt formatCode="0.0%" sourceLinked="0"/>
              <c:spPr>
                <a:solidFill>
                  <a:srgbClr val="66FF66"/>
                </a:solidFill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800" b="0" i="0" u="none" strike="noStrike" kern="1200" baseline="0">
                      <a:solidFill>
                        <a:schemeClr val="accent6">
                          <a:lumMod val="50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t-BR"/>
                </a:p>
              </c:txPr>
              <c:dLblPos val="bestFit"/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11"/>
              <c:layout>
                <c:manualLayout>
                  <c:x val="0.23563212524932597"/>
                  <c:y val="-0.16691548408186374"/>
                </c:manualLayout>
              </c:layout>
              <c:dLblPos val="bestFit"/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12"/>
              <c:layout>
                <c:manualLayout>
                  <c:x val="0.17636929230085546"/>
                  <c:y val="8.5597684144545511E-3"/>
                </c:manualLayout>
              </c:layout>
              <c:dLblPos val="bestFit"/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</c:extLst>
            </c:dLbl>
            <c:numFmt formatCode="0.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800" b="0" i="0" u="none" strike="noStrike" kern="1200" baseline="0">
                    <a:solidFill>
                      <a:schemeClr val="accent6">
                        <a:lumMod val="50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pt-BR"/>
              </a:p>
            </c:txPr>
            <c:dLblPos val="outEnd"/>
            <c:showLegendKey val="0"/>
            <c:showVal val="0"/>
            <c:showCatName val="1"/>
            <c:showSerName val="0"/>
            <c:showPercent val="1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Plan1!$B$1:$N$1</c:f>
              <c:strCache>
                <c:ptCount val="13"/>
                <c:pt idx="0">
                  <c:v>Recebíveis Comerciais</c:v>
                </c:pt>
                <c:pt idx="1">
                  <c:v>Multiclasse</c:v>
                </c:pt>
                <c:pt idx="2">
                  <c:v>Crédito Pessoa Jurídica</c:v>
                </c:pt>
                <c:pt idx="3">
                  <c:v>Setor Público</c:v>
                </c:pt>
                <c:pt idx="4">
                  <c:v>Financiamento Veículos</c:v>
                </c:pt>
                <c:pt idx="5">
                  <c:v>Prestação de Serviço Público</c:v>
                </c:pt>
                <c:pt idx="6">
                  <c:v>Crédito Pessoal</c:v>
                </c:pt>
                <c:pt idx="7">
                  <c:v>Crédito Imobiliário</c:v>
                </c:pt>
                <c:pt idx="8">
                  <c:v>Direitos</c:v>
                </c:pt>
                <c:pt idx="9">
                  <c:v>Títulos Mobiliários</c:v>
                </c:pt>
                <c:pt idx="10">
                  <c:v>Recebíveis do Agronegócio</c:v>
                </c:pt>
                <c:pt idx="11">
                  <c:v>Recebíveis Educacionais</c:v>
                </c:pt>
                <c:pt idx="12">
                  <c:v>Recebíveis Médicos</c:v>
                </c:pt>
              </c:strCache>
            </c:strRef>
          </c:cat>
          <c:val>
            <c:numRef>
              <c:f>Plan1!$B$2:$N$2</c:f>
              <c:numCache>
                <c:formatCode>#,##0.0</c:formatCode>
                <c:ptCount val="13"/>
                <c:pt idx="0">
                  <c:v>40.4</c:v>
                </c:pt>
                <c:pt idx="1">
                  <c:v>15.1</c:v>
                </c:pt>
                <c:pt idx="2">
                  <c:v>10.9</c:v>
                </c:pt>
                <c:pt idx="3">
                  <c:v>8.5</c:v>
                </c:pt>
                <c:pt idx="4">
                  <c:v>6.6</c:v>
                </c:pt>
                <c:pt idx="5">
                  <c:v>5.6</c:v>
                </c:pt>
                <c:pt idx="6">
                  <c:v>3.7</c:v>
                </c:pt>
                <c:pt idx="7">
                  <c:v>2.8</c:v>
                </c:pt>
                <c:pt idx="8">
                  <c:v>2.2000000000000002</c:v>
                </c:pt>
                <c:pt idx="9">
                  <c:v>1.7</c:v>
                </c:pt>
                <c:pt idx="10">
                  <c:v>1.5</c:v>
                </c:pt>
                <c:pt idx="11">
                  <c:v>0.8</c:v>
                </c:pt>
                <c:pt idx="12">
                  <c:v>0.1</c:v>
                </c:pt>
              </c:numCache>
            </c:numRef>
          </c:val>
        </c:ser>
        <c:ser>
          <c:idx val="1"/>
          <c:order val="1"/>
          <c:tx>
            <c:strRef>
              <c:f>Plan1!$A$3</c:f>
              <c:strCache>
                <c:ptCount val="1"/>
              </c:strCache>
            </c:strRef>
          </c:tx>
          <c:cat>
            <c:strRef>
              <c:f>Plan1!$B$1:$N$1</c:f>
              <c:strCache>
                <c:ptCount val="13"/>
                <c:pt idx="0">
                  <c:v>Recebíveis Comerciais</c:v>
                </c:pt>
                <c:pt idx="1">
                  <c:v>Multiclasse</c:v>
                </c:pt>
                <c:pt idx="2">
                  <c:v>Crédito Pessoa Jurídica</c:v>
                </c:pt>
                <c:pt idx="3">
                  <c:v>Setor Público</c:v>
                </c:pt>
                <c:pt idx="4">
                  <c:v>Financiamento Veículos</c:v>
                </c:pt>
                <c:pt idx="5">
                  <c:v>Prestação de Serviço Público</c:v>
                </c:pt>
                <c:pt idx="6">
                  <c:v>Crédito Pessoal</c:v>
                </c:pt>
                <c:pt idx="7">
                  <c:v>Crédito Imobiliário</c:v>
                </c:pt>
                <c:pt idx="8">
                  <c:v>Direitos</c:v>
                </c:pt>
                <c:pt idx="9">
                  <c:v>Títulos Mobiliários</c:v>
                </c:pt>
                <c:pt idx="10">
                  <c:v>Recebíveis do Agronegócio</c:v>
                </c:pt>
                <c:pt idx="11">
                  <c:v>Recebíveis Educacionais</c:v>
                </c:pt>
                <c:pt idx="12">
                  <c:v>Recebíveis Médicos</c:v>
                </c:pt>
              </c:strCache>
            </c:strRef>
          </c:cat>
          <c:val>
            <c:numRef>
              <c:f>Plan1!$B$3:$N$3</c:f>
              <c:numCache>
                <c:formatCode>General</c:formatCode>
                <c:ptCount val="13"/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</c:pie3D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2000"/>
      </a:pPr>
      <a:endParaRPr lang="pt-BR"/>
    </a:p>
  </c:txPr>
  <c:externalData r:id="rId1">
    <c:autoUpdate val="0"/>
  </c:externalData>
</c:chartSpace>
</file>

<file path=ppt/charts/chart19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Plan1!$B$1</c:f>
              <c:strCache>
                <c:ptCount val="1"/>
                <c:pt idx="0">
                  <c:v>R$ Milhões</c:v>
                </c:pt>
              </c:strCache>
            </c:strRef>
          </c:tx>
          <c:spPr>
            <a:solidFill>
              <a:srgbClr val="00B0F0"/>
            </a:solidFill>
            <a:ln>
              <a:noFill/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2000" b="0" i="0" u="none" strike="noStrike" kern="1200" baseline="0">
                    <a:solidFill>
                      <a:srgbClr val="FF0000"/>
                    </a:solidFill>
                    <a:latin typeface="+mn-lt"/>
                    <a:ea typeface="+mn-ea"/>
                    <a:cs typeface="+mn-cs"/>
                  </a:defRPr>
                </a:pPr>
                <a:endParaRPr lang="pt-B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Plan1!$A$2:$A$14</c:f>
              <c:numCache>
                <c:formatCode>General</c:formatCode>
                <c:ptCount val="13"/>
                <c:pt idx="0">
                  <c:v>2005</c:v>
                </c:pt>
                <c:pt idx="1">
                  <c:v>2006</c:v>
                </c:pt>
                <c:pt idx="2">
                  <c:v>2007</c:v>
                </c:pt>
                <c:pt idx="3">
                  <c:v>2008</c:v>
                </c:pt>
                <c:pt idx="4">
                  <c:v>2009</c:v>
                </c:pt>
                <c:pt idx="5">
                  <c:v>2010</c:v>
                </c:pt>
                <c:pt idx="6">
                  <c:v>2011</c:v>
                </c:pt>
                <c:pt idx="7">
                  <c:v>2012</c:v>
                </c:pt>
                <c:pt idx="8">
                  <c:v>2013</c:v>
                </c:pt>
                <c:pt idx="9">
                  <c:v>2014</c:v>
                </c:pt>
                <c:pt idx="10">
                  <c:v>2015</c:v>
                </c:pt>
                <c:pt idx="11">
                  <c:v>2016</c:v>
                </c:pt>
                <c:pt idx="12" formatCode="mmm\-yy">
                  <c:v>42736</c:v>
                </c:pt>
              </c:numCache>
            </c:numRef>
          </c:cat>
          <c:val>
            <c:numRef>
              <c:f>Plan1!$B$2:$B$14</c:f>
              <c:numCache>
                <c:formatCode>_(* #,##0.00_);_(* \(#,##0.00\);_(* "-"??_);_(@_)</c:formatCode>
                <c:ptCount val="13"/>
                <c:pt idx="0">
                  <c:v>25.022211289999998</c:v>
                </c:pt>
                <c:pt idx="1">
                  <c:v>440.62874845999983</c:v>
                </c:pt>
                <c:pt idx="2">
                  <c:v>941.22223192000013</c:v>
                </c:pt>
                <c:pt idx="3">
                  <c:v>1915.4320803800015</c:v>
                </c:pt>
                <c:pt idx="4">
                  <c:v>1612.2886291499979</c:v>
                </c:pt>
                <c:pt idx="5">
                  <c:v>1006.7499741999999</c:v>
                </c:pt>
                <c:pt idx="6">
                  <c:v>1107.75992849</c:v>
                </c:pt>
                <c:pt idx="7">
                  <c:v>2132.2604186800004</c:v>
                </c:pt>
                <c:pt idx="8">
                  <c:v>1136.4625682200021</c:v>
                </c:pt>
                <c:pt idx="9">
                  <c:v>803.60439968000003</c:v>
                </c:pt>
                <c:pt idx="10">
                  <c:v>913.74760254000034</c:v>
                </c:pt>
                <c:pt idx="11">
                  <c:v>1272.6861254500002</c:v>
                </c:pt>
                <c:pt idx="12">
                  <c:v>131.00593641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0"/>
        <c:axId val="209810944"/>
        <c:axId val="209812480"/>
      </c:barChart>
      <c:catAx>
        <c:axId val="20981094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pt-BR"/>
          </a:p>
        </c:txPr>
        <c:crossAx val="209812480"/>
        <c:crosses val="autoZero"/>
        <c:auto val="1"/>
        <c:lblAlgn val="ctr"/>
        <c:lblOffset val="100"/>
        <c:noMultiLvlLbl val="0"/>
      </c:catAx>
      <c:valAx>
        <c:axId val="209812480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_(* #,##0_);_(* \(#,##0\);_(* &quot;-&quot;_);_(@_)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20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pt-BR"/>
          </a:p>
        </c:txPr>
        <c:crossAx val="2098109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pt-BR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/>
          <a:lstStyle/>
          <a:p>
            <a:pPr>
              <a:defRPr sz="1800" b="1" i="0" u="none" strike="noStrike" baseline="0">
                <a:solidFill>
                  <a:srgbClr val="000000"/>
                </a:solidFill>
                <a:latin typeface="Arial"/>
                <a:ea typeface="Arial"/>
                <a:cs typeface="Arial"/>
              </a:defRPr>
            </a:pPr>
            <a:r>
              <a:rPr lang="pt-BR" sz="1800" dirty="0"/>
              <a:t>Montante registrado na CETIP em 2012 </a:t>
            </a:r>
          </a:p>
        </c:rich>
      </c:tx>
      <c:layout>
        <c:manualLayout>
          <c:xMode val="edge"/>
          <c:yMode val="edge"/>
          <c:x val="0.2147822211796743"/>
          <c:y val="4.3392194497019728E-3"/>
        </c:manualLayout>
      </c:layout>
      <c:overlay val="0"/>
      <c:spPr>
        <a:noFill/>
        <a:ln w="17501">
          <a:noFill/>
        </a:ln>
      </c:spPr>
    </c:title>
    <c:autoTitleDeleted val="0"/>
    <c:view3D>
      <c:rotX val="30"/>
      <c:rotY val="0"/>
      <c:rAngAx val="0"/>
      <c:perspective val="0"/>
    </c:view3D>
    <c:floor>
      <c:thickness val="0"/>
    </c:floor>
    <c:sideWall>
      <c:thickness val="0"/>
    </c:sideWall>
    <c:backWall>
      <c:thickness val="0"/>
    </c:backWall>
    <c:plotArea>
      <c:layout>
        <c:manualLayout>
          <c:layoutTarget val="inner"/>
          <c:xMode val="edge"/>
          <c:yMode val="edge"/>
          <c:x val="4.3607532210109018E-2"/>
          <c:y val="0.30276381909547734"/>
          <c:w val="0.64321110009910798"/>
          <c:h val="0.50879396984924619"/>
        </c:manualLayout>
      </c:layout>
      <c:pie3DChart>
        <c:varyColors val="1"/>
        <c:ser>
          <c:idx val="0"/>
          <c:order val="0"/>
          <c:tx>
            <c:strRef>
              <c:f>Plan1!$B$1</c:f>
              <c:strCache>
                <c:ptCount val="1"/>
                <c:pt idx="0">
                  <c:v>montante</c:v>
                </c:pt>
              </c:strCache>
            </c:strRef>
          </c:tx>
          <c:spPr>
            <a:solidFill>
              <a:schemeClr val="accent1"/>
            </a:solidFill>
            <a:ln w="8750">
              <a:solidFill>
                <a:srgbClr val="000000"/>
              </a:solidFill>
              <a:prstDash val="solid"/>
            </a:ln>
          </c:spPr>
          <c:dPt>
            <c:idx val="0"/>
            <c:bubble3D val="0"/>
            <c:spPr>
              <a:solidFill>
                <a:srgbClr val="0000FF"/>
              </a:solidFill>
            </c:spPr>
          </c:dPt>
          <c:dPt>
            <c:idx val="1"/>
            <c:bubble3D val="0"/>
            <c:spPr>
              <a:solidFill>
                <a:srgbClr val="FF00FF"/>
              </a:solidFill>
            </c:spPr>
          </c:dPt>
          <c:dPt>
            <c:idx val="2"/>
            <c:bubble3D val="0"/>
            <c:spPr>
              <a:solidFill>
                <a:srgbClr val="A50021"/>
              </a:solidFill>
            </c:spPr>
          </c:dPt>
          <c:dPt>
            <c:idx val="3"/>
            <c:bubble3D val="0"/>
            <c:spPr>
              <a:solidFill>
                <a:srgbClr val="99FF33"/>
              </a:solidFill>
            </c:spPr>
          </c:dPt>
          <c:dPt>
            <c:idx val="4"/>
            <c:bubble3D val="0"/>
            <c:spPr>
              <a:solidFill>
                <a:srgbClr val="006666"/>
              </a:solidFill>
            </c:spPr>
          </c:dPt>
          <c:dPt>
            <c:idx val="5"/>
            <c:bubble3D val="0"/>
            <c:spPr>
              <a:solidFill>
                <a:srgbClr val="66FFFF"/>
              </a:solidFill>
            </c:spPr>
          </c:dPt>
          <c:dPt>
            <c:idx val="6"/>
            <c:bubble3D val="0"/>
            <c:spPr>
              <a:solidFill>
                <a:srgbClr val="FF9900"/>
              </a:solidFill>
            </c:spPr>
          </c:dPt>
          <c:dPt>
            <c:idx val="7"/>
            <c:bubble3D val="0"/>
            <c:spPr>
              <a:solidFill>
                <a:srgbClr val="FF0000"/>
              </a:solidFill>
              <a:ln w="8750">
                <a:solidFill>
                  <a:srgbClr val="000000"/>
                </a:solidFill>
                <a:prstDash val="solid"/>
              </a:ln>
            </c:spPr>
          </c:dPt>
          <c:dLbls>
            <c:dLbl>
              <c:idx val="0"/>
              <c:layout/>
              <c:numFmt formatCode="0.0%" sourceLinked="0"/>
              <c:spPr>
                <a:noFill/>
                <a:ln w="17501">
                  <a:noFill/>
                </a:ln>
              </c:spPr>
              <c:txPr>
                <a:bodyPr/>
                <a:lstStyle/>
                <a:p>
                  <a:pPr>
                    <a:defRPr sz="1800">
                      <a:solidFill>
                        <a:schemeClr val="bg1"/>
                      </a:solidFill>
                      <a:latin typeface="Arial" pitchFamily="34" charset="0"/>
                      <a:cs typeface="Arial" pitchFamily="34" charset="0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1"/>
              <c:layout/>
              <c:numFmt formatCode="0.0%" sourceLinked="0"/>
              <c:spPr>
                <a:noFill/>
                <a:ln w="17501">
                  <a:noFill/>
                </a:ln>
              </c:spPr>
              <c:txPr>
                <a:bodyPr/>
                <a:lstStyle/>
                <a:p>
                  <a:pPr>
                    <a:defRPr sz="1800">
                      <a:solidFill>
                        <a:schemeClr val="bg1"/>
                      </a:solidFill>
                      <a:latin typeface="Arial" pitchFamily="34" charset="0"/>
                      <a:cs typeface="Arial" pitchFamily="34" charset="0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2"/>
              <c:layout>
                <c:manualLayout>
                  <c:x val="0.10406342913776015"/>
                  <c:y val="-7.7854330708661434E-2"/>
                </c:manualLayout>
              </c:layout>
              <c:numFmt formatCode="0.0%" sourceLinked="0"/>
              <c:spPr>
                <a:noFill/>
                <a:ln w="17501">
                  <a:noFill/>
                </a:ln>
              </c:spPr>
              <c:txPr>
                <a:bodyPr/>
                <a:lstStyle/>
                <a:p>
                  <a:pPr>
                    <a:defRPr sz="1800">
                      <a:solidFill>
                        <a:schemeClr val="bg1"/>
                      </a:solidFill>
                      <a:latin typeface="Arial" pitchFamily="34" charset="0"/>
                      <a:cs typeface="Arial" pitchFamily="34" charset="0"/>
                    </a:defRPr>
                  </a:pPr>
                  <a:endParaRPr lang="pt-BR"/>
                </a:p>
              </c:txPr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3"/>
              <c:layout>
                <c:manualLayout>
                  <c:x val="9.5864745187042716E-2"/>
                  <c:y val="2.407068699539781E-2"/>
                </c:manualLayout>
              </c:layout>
              <c:numFmt formatCode="0.0%" sourceLinked="0"/>
              <c:spPr>
                <a:noFill/>
                <a:ln w="17501">
                  <a:noFill/>
                </a:ln>
              </c:spPr>
              <c:txPr>
                <a:bodyPr/>
                <a:lstStyle/>
                <a:p>
                  <a:pPr>
                    <a:defRPr sz="1800" b="0" i="0" u="none" strike="noStrike" baseline="0">
                      <a:solidFill>
                        <a:schemeClr val="tx1"/>
                      </a:solidFill>
                      <a:latin typeface="Arial"/>
                      <a:ea typeface="Arial"/>
                      <a:cs typeface="Arial"/>
                    </a:defRPr>
                  </a:pPr>
                  <a:endParaRPr lang="pt-BR"/>
                </a:p>
              </c:txPr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4"/>
              <c:layout>
                <c:manualLayout>
                  <c:x val="-1.6774998713396105E-2"/>
                  <c:y val="-2.6951397415079181E-2"/>
                </c:manualLayout>
              </c:layout>
              <c:numFmt formatCode="0.0%" sourceLinked="0"/>
              <c:spPr>
                <a:noFill/>
                <a:ln w="17501">
                  <a:noFill/>
                </a:ln>
              </c:spPr>
              <c:txPr>
                <a:bodyPr/>
                <a:lstStyle/>
                <a:p>
                  <a:pPr>
                    <a:defRPr sz="1800">
                      <a:latin typeface="Arial" pitchFamily="34" charset="0"/>
                      <a:cs typeface="Arial" pitchFamily="34" charset="0"/>
                    </a:defRPr>
                  </a:pPr>
                  <a:endParaRPr lang="pt-BR"/>
                </a:p>
              </c:txPr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5"/>
              <c:layout>
                <c:manualLayout>
                  <c:x val="9.1575362878551416E-3"/>
                  <c:y val="-3.3665282278307701E-2"/>
                </c:manualLayout>
              </c:layout>
              <c:numFmt formatCode="0.0%" sourceLinked="0"/>
              <c:spPr>
                <a:noFill/>
                <a:ln w="17501">
                  <a:noFill/>
                </a:ln>
              </c:spPr>
              <c:txPr>
                <a:bodyPr/>
                <a:lstStyle/>
                <a:p>
                  <a:pPr>
                    <a:defRPr sz="1800">
                      <a:latin typeface="Arial" pitchFamily="34" charset="0"/>
                      <a:cs typeface="Arial" pitchFamily="34" charset="0"/>
                    </a:defRPr>
                  </a:pPr>
                  <a:endParaRPr lang="pt-BR"/>
                </a:p>
              </c:txPr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6"/>
              <c:layout>
                <c:manualLayout>
                  <c:x val="4.5980076287819874E-2"/>
                  <c:y val="-4.3909321475840604E-2"/>
                </c:manualLayout>
              </c:layout>
              <c:numFmt formatCode="0.0%" sourceLinked="0"/>
              <c:spPr>
                <a:noFill/>
                <a:ln w="17501">
                  <a:noFill/>
                </a:ln>
              </c:spPr>
              <c:txPr>
                <a:bodyPr/>
                <a:lstStyle/>
                <a:p>
                  <a:pPr>
                    <a:defRPr sz="1800">
                      <a:latin typeface="Arial" pitchFamily="34" charset="0"/>
                      <a:cs typeface="Arial" pitchFamily="34" charset="0"/>
                    </a:defRPr>
                  </a:pPr>
                  <a:endParaRPr lang="pt-BR"/>
                </a:p>
              </c:txPr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7"/>
              <c:layout/>
              <c:numFmt formatCode="0.0%" sourceLinked="0"/>
              <c:spPr>
                <a:noFill/>
                <a:ln>
                  <a:noFill/>
                </a:ln>
                <a:effectLst/>
              </c:spPr>
              <c:txPr>
                <a:bodyPr wrap="square" lIns="38100" tIns="19050" rIns="38100" bIns="19050" anchor="ctr">
                  <a:spAutoFit/>
                </a:bodyPr>
                <a:lstStyle/>
                <a:p>
                  <a:pPr>
                    <a:defRPr sz="1800">
                      <a:latin typeface="Arial" panose="020B0604020202020204" pitchFamily="34" charset="0"/>
                      <a:cs typeface="Arial" panose="020B0604020202020204" pitchFamily="34" charset="0"/>
                    </a:defRPr>
                  </a:pPr>
                  <a:endParaRPr lang="pt-BR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800"/>
                </a:pPr>
                <a:endParaRPr lang="pt-BR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/>
            </c:extLst>
          </c:dLbls>
          <c:cat>
            <c:strRef>
              <c:f>Plan1!$A$2:$A$9</c:f>
              <c:strCache>
                <c:ptCount val="8"/>
                <c:pt idx="0">
                  <c:v>Soja</c:v>
                </c:pt>
                <c:pt idx="1">
                  <c:v>Álcool</c:v>
                </c:pt>
                <c:pt idx="2">
                  <c:v>Algodão</c:v>
                </c:pt>
                <c:pt idx="3">
                  <c:v>Café</c:v>
                </c:pt>
                <c:pt idx="4">
                  <c:v>Boi</c:v>
                </c:pt>
                <c:pt idx="5">
                  <c:v>Cana-de-açúcar</c:v>
                </c:pt>
                <c:pt idx="6">
                  <c:v>Milho</c:v>
                </c:pt>
                <c:pt idx="7">
                  <c:v>Açúcar</c:v>
                </c:pt>
              </c:strCache>
            </c:strRef>
          </c:cat>
          <c:val>
            <c:numRef>
              <c:f>Plan1!$B$2:$B$9</c:f>
              <c:numCache>
                <c:formatCode>0.00%</c:formatCode>
                <c:ptCount val="8"/>
                <c:pt idx="0" formatCode="0%">
                  <c:v>0.495</c:v>
                </c:pt>
                <c:pt idx="1">
                  <c:v>0.13400000000000001</c:v>
                </c:pt>
                <c:pt idx="2">
                  <c:v>0.11799999999999999</c:v>
                </c:pt>
                <c:pt idx="3">
                  <c:v>9.5000000000000001E-2</c:v>
                </c:pt>
                <c:pt idx="4">
                  <c:v>0.05</c:v>
                </c:pt>
                <c:pt idx="5">
                  <c:v>4.1000000000000002E-2</c:v>
                </c:pt>
                <c:pt idx="6">
                  <c:v>3.5000000000000003E-2</c:v>
                </c:pt>
                <c:pt idx="7">
                  <c:v>0.03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</c:pie3DChart>
      <c:spPr>
        <a:noFill/>
        <a:ln w="17501">
          <a:noFill/>
        </a:ln>
      </c:spPr>
    </c:plotArea>
    <c:legend>
      <c:legendPos val="r"/>
      <c:layout>
        <c:manualLayout>
          <c:xMode val="edge"/>
          <c:yMode val="edge"/>
          <c:x val="0.68069306930693074"/>
          <c:y val="7.8369905956112859E-2"/>
          <c:w val="0.30321782178217821"/>
          <c:h val="0.81818181818181823"/>
        </c:manualLayout>
      </c:layout>
      <c:overlay val="0"/>
      <c:txPr>
        <a:bodyPr/>
        <a:lstStyle/>
        <a:p>
          <a:pPr>
            <a:defRPr sz="2000">
              <a:latin typeface="Arial" pitchFamily="34" charset="0"/>
              <a:cs typeface="Arial" pitchFamily="34" charset="0"/>
            </a:defRPr>
          </a:pPr>
          <a:endParaRPr lang="pt-BR"/>
        </a:p>
      </c:txPr>
    </c:legend>
    <c:plotVisOnly val="1"/>
    <c:dispBlanksAs val="zero"/>
    <c:showDLblsOverMax val="0"/>
  </c:chart>
  <c:spPr>
    <a:noFill/>
    <a:ln>
      <a:noFill/>
    </a:ln>
  </c:spPr>
  <c:txPr>
    <a:bodyPr/>
    <a:lstStyle/>
    <a:p>
      <a:pPr>
        <a:defRPr sz="1240"/>
      </a:pPr>
      <a:endParaRPr lang="pt-BR"/>
    </a:p>
  </c:txPr>
  <c:externalData r:id="rId1">
    <c:autoUpdate val="0"/>
  </c:externalData>
</c:chartSpace>
</file>

<file path=ppt/charts/chart20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Plan1!$B$1</c:f>
              <c:strCache>
                <c:ptCount val="1"/>
                <c:pt idx="0">
                  <c:v>R$ Milhões</c:v>
                </c:pt>
              </c:strCache>
            </c:strRef>
          </c:tx>
          <c:spPr>
            <a:solidFill>
              <a:srgbClr val="0070C0"/>
            </a:solidFill>
            <a:ln>
              <a:noFill/>
            </a:ln>
            <a:effectLst/>
          </c:spPr>
          <c:invertIfNegative val="0"/>
          <c:dLbls>
            <c:dLbl>
              <c:idx val="6"/>
              <c:numFmt formatCode="#,##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2000" b="0" i="0" u="none" strike="noStrike" kern="1200" baseline="0">
                      <a:solidFill>
                        <a:srgbClr val="FF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t-BR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2000" b="0" i="0" u="none" strike="noStrike" kern="1200" baseline="0">
                    <a:solidFill>
                      <a:srgbClr val="FF0000"/>
                    </a:solidFill>
                    <a:latin typeface="+mn-lt"/>
                    <a:ea typeface="+mn-ea"/>
                    <a:cs typeface="+mn-cs"/>
                  </a:defRPr>
                </a:pPr>
                <a:endParaRPr lang="pt-B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Plan1!$A$2:$A$9</c:f>
              <c:numCache>
                <c:formatCode>General</c:formatCode>
                <c:ptCount val="8"/>
                <c:pt idx="0">
                  <c:v>2009</c:v>
                </c:pt>
                <c:pt idx="1">
                  <c:v>2010</c:v>
                </c:pt>
                <c:pt idx="2">
                  <c:v>2011</c:v>
                </c:pt>
                <c:pt idx="3">
                  <c:v>2012</c:v>
                </c:pt>
                <c:pt idx="4">
                  <c:v>2013</c:v>
                </c:pt>
                <c:pt idx="5">
                  <c:v>2014</c:v>
                </c:pt>
                <c:pt idx="6">
                  <c:v>2015</c:v>
                </c:pt>
                <c:pt idx="7">
                  <c:v>2016</c:v>
                </c:pt>
              </c:numCache>
            </c:numRef>
          </c:cat>
          <c:val>
            <c:numRef>
              <c:f>Plan1!$B$2:$B$9</c:f>
              <c:numCache>
                <c:formatCode>General</c:formatCode>
                <c:ptCount val="8"/>
                <c:pt idx="0">
                  <c:v>22</c:v>
                </c:pt>
                <c:pt idx="1">
                  <c:v>152</c:v>
                </c:pt>
                <c:pt idx="2">
                  <c:v>174</c:v>
                </c:pt>
                <c:pt idx="3">
                  <c:v>283</c:v>
                </c:pt>
                <c:pt idx="4" formatCode="#,##0">
                  <c:v>1226</c:v>
                </c:pt>
                <c:pt idx="5" formatCode="#,##0">
                  <c:v>2403</c:v>
                </c:pt>
                <c:pt idx="6" formatCode="_-* #,##0_-;\-* #,##0_-;_-* &quot;-&quot;??_-;_-@_-">
                  <c:v>5135</c:v>
                </c:pt>
                <c:pt idx="7" formatCode="_-* #,##0_-;\-* #,##0_-;_-* &quot;-&quot;??_-;_-@_-">
                  <c:v>12887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0"/>
        <c:axId val="215718144"/>
        <c:axId val="215732224"/>
      </c:barChart>
      <c:catAx>
        <c:axId val="21571814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20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pt-BR"/>
          </a:p>
        </c:txPr>
        <c:crossAx val="215732224"/>
        <c:crosses val="autoZero"/>
        <c:auto val="1"/>
        <c:lblAlgn val="ctr"/>
        <c:lblOffset val="100"/>
        <c:noMultiLvlLbl val="0"/>
      </c:catAx>
      <c:valAx>
        <c:axId val="215732224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20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pt-BR"/>
          </a:p>
        </c:txPr>
        <c:crossAx val="215718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pt-BR"/>
    </a:p>
  </c:txPr>
  <c:externalData r:id="rId1">
    <c:autoUpdate val="0"/>
  </c:externalData>
</c:chartSpace>
</file>

<file path=ppt/charts/chart2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areaChart>
        <c:grouping val="standard"/>
        <c:varyColors val="0"/>
        <c:ser>
          <c:idx val="0"/>
          <c:order val="0"/>
          <c:tx>
            <c:strRef>
              <c:f>Plan1!$B$1</c:f>
              <c:strCache>
                <c:ptCount val="1"/>
                <c:pt idx="0">
                  <c:v>CRA</c:v>
                </c:pt>
              </c:strCache>
            </c:strRef>
          </c:tx>
          <c:spPr>
            <a:solidFill>
              <a:srgbClr val="00B0F0"/>
            </a:solidFill>
            <a:ln>
              <a:noFill/>
            </a:ln>
            <a:effectLst/>
          </c:spPr>
          <c:cat>
            <c:numRef>
              <c:f>Plan1!$A$2:$A$2038</c:f>
              <c:numCache>
                <c:formatCode>m/d/yyyy</c:formatCode>
                <c:ptCount val="2037"/>
                <c:pt idx="0">
                  <c:v>39806</c:v>
                </c:pt>
                <c:pt idx="1">
                  <c:v>39808</c:v>
                </c:pt>
                <c:pt idx="2">
                  <c:v>39811</c:v>
                </c:pt>
                <c:pt idx="3">
                  <c:v>39812</c:v>
                </c:pt>
                <c:pt idx="4">
                  <c:v>39813</c:v>
                </c:pt>
                <c:pt idx="5">
                  <c:v>39815</c:v>
                </c:pt>
                <c:pt idx="6">
                  <c:v>39818</c:v>
                </c:pt>
                <c:pt idx="7">
                  <c:v>39819</c:v>
                </c:pt>
                <c:pt idx="8">
                  <c:v>39820</c:v>
                </c:pt>
                <c:pt idx="9">
                  <c:v>39821</c:v>
                </c:pt>
                <c:pt idx="10">
                  <c:v>39822</c:v>
                </c:pt>
                <c:pt idx="11">
                  <c:v>39825</c:v>
                </c:pt>
                <c:pt idx="12">
                  <c:v>39826</c:v>
                </c:pt>
                <c:pt idx="13">
                  <c:v>39827</c:v>
                </c:pt>
                <c:pt idx="14">
                  <c:v>39828</c:v>
                </c:pt>
                <c:pt idx="15">
                  <c:v>39829</c:v>
                </c:pt>
                <c:pt idx="16">
                  <c:v>39832</c:v>
                </c:pt>
                <c:pt idx="17">
                  <c:v>39833</c:v>
                </c:pt>
                <c:pt idx="18">
                  <c:v>39834</c:v>
                </c:pt>
                <c:pt idx="19">
                  <c:v>39835</c:v>
                </c:pt>
                <c:pt idx="20">
                  <c:v>39836</c:v>
                </c:pt>
                <c:pt idx="21">
                  <c:v>39839</c:v>
                </c:pt>
                <c:pt idx="22">
                  <c:v>39840</c:v>
                </c:pt>
                <c:pt idx="23">
                  <c:v>39841</c:v>
                </c:pt>
                <c:pt idx="24">
                  <c:v>39842</c:v>
                </c:pt>
                <c:pt idx="25">
                  <c:v>39843</c:v>
                </c:pt>
                <c:pt idx="26">
                  <c:v>39846</c:v>
                </c:pt>
                <c:pt idx="27">
                  <c:v>39847</c:v>
                </c:pt>
                <c:pt idx="28">
                  <c:v>39848</c:v>
                </c:pt>
                <c:pt idx="29">
                  <c:v>39849</c:v>
                </c:pt>
                <c:pt idx="30">
                  <c:v>39850</c:v>
                </c:pt>
                <c:pt idx="31">
                  <c:v>39853</c:v>
                </c:pt>
                <c:pt idx="32">
                  <c:v>39854</c:v>
                </c:pt>
                <c:pt idx="33">
                  <c:v>39855</c:v>
                </c:pt>
                <c:pt idx="34">
                  <c:v>39856</c:v>
                </c:pt>
                <c:pt idx="35">
                  <c:v>39857</c:v>
                </c:pt>
                <c:pt idx="36">
                  <c:v>39860</c:v>
                </c:pt>
                <c:pt idx="37">
                  <c:v>39861</c:v>
                </c:pt>
                <c:pt idx="38">
                  <c:v>39862</c:v>
                </c:pt>
                <c:pt idx="39">
                  <c:v>39863</c:v>
                </c:pt>
                <c:pt idx="40">
                  <c:v>39864</c:v>
                </c:pt>
                <c:pt idx="41">
                  <c:v>39869</c:v>
                </c:pt>
                <c:pt idx="42">
                  <c:v>39870</c:v>
                </c:pt>
                <c:pt idx="43">
                  <c:v>39871</c:v>
                </c:pt>
                <c:pt idx="44">
                  <c:v>39874</c:v>
                </c:pt>
                <c:pt idx="45">
                  <c:v>39875</c:v>
                </c:pt>
                <c:pt idx="46">
                  <c:v>39876</c:v>
                </c:pt>
                <c:pt idx="47">
                  <c:v>39877</c:v>
                </c:pt>
                <c:pt idx="48">
                  <c:v>39878</c:v>
                </c:pt>
                <c:pt idx="49">
                  <c:v>39881</c:v>
                </c:pt>
                <c:pt idx="50">
                  <c:v>39882</c:v>
                </c:pt>
                <c:pt idx="51">
                  <c:v>39883</c:v>
                </c:pt>
                <c:pt idx="52">
                  <c:v>39884</c:v>
                </c:pt>
                <c:pt idx="53">
                  <c:v>39885</c:v>
                </c:pt>
                <c:pt idx="54">
                  <c:v>39888</c:v>
                </c:pt>
                <c:pt idx="55">
                  <c:v>39889</c:v>
                </c:pt>
                <c:pt idx="56">
                  <c:v>39890</c:v>
                </c:pt>
                <c:pt idx="57">
                  <c:v>39891</c:v>
                </c:pt>
                <c:pt idx="58">
                  <c:v>39892</c:v>
                </c:pt>
                <c:pt idx="59">
                  <c:v>39895</c:v>
                </c:pt>
                <c:pt idx="60">
                  <c:v>39896</c:v>
                </c:pt>
                <c:pt idx="61">
                  <c:v>39897</c:v>
                </c:pt>
                <c:pt idx="62">
                  <c:v>39898</c:v>
                </c:pt>
                <c:pt idx="63">
                  <c:v>39899</c:v>
                </c:pt>
                <c:pt idx="64">
                  <c:v>39902</c:v>
                </c:pt>
                <c:pt idx="65">
                  <c:v>39903</c:v>
                </c:pt>
                <c:pt idx="66">
                  <c:v>39904</c:v>
                </c:pt>
                <c:pt idx="67">
                  <c:v>39905</c:v>
                </c:pt>
                <c:pt idx="68">
                  <c:v>39906</c:v>
                </c:pt>
                <c:pt idx="69">
                  <c:v>39909</c:v>
                </c:pt>
                <c:pt idx="70">
                  <c:v>39910</c:v>
                </c:pt>
                <c:pt idx="71">
                  <c:v>39911</c:v>
                </c:pt>
                <c:pt idx="72">
                  <c:v>39912</c:v>
                </c:pt>
                <c:pt idx="73">
                  <c:v>39916</c:v>
                </c:pt>
                <c:pt idx="74">
                  <c:v>39917</c:v>
                </c:pt>
                <c:pt idx="75">
                  <c:v>39918</c:v>
                </c:pt>
                <c:pt idx="76">
                  <c:v>39919</c:v>
                </c:pt>
                <c:pt idx="77">
                  <c:v>39920</c:v>
                </c:pt>
                <c:pt idx="78">
                  <c:v>39923</c:v>
                </c:pt>
                <c:pt idx="79">
                  <c:v>39925</c:v>
                </c:pt>
                <c:pt idx="80">
                  <c:v>39926</c:v>
                </c:pt>
                <c:pt idx="81">
                  <c:v>39927</c:v>
                </c:pt>
                <c:pt idx="82">
                  <c:v>39930</c:v>
                </c:pt>
                <c:pt idx="83">
                  <c:v>39931</c:v>
                </c:pt>
                <c:pt idx="84">
                  <c:v>39932</c:v>
                </c:pt>
                <c:pt idx="85">
                  <c:v>39933</c:v>
                </c:pt>
                <c:pt idx="86">
                  <c:v>39937</c:v>
                </c:pt>
                <c:pt idx="87">
                  <c:v>39938</c:v>
                </c:pt>
                <c:pt idx="88">
                  <c:v>39939</c:v>
                </c:pt>
                <c:pt idx="89">
                  <c:v>39940</c:v>
                </c:pt>
                <c:pt idx="90">
                  <c:v>39941</c:v>
                </c:pt>
                <c:pt idx="91">
                  <c:v>39944</c:v>
                </c:pt>
                <c:pt idx="92">
                  <c:v>39945</c:v>
                </c:pt>
                <c:pt idx="93">
                  <c:v>39946</c:v>
                </c:pt>
                <c:pt idx="94">
                  <c:v>39947</c:v>
                </c:pt>
                <c:pt idx="95">
                  <c:v>39948</c:v>
                </c:pt>
                <c:pt idx="96">
                  <c:v>39951</c:v>
                </c:pt>
                <c:pt idx="97">
                  <c:v>39952</c:v>
                </c:pt>
                <c:pt idx="98">
                  <c:v>39953</c:v>
                </c:pt>
                <c:pt idx="99">
                  <c:v>39954</c:v>
                </c:pt>
                <c:pt idx="100">
                  <c:v>39955</c:v>
                </c:pt>
                <c:pt idx="101">
                  <c:v>39958</c:v>
                </c:pt>
                <c:pt idx="102">
                  <c:v>39959</c:v>
                </c:pt>
                <c:pt idx="103">
                  <c:v>39960</c:v>
                </c:pt>
                <c:pt idx="104">
                  <c:v>39961</c:v>
                </c:pt>
                <c:pt idx="105">
                  <c:v>39962</c:v>
                </c:pt>
                <c:pt idx="106">
                  <c:v>39965</c:v>
                </c:pt>
                <c:pt idx="107">
                  <c:v>39966</c:v>
                </c:pt>
                <c:pt idx="108">
                  <c:v>39967</c:v>
                </c:pt>
                <c:pt idx="109">
                  <c:v>39968</c:v>
                </c:pt>
                <c:pt idx="110">
                  <c:v>39969</c:v>
                </c:pt>
                <c:pt idx="111">
                  <c:v>39972</c:v>
                </c:pt>
                <c:pt idx="112">
                  <c:v>39973</c:v>
                </c:pt>
                <c:pt idx="113">
                  <c:v>39974</c:v>
                </c:pt>
                <c:pt idx="114">
                  <c:v>39976</c:v>
                </c:pt>
                <c:pt idx="115">
                  <c:v>39979</c:v>
                </c:pt>
                <c:pt idx="116">
                  <c:v>39980</c:v>
                </c:pt>
                <c:pt idx="117">
                  <c:v>39981</c:v>
                </c:pt>
                <c:pt idx="118">
                  <c:v>39982</c:v>
                </c:pt>
                <c:pt idx="119">
                  <c:v>39983</c:v>
                </c:pt>
                <c:pt idx="120">
                  <c:v>39986</c:v>
                </c:pt>
                <c:pt idx="121">
                  <c:v>39987</c:v>
                </c:pt>
                <c:pt idx="122">
                  <c:v>39988</c:v>
                </c:pt>
                <c:pt idx="123">
                  <c:v>39989</c:v>
                </c:pt>
                <c:pt idx="124">
                  <c:v>39990</c:v>
                </c:pt>
                <c:pt idx="125">
                  <c:v>39993</c:v>
                </c:pt>
                <c:pt idx="126">
                  <c:v>39994</c:v>
                </c:pt>
                <c:pt idx="127">
                  <c:v>39995</c:v>
                </c:pt>
                <c:pt idx="128">
                  <c:v>39996</c:v>
                </c:pt>
                <c:pt idx="129">
                  <c:v>39997</c:v>
                </c:pt>
                <c:pt idx="130">
                  <c:v>40000</c:v>
                </c:pt>
                <c:pt idx="131">
                  <c:v>40001</c:v>
                </c:pt>
                <c:pt idx="132">
                  <c:v>40002</c:v>
                </c:pt>
                <c:pt idx="133">
                  <c:v>40003</c:v>
                </c:pt>
                <c:pt idx="134">
                  <c:v>40004</c:v>
                </c:pt>
                <c:pt idx="135">
                  <c:v>40007</c:v>
                </c:pt>
                <c:pt idx="136">
                  <c:v>40008</c:v>
                </c:pt>
                <c:pt idx="137">
                  <c:v>40009</c:v>
                </c:pt>
                <c:pt idx="138">
                  <c:v>40010</c:v>
                </c:pt>
                <c:pt idx="139">
                  <c:v>40011</c:v>
                </c:pt>
                <c:pt idx="140">
                  <c:v>40014</c:v>
                </c:pt>
                <c:pt idx="141">
                  <c:v>40015</c:v>
                </c:pt>
                <c:pt idx="142">
                  <c:v>40016</c:v>
                </c:pt>
                <c:pt idx="143">
                  <c:v>40017</c:v>
                </c:pt>
                <c:pt idx="144">
                  <c:v>40018</c:v>
                </c:pt>
                <c:pt idx="145">
                  <c:v>40021</c:v>
                </c:pt>
                <c:pt idx="146">
                  <c:v>40022</c:v>
                </c:pt>
                <c:pt idx="147">
                  <c:v>40023</c:v>
                </c:pt>
                <c:pt idx="148">
                  <c:v>40024</c:v>
                </c:pt>
                <c:pt idx="149">
                  <c:v>40025</c:v>
                </c:pt>
                <c:pt idx="150">
                  <c:v>40028</c:v>
                </c:pt>
                <c:pt idx="151">
                  <c:v>40029</c:v>
                </c:pt>
                <c:pt idx="152">
                  <c:v>40030</c:v>
                </c:pt>
                <c:pt idx="153">
                  <c:v>40031</c:v>
                </c:pt>
                <c:pt idx="154">
                  <c:v>40032</c:v>
                </c:pt>
                <c:pt idx="155">
                  <c:v>40035</c:v>
                </c:pt>
                <c:pt idx="156">
                  <c:v>40036</c:v>
                </c:pt>
                <c:pt idx="157">
                  <c:v>40037</c:v>
                </c:pt>
                <c:pt idx="158">
                  <c:v>40038</c:v>
                </c:pt>
                <c:pt idx="159">
                  <c:v>40039</c:v>
                </c:pt>
                <c:pt idx="160">
                  <c:v>40042</c:v>
                </c:pt>
                <c:pt idx="161">
                  <c:v>40043</c:v>
                </c:pt>
                <c:pt idx="162">
                  <c:v>40044</c:v>
                </c:pt>
                <c:pt idx="163">
                  <c:v>40045</c:v>
                </c:pt>
                <c:pt idx="164">
                  <c:v>40046</c:v>
                </c:pt>
                <c:pt idx="165">
                  <c:v>40049</c:v>
                </c:pt>
                <c:pt idx="166">
                  <c:v>40050</c:v>
                </c:pt>
                <c:pt idx="167">
                  <c:v>40051</c:v>
                </c:pt>
                <c:pt idx="168">
                  <c:v>40052</c:v>
                </c:pt>
                <c:pt idx="169">
                  <c:v>40053</c:v>
                </c:pt>
                <c:pt idx="170">
                  <c:v>40056</c:v>
                </c:pt>
                <c:pt idx="171">
                  <c:v>40057</c:v>
                </c:pt>
                <c:pt idx="172">
                  <c:v>40058</c:v>
                </c:pt>
                <c:pt idx="173">
                  <c:v>40059</c:v>
                </c:pt>
                <c:pt idx="174">
                  <c:v>40060</c:v>
                </c:pt>
                <c:pt idx="175">
                  <c:v>40064</c:v>
                </c:pt>
                <c:pt idx="176">
                  <c:v>40065</c:v>
                </c:pt>
                <c:pt idx="177">
                  <c:v>40066</c:v>
                </c:pt>
                <c:pt idx="178">
                  <c:v>40067</c:v>
                </c:pt>
                <c:pt idx="179">
                  <c:v>40070</c:v>
                </c:pt>
                <c:pt idx="180">
                  <c:v>40071</c:v>
                </c:pt>
                <c:pt idx="181">
                  <c:v>40072</c:v>
                </c:pt>
                <c:pt idx="182">
                  <c:v>40073</c:v>
                </c:pt>
                <c:pt idx="183">
                  <c:v>40074</c:v>
                </c:pt>
                <c:pt idx="184">
                  <c:v>40077</c:v>
                </c:pt>
                <c:pt idx="185">
                  <c:v>40078</c:v>
                </c:pt>
                <c:pt idx="186">
                  <c:v>40079</c:v>
                </c:pt>
                <c:pt idx="187">
                  <c:v>40080</c:v>
                </c:pt>
                <c:pt idx="188">
                  <c:v>40081</c:v>
                </c:pt>
                <c:pt idx="189">
                  <c:v>40084</c:v>
                </c:pt>
                <c:pt idx="190">
                  <c:v>40085</c:v>
                </c:pt>
                <c:pt idx="191">
                  <c:v>40086</c:v>
                </c:pt>
                <c:pt idx="192">
                  <c:v>40087</c:v>
                </c:pt>
                <c:pt idx="193">
                  <c:v>40088</c:v>
                </c:pt>
                <c:pt idx="194">
                  <c:v>40091</c:v>
                </c:pt>
                <c:pt idx="195">
                  <c:v>40092</c:v>
                </c:pt>
                <c:pt idx="196">
                  <c:v>40093</c:v>
                </c:pt>
                <c:pt idx="197">
                  <c:v>40094</c:v>
                </c:pt>
                <c:pt idx="198">
                  <c:v>40095</c:v>
                </c:pt>
                <c:pt idx="199">
                  <c:v>40099</c:v>
                </c:pt>
                <c:pt idx="200">
                  <c:v>40100</c:v>
                </c:pt>
                <c:pt idx="201">
                  <c:v>40101</c:v>
                </c:pt>
                <c:pt idx="202">
                  <c:v>40102</c:v>
                </c:pt>
                <c:pt idx="203">
                  <c:v>40105</c:v>
                </c:pt>
                <c:pt idx="204">
                  <c:v>40106</c:v>
                </c:pt>
                <c:pt idx="205">
                  <c:v>40107</c:v>
                </c:pt>
                <c:pt idx="206">
                  <c:v>40108</c:v>
                </c:pt>
                <c:pt idx="207">
                  <c:v>40109</c:v>
                </c:pt>
                <c:pt idx="208">
                  <c:v>40112</c:v>
                </c:pt>
                <c:pt idx="209">
                  <c:v>40113</c:v>
                </c:pt>
                <c:pt idx="210">
                  <c:v>40114</c:v>
                </c:pt>
                <c:pt idx="211">
                  <c:v>40115</c:v>
                </c:pt>
                <c:pt idx="212">
                  <c:v>40116</c:v>
                </c:pt>
                <c:pt idx="213">
                  <c:v>40120</c:v>
                </c:pt>
                <c:pt idx="214">
                  <c:v>40121</c:v>
                </c:pt>
                <c:pt idx="215">
                  <c:v>40122</c:v>
                </c:pt>
                <c:pt idx="216">
                  <c:v>40123</c:v>
                </c:pt>
                <c:pt idx="217">
                  <c:v>40126</c:v>
                </c:pt>
                <c:pt idx="218">
                  <c:v>40127</c:v>
                </c:pt>
                <c:pt idx="219">
                  <c:v>40128</c:v>
                </c:pt>
                <c:pt idx="220">
                  <c:v>40129</c:v>
                </c:pt>
                <c:pt idx="221">
                  <c:v>40130</c:v>
                </c:pt>
                <c:pt idx="222">
                  <c:v>40133</c:v>
                </c:pt>
                <c:pt idx="223">
                  <c:v>40134</c:v>
                </c:pt>
                <c:pt idx="224">
                  <c:v>40135</c:v>
                </c:pt>
                <c:pt idx="225">
                  <c:v>40136</c:v>
                </c:pt>
                <c:pt idx="226">
                  <c:v>40137</c:v>
                </c:pt>
                <c:pt idx="227">
                  <c:v>40140</c:v>
                </c:pt>
                <c:pt idx="228">
                  <c:v>40141</c:v>
                </c:pt>
                <c:pt idx="229">
                  <c:v>40142</c:v>
                </c:pt>
                <c:pt idx="230">
                  <c:v>40143</c:v>
                </c:pt>
                <c:pt idx="231">
                  <c:v>40144</c:v>
                </c:pt>
                <c:pt idx="232">
                  <c:v>40147</c:v>
                </c:pt>
                <c:pt idx="233">
                  <c:v>40148</c:v>
                </c:pt>
                <c:pt idx="234">
                  <c:v>40149</c:v>
                </c:pt>
                <c:pt idx="235">
                  <c:v>40150</c:v>
                </c:pt>
                <c:pt idx="236">
                  <c:v>40151</c:v>
                </c:pt>
                <c:pt idx="237">
                  <c:v>40154</c:v>
                </c:pt>
                <c:pt idx="238">
                  <c:v>40155</c:v>
                </c:pt>
                <c:pt idx="239">
                  <c:v>40156</c:v>
                </c:pt>
                <c:pt idx="240">
                  <c:v>40157</c:v>
                </c:pt>
                <c:pt idx="241">
                  <c:v>40158</c:v>
                </c:pt>
                <c:pt idx="242">
                  <c:v>40161</c:v>
                </c:pt>
                <c:pt idx="243">
                  <c:v>40162</c:v>
                </c:pt>
                <c:pt idx="244">
                  <c:v>40163</c:v>
                </c:pt>
                <c:pt idx="245">
                  <c:v>40164</c:v>
                </c:pt>
                <c:pt idx="246">
                  <c:v>40165</c:v>
                </c:pt>
                <c:pt idx="247">
                  <c:v>40168</c:v>
                </c:pt>
                <c:pt idx="248">
                  <c:v>40169</c:v>
                </c:pt>
                <c:pt idx="249">
                  <c:v>40170</c:v>
                </c:pt>
                <c:pt idx="250">
                  <c:v>40171</c:v>
                </c:pt>
                <c:pt idx="251">
                  <c:v>40175</c:v>
                </c:pt>
                <c:pt idx="252">
                  <c:v>40176</c:v>
                </c:pt>
                <c:pt idx="253">
                  <c:v>40177</c:v>
                </c:pt>
                <c:pt idx="254">
                  <c:v>40178</c:v>
                </c:pt>
                <c:pt idx="255">
                  <c:v>40182</c:v>
                </c:pt>
                <c:pt idx="256">
                  <c:v>40183</c:v>
                </c:pt>
                <c:pt idx="257">
                  <c:v>40184</c:v>
                </c:pt>
                <c:pt idx="258">
                  <c:v>40185</c:v>
                </c:pt>
                <c:pt idx="259">
                  <c:v>40186</c:v>
                </c:pt>
                <c:pt idx="260">
                  <c:v>40189</c:v>
                </c:pt>
                <c:pt idx="261">
                  <c:v>40190</c:v>
                </c:pt>
                <c:pt idx="262">
                  <c:v>40191</c:v>
                </c:pt>
                <c:pt idx="263">
                  <c:v>40192</c:v>
                </c:pt>
                <c:pt idx="264">
                  <c:v>40193</c:v>
                </c:pt>
                <c:pt idx="265">
                  <c:v>40196</c:v>
                </c:pt>
                <c:pt idx="266">
                  <c:v>40197</c:v>
                </c:pt>
                <c:pt idx="267">
                  <c:v>40198</c:v>
                </c:pt>
                <c:pt idx="268">
                  <c:v>40199</c:v>
                </c:pt>
                <c:pt idx="269">
                  <c:v>40200</c:v>
                </c:pt>
                <c:pt idx="270">
                  <c:v>40203</c:v>
                </c:pt>
                <c:pt idx="271">
                  <c:v>40204</c:v>
                </c:pt>
                <c:pt idx="272">
                  <c:v>40205</c:v>
                </c:pt>
                <c:pt idx="273">
                  <c:v>40206</c:v>
                </c:pt>
                <c:pt idx="274">
                  <c:v>40207</c:v>
                </c:pt>
                <c:pt idx="275">
                  <c:v>40210</c:v>
                </c:pt>
                <c:pt idx="276">
                  <c:v>40211</c:v>
                </c:pt>
                <c:pt idx="277">
                  <c:v>40212</c:v>
                </c:pt>
                <c:pt idx="278">
                  <c:v>40213</c:v>
                </c:pt>
                <c:pt idx="279">
                  <c:v>40214</c:v>
                </c:pt>
                <c:pt idx="280">
                  <c:v>40217</c:v>
                </c:pt>
                <c:pt idx="281">
                  <c:v>40218</c:v>
                </c:pt>
                <c:pt idx="282">
                  <c:v>40219</c:v>
                </c:pt>
                <c:pt idx="283">
                  <c:v>40220</c:v>
                </c:pt>
                <c:pt idx="284">
                  <c:v>40221</c:v>
                </c:pt>
                <c:pt idx="285">
                  <c:v>40226</c:v>
                </c:pt>
                <c:pt idx="286">
                  <c:v>40227</c:v>
                </c:pt>
                <c:pt idx="287">
                  <c:v>40228</c:v>
                </c:pt>
                <c:pt idx="288">
                  <c:v>40231</c:v>
                </c:pt>
                <c:pt idx="289">
                  <c:v>40232</c:v>
                </c:pt>
                <c:pt idx="290">
                  <c:v>40233</c:v>
                </c:pt>
                <c:pt idx="291">
                  <c:v>40234</c:v>
                </c:pt>
                <c:pt idx="292">
                  <c:v>40235</c:v>
                </c:pt>
                <c:pt idx="293">
                  <c:v>40238</c:v>
                </c:pt>
                <c:pt idx="294">
                  <c:v>40239</c:v>
                </c:pt>
                <c:pt idx="295">
                  <c:v>40240</c:v>
                </c:pt>
                <c:pt idx="296">
                  <c:v>40241</c:v>
                </c:pt>
                <c:pt idx="297">
                  <c:v>40242</c:v>
                </c:pt>
                <c:pt idx="298">
                  <c:v>40245</c:v>
                </c:pt>
                <c:pt idx="299">
                  <c:v>40246</c:v>
                </c:pt>
                <c:pt idx="300">
                  <c:v>40247</c:v>
                </c:pt>
                <c:pt idx="301">
                  <c:v>40248</c:v>
                </c:pt>
                <c:pt idx="302">
                  <c:v>40249</c:v>
                </c:pt>
                <c:pt idx="303">
                  <c:v>40252</c:v>
                </c:pt>
                <c:pt idx="304">
                  <c:v>40253</c:v>
                </c:pt>
                <c:pt idx="305">
                  <c:v>40254</c:v>
                </c:pt>
                <c:pt idx="306">
                  <c:v>40255</c:v>
                </c:pt>
                <c:pt idx="307">
                  <c:v>40256</c:v>
                </c:pt>
                <c:pt idx="308">
                  <c:v>40259</c:v>
                </c:pt>
                <c:pt idx="309">
                  <c:v>40260</c:v>
                </c:pt>
                <c:pt idx="310">
                  <c:v>40261</c:v>
                </c:pt>
                <c:pt idx="311">
                  <c:v>40262</c:v>
                </c:pt>
                <c:pt idx="312">
                  <c:v>40263</c:v>
                </c:pt>
                <c:pt idx="313">
                  <c:v>40266</c:v>
                </c:pt>
                <c:pt idx="314">
                  <c:v>40267</c:v>
                </c:pt>
                <c:pt idx="315">
                  <c:v>40268</c:v>
                </c:pt>
                <c:pt idx="316">
                  <c:v>40269</c:v>
                </c:pt>
                <c:pt idx="317">
                  <c:v>40273</c:v>
                </c:pt>
                <c:pt idx="318">
                  <c:v>40274</c:v>
                </c:pt>
                <c:pt idx="319">
                  <c:v>40275</c:v>
                </c:pt>
                <c:pt idx="320">
                  <c:v>40276</c:v>
                </c:pt>
                <c:pt idx="321">
                  <c:v>40277</c:v>
                </c:pt>
                <c:pt idx="322">
                  <c:v>40280</c:v>
                </c:pt>
                <c:pt idx="323">
                  <c:v>40281</c:v>
                </c:pt>
                <c:pt idx="324">
                  <c:v>40282</c:v>
                </c:pt>
                <c:pt idx="325">
                  <c:v>40283</c:v>
                </c:pt>
                <c:pt idx="326">
                  <c:v>40284</c:v>
                </c:pt>
                <c:pt idx="327">
                  <c:v>40287</c:v>
                </c:pt>
                <c:pt idx="328">
                  <c:v>40288</c:v>
                </c:pt>
                <c:pt idx="329">
                  <c:v>40290</c:v>
                </c:pt>
                <c:pt idx="330">
                  <c:v>40291</c:v>
                </c:pt>
                <c:pt idx="331">
                  <c:v>40294</c:v>
                </c:pt>
                <c:pt idx="332">
                  <c:v>40295</c:v>
                </c:pt>
                <c:pt idx="333">
                  <c:v>40296</c:v>
                </c:pt>
                <c:pt idx="334">
                  <c:v>40297</c:v>
                </c:pt>
                <c:pt idx="335">
                  <c:v>40298</c:v>
                </c:pt>
                <c:pt idx="336">
                  <c:v>40301</c:v>
                </c:pt>
                <c:pt idx="337">
                  <c:v>40302</c:v>
                </c:pt>
                <c:pt idx="338">
                  <c:v>40303</c:v>
                </c:pt>
                <c:pt idx="339">
                  <c:v>40304</c:v>
                </c:pt>
                <c:pt idx="340">
                  <c:v>40305</c:v>
                </c:pt>
                <c:pt idx="341">
                  <c:v>40308</c:v>
                </c:pt>
                <c:pt idx="342">
                  <c:v>40309</c:v>
                </c:pt>
                <c:pt idx="343">
                  <c:v>40310</c:v>
                </c:pt>
                <c:pt idx="344">
                  <c:v>40311</c:v>
                </c:pt>
                <c:pt idx="345">
                  <c:v>40312</c:v>
                </c:pt>
                <c:pt idx="346">
                  <c:v>40315</c:v>
                </c:pt>
                <c:pt idx="347">
                  <c:v>40316</c:v>
                </c:pt>
                <c:pt idx="348">
                  <c:v>40317</c:v>
                </c:pt>
                <c:pt idx="349">
                  <c:v>40318</c:v>
                </c:pt>
                <c:pt idx="350">
                  <c:v>40319</c:v>
                </c:pt>
                <c:pt idx="351">
                  <c:v>40322</c:v>
                </c:pt>
                <c:pt idx="352">
                  <c:v>40323</c:v>
                </c:pt>
                <c:pt idx="353">
                  <c:v>40324</c:v>
                </c:pt>
                <c:pt idx="354">
                  <c:v>40325</c:v>
                </c:pt>
                <c:pt idx="355">
                  <c:v>40326</c:v>
                </c:pt>
                <c:pt idx="356">
                  <c:v>40329</c:v>
                </c:pt>
                <c:pt idx="357">
                  <c:v>40330</c:v>
                </c:pt>
                <c:pt idx="358">
                  <c:v>40331</c:v>
                </c:pt>
                <c:pt idx="359">
                  <c:v>40333</c:v>
                </c:pt>
                <c:pt idx="360">
                  <c:v>40336</c:v>
                </c:pt>
                <c:pt idx="361">
                  <c:v>40337</c:v>
                </c:pt>
                <c:pt idx="362">
                  <c:v>40338</c:v>
                </c:pt>
                <c:pt idx="363">
                  <c:v>40339</c:v>
                </c:pt>
                <c:pt idx="364">
                  <c:v>40340</c:v>
                </c:pt>
                <c:pt idx="365">
                  <c:v>40343</c:v>
                </c:pt>
                <c:pt idx="366">
                  <c:v>40344</c:v>
                </c:pt>
                <c:pt idx="367">
                  <c:v>40345</c:v>
                </c:pt>
                <c:pt idx="368">
                  <c:v>40346</c:v>
                </c:pt>
                <c:pt idx="369">
                  <c:v>40347</c:v>
                </c:pt>
                <c:pt idx="370">
                  <c:v>40350</c:v>
                </c:pt>
                <c:pt idx="371">
                  <c:v>40351</c:v>
                </c:pt>
                <c:pt idx="372">
                  <c:v>40352</c:v>
                </c:pt>
                <c:pt idx="373">
                  <c:v>40353</c:v>
                </c:pt>
                <c:pt idx="374">
                  <c:v>40354</c:v>
                </c:pt>
                <c:pt idx="375">
                  <c:v>40357</c:v>
                </c:pt>
                <c:pt idx="376">
                  <c:v>40358</c:v>
                </c:pt>
                <c:pt idx="377">
                  <c:v>40359</c:v>
                </c:pt>
                <c:pt idx="378">
                  <c:v>40360</c:v>
                </c:pt>
                <c:pt idx="379">
                  <c:v>40361</c:v>
                </c:pt>
                <c:pt idx="380">
                  <c:v>40364</c:v>
                </c:pt>
                <c:pt idx="381">
                  <c:v>40365</c:v>
                </c:pt>
                <c:pt idx="382">
                  <c:v>40366</c:v>
                </c:pt>
                <c:pt idx="383">
                  <c:v>40367</c:v>
                </c:pt>
                <c:pt idx="384">
                  <c:v>40368</c:v>
                </c:pt>
                <c:pt idx="385">
                  <c:v>40371</c:v>
                </c:pt>
                <c:pt idx="386">
                  <c:v>40372</c:v>
                </c:pt>
                <c:pt idx="387">
                  <c:v>40373</c:v>
                </c:pt>
                <c:pt idx="388">
                  <c:v>40374</c:v>
                </c:pt>
                <c:pt idx="389">
                  <c:v>40375</c:v>
                </c:pt>
                <c:pt idx="390">
                  <c:v>40378</c:v>
                </c:pt>
                <c:pt idx="391">
                  <c:v>40379</c:v>
                </c:pt>
                <c:pt idx="392">
                  <c:v>40380</c:v>
                </c:pt>
                <c:pt idx="393">
                  <c:v>40381</c:v>
                </c:pt>
                <c:pt idx="394">
                  <c:v>40382</c:v>
                </c:pt>
                <c:pt idx="395">
                  <c:v>40385</c:v>
                </c:pt>
                <c:pt idx="396">
                  <c:v>40386</c:v>
                </c:pt>
                <c:pt idx="397">
                  <c:v>40387</c:v>
                </c:pt>
                <c:pt idx="398">
                  <c:v>40388</c:v>
                </c:pt>
                <c:pt idx="399">
                  <c:v>40389</c:v>
                </c:pt>
                <c:pt idx="400">
                  <c:v>40392</c:v>
                </c:pt>
                <c:pt idx="401">
                  <c:v>40393</c:v>
                </c:pt>
                <c:pt idx="402">
                  <c:v>40394</c:v>
                </c:pt>
                <c:pt idx="403">
                  <c:v>40395</c:v>
                </c:pt>
                <c:pt idx="404">
                  <c:v>40396</c:v>
                </c:pt>
                <c:pt idx="405">
                  <c:v>40399</c:v>
                </c:pt>
                <c:pt idx="406">
                  <c:v>40400</c:v>
                </c:pt>
                <c:pt idx="407">
                  <c:v>40401</c:v>
                </c:pt>
                <c:pt idx="408">
                  <c:v>40402</c:v>
                </c:pt>
                <c:pt idx="409">
                  <c:v>40403</c:v>
                </c:pt>
                <c:pt idx="410">
                  <c:v>40406</c:v>
                </c:pt>
                <c:pt idx="411">
                  <c:v>40407</c:v>
                </c:pt>
                <c:pt idx="412">
                  <c:v>40408</c:v>
                </c:pt>
                <c:pt idx="413">
                  <c:v>40409</c:v>
                </c:pt>
                <c:pt idx="414">
                  <c:v>40410</c:v>
                </c:pt>
                <c:pt idx="415">
                  <c:v>40413</c:v>
                </c:pt>
                <c:pt idx="416">
                  <c:v>40414</c:v>
                </c:pt>
                <c:pt idx="417">
                  <c:v>40415</c:v>
                </c:pt>
                <c:pt idx="418">
                  <c:v>40416</c:v>
                </c:pt>
                <c:pt idx="419">
                  <c:v>40417</c:v>
                </c:pt>
                <c:pt idx="420">
                  <c:v>40420</c:v>
                </c:pt>
                <c:pt idx="421">
                  <c:v>40421</c:v>
                </c:pt>
                <c:pt idx="422">
                  <c:v>40422</c:v>
                </c:pt>
                <c:pt idx="423">
                  <c:v>40423</c:v>
                </c:pt>
                <c:pt idx="424">
                  <c:v>40424</c:v>
                </c:pt>
                <c:pt idx="425">
                  <c:v>40427</c:v>
                </c:pt>
                <c:pt idx="426">
                  <c:v>40429</c:v>
                </c:pt>
                <c:pt idx="427">
                  <c:v>40430</c:v>
                </c:pt>
                <c:pt idx="428">
                  <c:v>40431</c:v>
                </c:pt>
                <c:pt idx="429">
                  <c:v>40434</c:v>
                </c:pt>
                <c:pt idx="430">
                  <c:v>40435</c:v>
                </c:pt>
                <c:pt idx="431">
                  <c:v>40436</c:v>
                </c:pt>
                <c:pt idx="432">
                  <c:v>40437</c:v>
                </c:pt>
                <c:pt idx="433">
                  <c:v>40438</c:v>
                </c:pt>
                <c:pt idx="434">
                  <c:v>40441</c:v>
                </c:pt>
                <c:pt idx="435">
                  <c:v>40442</c:v>
                </c:pt>
                <c:pt idx="436">
                  <c:v>40443</c:v>
                </c:pt>
                <c:pt idx="437">
                  <c:v>40444</c:v>
                </c:pt>
                <c:pt idx="438">
                  <c:v>40445</c:v>
                </c:pt>
                <c:pt idx="439">
                  <c:v>40448</c:v>
                </c:pt>
                <c:pt idx="440">
                  <c:v>40449</c:v>
                </c:pt>
                <c:pt idx="441">
                  <c:v>40450</c:v>
                </c:pt>
                <c:pt idx="442">
                  <c:v>40451</c:v>
                </c:pt>
                <c:pt idx="443">
                  <c:v>40452</c:v>
                </c:pt>
                <c:pt idx="444">
                  <c:v>40455</c:v>
                </c:pt>
                <c:pt idx="445">
                  <c:v>40456</c:v>
                </c:pt>
                <c:pt idx="446">
                  <c:v>40457</c:v>
                </c:pt>
                <c:pt idx="447">
                  <c:v>40458</c:v>
                </c:pt>
                <c:pt idx="448">
                  <c:v>40459</c:v>
                </c:pt>
                <c:pt idx="449">
                  <c:v>40462</c:v>
                </c:pt>
                <c:pt idx="450">
                  <c:v>40464</c:v>
                </c:pt>
                <c:pt idx="451">
                  <c:v>40465</c:v>
                </c:pt>
                <c:pt idx="452">
                  <c:v>40466</c:v>
                </c:pt>
                <c:pt idx="453">
                  <c:v>40469</c:v>
                </c:pt>
                <c:pt idx="454">
                  <c:v>40470</c:v>
                </c:pt>
                <c:pt idx="455">
                  <c:v>40471</c:v>
                </c:pt>
                <c:pt idx="456">
                  <c:v>40472</c:v>
                </c:pt>
                <c:pt idx="457">
                  <c:v>40473</c:v>
                </c:pt>
                <c:pt idx="458">
                  <c:v>40476</c:v>
                </c:pt>
                <c:pt idx="459">
                  <c:v>40477</c:v>
                </c:pt>
                <c:pt idx="460">
                  <c:v>40478</c:v>
                </c:pt>
                <c:pt idx="461">
                  <c:v>40479</c:v>
                </c:pt>
                <c:pt idx="462">
                  <c:v>40480</c:v>
                </c:pt>
                <c:pt idx="463">
                  <c:v>40483</c:v>
                </c:pt>
                <c:pt idx="464">
                  <c:v>40485</c:v>
                </c:pt>
                <c:pt idx="465">
                  <c:v>40486</c:v>
                </c:pt>
                <c:pt idx="466">
                  <c:v>40487</c:v>
                </c:pt>
                <c:pt idx="467">
                  <c:v>40490</c:v>
                </c:pt>
                <c:pt idx="468">
                  <c:v>40491</c:v>
                </c:pt>
                <c:pt idx="469">
                  <c:v>40492</c:v>
                </c:pt>
                <c:pt idx="470">
                  <c:v>40493</c:v>
                </c:pt>
                <c:pt idx="471">
                  <c:v>40494</c:v>
                </c:pt>
                <c:pt idx="472">
                  <c:v>40498</c:v>
                </c:pt>
                <c:pt idx="473">
                  <c:v>40499</c:v>
                </c:pt>
                <c:pt idx="474">
                  <c:v>40500</c:v>
                </c:pt>
                <c:pt idx="475">
                  <c:v>40501</c:v>
                </c:pt>
                <c:pt idx="476">
                  <c:v>40504</c:v>
                </c:pt>
                <c:pt idx="477">
                  <c:v>40505</c:v>
                </c:pt>
                <c:pt idx="478">
                  <c:v>40506</c:v>
                </c:pt>
                <c:pt idx="479">
                  <c:v>40507</c:v>
                </c:pt>
                <c:pt idx="480">
                  <c:v>40508</c:v>
                </c:pt>
                <c:pt idx="481">
                  <c:v>40511</c:v>
                </c:pt>
                <c:pt idx="482">
                  <c:v>40512</c:v>
                </c:pt>
                <c:pt idx="483">
                  <c:v>40513</c:v>
                </c:pt>
                <c:pt idx="484">
                  <c:v>40514</c:v>
                </c:pt>
                <c:pt idx="485">
                  <c:v>40515</c:v>
                </c:pt>
                <c:pt idx="486">
                  <c:v>40518</c:v>
                </c:pt>
                <c:pt idx="487">
                  <c:v>40519</c:v>
                </c:pt>
                <c:pt idx="488">
                  <c:v>40520</c:v>
                </c:pt>
                <c:pt idx="489">
                  <c:v>40521</c:v>
                </c:pt>
                <c:pt idx="490">
                  <c:v>40522</c:v>
                </c:pt>
                <c:pt idx="491">
                  <c:v>40525</c:v>
                </c:pt>
                <c:pt idx="492">
                  <c:v>40526</c:v>
                </c:pt>
                <c:pt idx="493">
                  <c:v>40527</c:v>
                </c:pt>
                <c:pt idx="494">
                  <c:v>40528</c:v>
                </c:pt>
                <c:pt idx="495">
                  <c:v>40529</c:v>
                </c:pt>
                <c:pt idx="496">
                  <c:v>40532</c:v>
                </c:pt>
                <c:pt idx="497">
                  <c:v>40533</c:v>
                </c:pt>
                <c:pt idx="498">
                  <c:v>40534</c:v>
                </c:pt>
                <c:pt idx="499">
                  <c:v>40535</c:v>
                </c:pt>
                <c:pt idx="500">
                  <c:v>40536</c:v>
                </c:pt>
                <c:pt idx="501">
                  <c:v>40539</c:v>
                </c:pt>
                <c:pt idx="502">
                  <c:v>40540</c:v>
                </c:pt>
                <c:pt idx="503">
                  <c:v>40541</c:v>
                </c:pt>
                <c:pt idx="504">
                  <c:v>40542</c:v>
                </c:pt>
                <c:pt idx="505">
                  <c:v>40543</c:v>
                </c:pt>
                <c:pt idx="506">
                  <c:v>40546</c:v>
                </c:pt>
                <c:pt idx="507">
                  <c:v>40547</c:v>
                </c:pt>
                <c:pt idx="508">
                  <c:v>40548</c:v>
                </c:pt>
                <c:pt idx="509">
                  <c:v>40549</c:v>
                </c:pt>
                <c:pt idx="510">
                  <c:v>40550</c:v>
                </c:pt>
                <c:pt idx="511">
                  <c:v>40553</c:v>
                </c:pt>
                <c:pt idx="512">
                  <c:v>40554</c:v>
                </c:pt>
                <c:pt idx="513">
                  <c:v>40555</c:v>
                </c:pt>
                <c:pt idx="514">
                  <c:v>40556</c:v>
                </c:pt>
                <c:pt idx="515">
                  <c:v>40557</c:v>
                </c:pt>
                <c:pt idx="516">
                  <c:v>40560</c:v>
                </c:pt>
                <c:pt idx="517">
                  <c:v>40561</c:v>
                </c:pt>
                <c:pt idx="518">
                  <c:v>40562</c:v>
                </c:pt>
                <c:pt idx="519">
                  <c:v>40563</c:v>
                </c:pt>
                <c:pt idx="520">
                  <c:v>40564</c:v>
                </c:pt>
                <c:pt idx="521">
                  <c:v>40567</c:v>
                </c:pt>
                <c:pt idx="522">
                  <c:v>40568</c:v>
                </c:pt>
                <c:pt idx="523">
                  <c:v>40569</c:v>
                </c:pt>
                <c:pt idx="524">
                  <c:v>40570</c:v>
                </c:pt>
                <c:pt idx="525">
                  <c:v>40571</c:v>
                </c:pt>
                <c:pt idx="526">
                  <c:v>40574</c:v>
                </c:pt>
                <c:pt idx="527">
                  <c:v>40575</c:v>
                </c:pt>
                <c:pt idx="528">
                  <c:v>40576</c:v>
                </c:pt>
                <c:pt idx="529">
                  <c:v>40577</c:v>
                </c:pt>
                <c:pt idx="530">
                  <c:v>40578</c:v>
                </c:pt>
                <c:pt idx="531">
                  <c:v>40581</c:v>
                </c:pt>
                <c:pt idx="532">
                  <c:v>40582</c:v>
                </c:pt>
                <c:pt idx="533">
                  <c:v>40583</c:v>
                </c:pt>
                <c:pt idx="534">
                  <c:v>40584</c:v>
                </c:pt>
                <c:pt idx="535">
                  <c:v>40585</c:v>
                </c:pt>
                <c:pt idx="536">
                  <c:v>40588</c:v>
                </c:pt>
                <c:pt idx="537">
                  <c:v>40589</c:v>
                </c:pt>
                <c:pt idx="538">
                  <c:v>40590</c:v>
                </c:pt>
                <c:pt idx="539">
                  <c:v>40591</c:v>
                </c:pt>
                <c:pt idx="540">
                  <c:v>40592</c:v>
                </c:pt>
                <c:pt idx="541">
                  <c:v>40595</c:v>
                </c:pt>
                <c:pt idx="542">
                  <c:v>40596</c:v>
                </c:pt>
                <c:pt idx="543">
                  <c:v>40597</c:v>
                </c:pt>
                <c:pt idx="544">
                  <c:v>40598</c:v>
                </c:pt>
                <c:pt idx="545">
                  <c:v>40599</c:v>
                </c:pt>
                <c:pt idx="546">
                  <c:v>40602</c:v>
                </c:pt>
                <c:pt idx="547">
                  <c:v>40603</c:v>
                </c:pt>
                <c:pt idx="548">
                  <c:v>40604</c:v>
                </c:pt>
                <c:pt idx="549">
                  <c:v>40605</c:v>
                </c:pt>
                <c:pt idx="550">
                  <c:v>40606</c:v>
                </c:pt>
                <c:pt idx="551">
                  <c:v>40611</c:v>
                </c:pt>
                <c:pt idx="552">
                  <c:v>40612</c:v>
                </c:pt>
                <c:pt idx="553">
                  <c:v>40613</c:v>
                </c:pt>
                <c:pt idx="554">
                  <c:v>40616</c:v>
                </c:pt>
                <c:pt idx="555">
                  <c:v>40617</c:v>
                </c:pt>
                <c:pt idx="556">
                  <c:v>40618</c:v>
                </c:pt>
                <c:pt idx="557">
                  <c:v>40619</c:v>
                </c:pt>
                <c:pt idx="558">
                  <c:v>40620</c:v>
                </c:pt>
                <c:pt idx="559">
                  <c:v>40623</c:v>
                </c:pt>
                <c:pt idx="560">
                  <c:v>40624</c:v>
                </c:pt>
                <c:pt idx="561">
                  <c:v>40625</c:v>
                </c:pt>
                <c:pt idx="562">
                  <c:v>40626</c:v>
                </c:pt>
                <c:pt idx="563">
                  <c:v>40627</c:v>
                </c:pt>
                <c:pt idx="564">
                  <c:v>40630</c:v>
                </c:pt>
                <c:pt idx="565">
                  <c:v>40631</c:v>
                </c:pt>
                <c:pt idx="566">
                  <c:v>40632</c:v>
                </c:pt>
                <c:pt idx="567">
                  <c:v>40633</c:v>
                </c:pt>
                <c:pt idx="568">
                  <c:v>40634</c:v>
                </c:pt>
                <c:pt idx="569">
                  <c:v>40637</c:v>
                </c:pt>
                <c:pt idx="570">
                  <c:v>40638</c:v>
                </c:pt>
                <c:pt idx="571">
                  <c:v>40639</c:v>
                </c:pt>
                <c:pt idx="572">
                  <c:v>40640</c:v>
                </c:pt>
                <c:pt idx="573">
                  <c:v>40641</c:v>
                </c:pt>
                <c:pt idx="574">
                  <c:v>40644</c:v>
                </c:pt>
                <c:pt idx="575">
                  <c:v>40645</c:v>
                </c:pt>
                <c:pt idx="576">
                  <c:v>40646</c:v>
                </c:pt>
                <c:pt idx="577">
                  <c:v>40647</c:v>
                </c:pt>
                <c:pt idx="578">
                  <c:v>40648</c:v>
                </c:pt>
                <c:pt idx="579">
                  <c:v>40651</c:v>
                </c:pt>
                <c:pt idx="580">
                  <c:v>40652</c:v>
                </c:pt>
                <c:pt idx="581">
                  <c:v>40653</c:v>
                </c:pt>
                <c:pt idx="582">
                  <c:v>40658</c:v>
                </c:pt>
                <c:pt idx="583">
                  <c:v>40659</c:v>
                </c:pt>
                <c:pt idx="584">
                  <c:v>40660</c:v>
                </c:pt>
                <c:pt idx="585">
                  <c:v>40661</c:v>
                </c:pt>
                <c:pt idx="586">
                  <c:v>40662</c:v>
                </c:pt>
                <c:pt idx="587">
                  <c:v>40665</c:v>
                </c:pt>
                <c:pt idx="588">
                  <c:v>40666</c:v>
                </c:pt>
                <c:pt idx="589">
                  <c:v>40667</c:v>
                </c:pt>
                <c:pt idx="590">
                  <c:v>40668</c:v>
                </c:pt>
                <c:pt idx="591">
                  <c:v>40669</c:v>
                </c:pt>
                <c:pt idx="592">
                  <c:v>40672</c:v>
                </c:pt>
                <c:pt idx="593">
                  <c:v>40673</c:v>
                </c:pt>
                <c:pt idx="594">
                  <c:v>40674</c:v>
                </c:pt>
                <c:pt idx="595">
                  <c:v>40675</c:v>
                </c:pt>
                <c:pt idx="596">
                  <c:v>40676</c:v>
                </c:pt>
                <c:pt idx="597">
                  <c:v>40679</c:v>
                </c:pt>
                <c:pt idx="598">
                  <c:v>40680</c:v>
                </c:pt>
                <c:pt idx="599">
                  <c:v>40681</c:v>
                </c:pt>
                <c:pt idx="600">
                  <c:v>40682</c:v>
                </c:pt>
                <c:pt idx="601">
                  <c:v>40683</c:v>
                </c:pt>
                <c:pt idx="602">
                  <c:v>40686</c:v>
                </c:pt>
                <c:pt idx="603">
                  <c:v>40687</c:v>
                </c:pt>
                <c:pt idx="604">
                  <c:v>40688</c:v>
                </c:pt>
                <c:pt idx="605">
                  <c:v>40689</c:v>
                </c:pt>
                <c:pt idx="606">
                  <c:v>40690</c:v>
                </c:pt>
                <c:pt idx="607">
                  <c:v>40693</c:v>
                </c:pt>
                <c:pt idx="608">
                  <c:v>40694</c:v>
                </c:pt>
                <c:pt idx="609">
                  <c:v>40695</c:v>
                </c:pt>
                <c:pt idx="610">
                  <c:v>40696</c:v>
                </c:pt>
                <c:pt idx="611">
                  <c:v>40697</c:v>
                </c:pt>
                <c:pt idx="612">
                  <c:v>40700</c:v>
                </c:pt>
                <c:pt idx="613">
                  <c:v>40701</c:v>
                </c:pt>
                <c:pt idx="614">
                  <c:v>40702</c:v>
                </c:pt>
                <c:pt idx="615">
                  <c:v>40703</c:v>
                </c:pt>
                <c:pt idx="616">
                  <c:v>40704</c:v>
                </c:pt>
                <c:pt idx="617">
                  <c:v>40707</c:v>
                </c:pt>
                <c:pt idx="618">
                  <c:v>40708</c:v>
                </c:pt>
                <c:pt idx="619">
                  <c:v>40709</c:v>
                </c:pt>
                <c:pt idx="620">
                  <c:v>40710</c:v>
                </c:pt>
                <c:pt idx="621">
                  <c:v>40711</c:v>
                </c:pt>
                <c:pt idx="622">
                  <c:v>40714</c:v>
                </c:pt>
                <c:pt idx="623">
                  <c:v>40715</c:v>
                </c:pt>
                <c:pt idx="624">
                  <c:v>40716</c:v>
                </c:pt>
                <c:pt idx="625">
                  <c:v>40718</c:v>
                </c:pt>
                <c:pt idx="626">
                  <c:v>40721</c:v>
                </c:pt>
                <c:pt idx="627">
                  <c:v>40722</c:v>
                </c:pt>
                <c:pt idx="628">
                  <c:v>40723</c:v>
                </c:pt>
                <c:pt idx="629">
                  <c:v>40724</c:v>
                </c:pt>
                <c:pt idx="630">
                  <c:v>40725</c:v>
                </c:pt>
                <c:pt idx="631">
                  <c:v>40728</c:v>
                </c:pt>
                <c:pt idx="632">
                  <c:v>40729</c:v>
                </c:pt>
                <c:pt idx="633">
                  <c:v>40730</c:v>
                </c:pt>
                <c:pt idx="634">
                  <c:v>40731</c:v>
                </c:pt>
                <c:pt idx="635">
                  <c:v>40732</c:v>
                </c:pt>
                <c:pt idx="636">
                  <c:v>40735</c:v>
                </c:pt>
                <c:pt idx="637">
                  <c:v>40736</c:v>
                </c:pt>
                <c:pt idx="638">
                  <c:v>40737</c:v>
                </c:pt>
                <c:pt idx="639">
                  <c:v>40738</c:v>
                </c:pt>
                <c:pt idx="640">
                  <c:v>40739</c:v>
                </c:pt>
                <c:pt idx="641">
                  <c:v>40742</c:v>
                </c:pt>
                <c:pt idx="642">
                  <c:v>40743</c:v>
                </c:pt>
                <c:pt idx="643">
                  <c:v>40744</c:v>
                </c:pt>
                <c:pt idx="644">
                  <c:v>40745</c:v>
                </c:pt>
                <c:pt idx="645">
                  <c:v>40746</c:v>
                </c:pt>
                <c:pt idx="646">
                  <c:v>40749</c:v>
                </c:pt>
                <c:pt idx="647">
                  <c:v>40750</c:v>
                </c:pt>
                <c:pt idx="648">
                  <c:v>40751</c:v>
                </c:pt>
                <c:pt idx="649">
                  <c:v>40752</c:v>
                </c:pt>
                <c:pt idx="650">
                  <c:v>40753</c:v>
                </c:pt>
                <c:pt idx="651">
                  <c:v>40756</c:v>
                </c:pt>
                <c:pt idx="652">
                  <c:v>40757</c:v>
                </c:pt>
                <c:pt idx="653">
                  <c:v>40758</c:v>
                </c:pt>
                <c:pt idx="654">
                  <c:v>40759</c:v>
                </c:pt>
                <c:pt idx="655">
                  <c:v>40760</c:v>
                </c:pt>
                <c:pt idx="656">
                  <c:v>40763</c:v>
                </c:pt>
                <c:pt idx="657">
                  <c:v>40764</c:v>
                </c:pt>
                <c:pt idx="658">
                  <c:v>40765</c:v>
                </c:pt>
                <c:pt idx="659">
                  <c:v>40766</c:v>
                </c:pt>
                <c:pt idx="660">
                  <c:v>40767</c:v>
                </c:pt>
                <c:pt idx="661">
                  <c:v>40770</c:v>
                </c:pt>
                <c:pt idx="662">
                  <c:v>40771</c:v>
                </c:pt>
                <c:pt idx="663">
                  <c:v>40772</c:v>
                </c:pt>
                <c:pt idx="664">
                  <c:v>40773</c:v>
                </c:pt>
                <c:pt idx="665">
                  <c:v>40774</c:v>
                </c:pt>
                <c:pt idx="666">
                  <c:v>40777</c:v>
                </c:pt>
                <c:pt idx="667">
                  <c:v>40778</c:v>
                </c:pt>
                <c:pt idx="668">
                  <c:v>40779</c:v>
                </c:pt>
                <c:pt idx="669">
                  <c:v>40780</c:v>
                </c:pt>
                <c:pt idx="670">
                  <c:v>40781</c:v>
                </c:pt>
                <c:pt idx="671">
                  <c:v>40784</c:v>
                </c:pt>
                <c:pt idx="672">
                  <c:v>40785</c:v>
                </c:pt>
                <c:pt idx="673">
                  <c:v>40786</c:v>
                </c:pt>
                <c:pt idx="674">
                  <c:v>40787</c:v>
                </c:pt>
                <c:pt idx="675">
                  <c:v>40788</c:v>
                </c:pt>
                <c:pt idx="676">
                  <c:v>40791</c:v>
                </c:pt>
                <c:pt idx="677">
                  <c:v>40792</c:v>
                </c:pt>
                <c:pt idx="678">
                  <c:v>40794</c:v>
                </c:pt>
                <c:pt idx="679">
                  <c:v>40795</c:v>
                </c:pt>
                <c:pt idx="680">
                  <c:v>40798</c:v>
                </c:pt>
                <c:pt idx="681">
                  <c:v>40799</c:v>
                </c:pt>
                <c:pt idx="682">
                  <c:v>40800</c:v>
                </c:pt>
                <c:pt idx="683">
                  <c:v>40801</c:v>
                </c:pt>
                <c:pt idx="684">
                  <c:v>40802</c:v>
                </c:pt>
                <c:pt idx="685">
                  <c:v>40805</c:v>
                </c:pt>
                <c:pt idx="686">
                  <c:v>40806</c:v>
                </c:pt>
                <c:pt idx="687">
                  <c:v>40807</c:v>
                </c:pt>
                <c:pt idx="688">
                  <c:v>40808</c:v>
                </c:pt>
                <c:pt idx="689">
                  <c:v>40809</c:v>
                </c:pt>
                <c:pt idx="690">
                  <c:v>40812</c:v>
                </c:pt>
                <c:pt idx="691">
                  <c:v>40813</c:v>
                </c:pt>
                <c:pt idx="692">
                  <c:v>40814</c:v>
                </c:pt>
                <c:pt idx="693">
                  <c:v>40815</c:v>
                </c:pt>
                <c:pt idx="694">
                  <c:v>40816</c:v>
                </c:pt>
                <c:pt idx="695">
                  <c:v>40819</c:v>
                </c:pt>
                <c:pt idx="696">
                  <c:v>40820</c:v>
                </c:pt>
                <c:pt idx="697">
                  <c:v>40821</c:v>
                </c:pt>
                <c:pt idx="698">
                  <c:v>40822</c:v>
                </c:pt>
                <c:pt idx="699">
                  <c:v>40823</c:v>
                </c:pt>
                <c:pt idx="700">
                  <c:v>40826</c:v>
                </c:pt>
                <c:pt idx="701">
                  <c:v>40827</c:v>
                </c:pt>
                <c:pt idx="702">
                  <c:v>40829</c:v>
                </c:pt>
                <c:pt idx="703">
                  <c:v>40830</c:v>
                </c:pt>
                <c:pt idx="704">
                  <c:v>40833</c:v>
                </c:pt>
                <c:pt idx="705">
                  <c:v>40834</c:v>
                </c:pt>
                <c:pt idx="706">
                  <c:v>40835</c:v>
                </c:pt>
                <c:pt idx="707">
                  <c:v>40836</c:v>
                </c:pt>
                <c:pt idx="708">
                  <c:v>40837</c:v>
                </c:pt>
                <c:pt idx="709">
                  <c:v>40840</c:v>
                </c:pt>
                <c:pt idx="710">
                  <c:v>40841</c:v>
                </c:pt>
                <c:pt idx="711">
                  <c:v>40842</c:v>
                </c:pt>
                <c:pt idx="712">
                  <c:v>40843</c:v>
                </c:pt>
                <c:pt idx="713">
                  <c:v>40844</c:v>
                </c:pt>
                <c:pt idx="714">
                  <c:v>40847</c:v>
                </c:pt>
                <c:pt idx="715">
                  <c:v>40848</c:v>
                </c:pt>
                <c:pt idx="716">
                  <c:v>40850</c:v>
                </c:pt>
                <c:pt idx="717">
                  <c:v>40851</c:v>
                </c:pt>
                <c:pt idx="718">
                  <c:v>40854</c:v>
                </c:pt>
                <c:pt idx="719">
                  <c:v>40855</c:v>
                </c:pt>
                <c:pt idx="720">
                  <c:v>40856</c:v>
                </c:pt>
                <c:pt idx="721">
                  <c:v>40857</c:v>
                </c:pt>
                <c:pt idx="722">
                  <c:v>40858</c:v>
                </c:pt>
                <c:pt idx="723">
                  <c:v>40861</c:v>
                </c:pt>
                <c:pt idx="724">
                  <c:v>40863</c:v>
                </c:pt>
                <c:pt idx="725">
                  <c:v>40864</c:v>
                </c:pt>
                <c:pt idx="726">
                  <c:v>40865</c:v>
                </c:pt>
                <c:pt idx="727">
                  <c:v>40868</c:v>
                </c:pt>
                <c:pt idx="728">
                  <c:v>40869</c:v>
                </c:pt>
                <c:pt idx="729">
                  <c:v>40870</c:v>
                </c:pt>
                <c:pt idx="730">
                  <c:v>40871</c:v>
                </c:pt>
                <c:pt idx="731">
                  <c:v>40872</c:v>
                </c:pt>
                <c:pt idx="732">
                  <c:v>40875</c:v>
                </c:pt>
                <c:pt idx="733">
                  <c:v>40876</c:v>
                </c:pt>
                <c:pt idx="734">
                  <c:v>40877</c:v>
                </c:pt>
                <c:pt idx="735">
                  <c:v>40878</c:v>
                </c:pt>
                <c:pt idx="736">
                  <c:v>40879</c:v>
                </c:pt>
                <c:pt idx="737">
                  <c:v>40882</c:v>
                </c:pt>
                <c:pt idx="738">
                  <c:v>40883</c:v>
                </c:pt>
                <c:pt idx="739">
                  <c:v>40884</c:v>
                </c:pt>
                <c:pt idx="740">
                  <c:v>40885</c:v>
                </c:pt>
                <c:pt idx="741">
                  <c:v>40886</c:v>
                </c:pt>
                <c:pt idx="742">
                  <c:v>40889</c:v>
                </c:pt>
                <c:pt idx="743">
                  <c:v>40890</c:v>
                </c:pt>
                <c:pt idx="744">
                  <c:v>40891</c:v>
                </c:pt>
                <c:pt idx="745">
                  <c:v>40892</c:v>
                </c:pt>
                <c:pt idx="746">
                  <c:v>40893</c:v>
                </c:pt>
                <c:pt idx="747">
                  <c:v>40896</c:v>
                </c:pt>
                <c:pt idx="748">
                  <c:v>40897</c:v>
                </c:pt>
                <c:pt idx="749">
                  <c:v>40898</c:v>
                </c:pt>
                <c:pt idx="750">
                  <c:v>40899</c:v>
                </c:pt>
                <c:pt idx="751">
                  <c:v>40900</c:v>
                </c:pt>
                <c:pt idx="752">
                  <c:v>40903</c:v>
                </c:pt>
                <c:pt idx="753">
                  <c:v>40904</c:v>
                </c:pt>
                <c:pt idx="754">
                  <c:v>40905</c:v>
                </c:pt>
                <c:pt idx="755">
                  <c:v>40906</c:v>
                </c:pt>
                <c:pt idx="756">
                  <c:v>40907</c:v>
                </c:pt>
                <c:pt idx="757">
                  <c:v>40910</c:v>
                </c:pt>
                <c:pt idx="758">
                  <c:v>40911</c:v>
                </c:pt>
                <c:pt idx="759">
                  <c:v>40912</c:v>
                </c:pt>
                <c:pt idx="760">
                  <c:v>40913</c:v>
                </c:pt>
                <c:pt idx="761">
                  <c:v>40914</c:v>
                </c:pt>
                <c:pt idx="762">
                  <c:v>40917</c:v>
                </c:pt>
                <c:pt idx="763">
                  <c:v>40918</c:v>
                </c:pt>
                <c:pt idx="764">
                  <c:v>40919</c:v>
                </c:pt>
                <c:pt idx="765">
                  <c:v>40920</c:v>
                </c:pt>
                <c:pt idx="766">
                  <c:v>40921</c:v>
                </c:pt>
                <c:pt idx="767">
                  <c:v>40924</c:v>
                </c:pt>
                <c:pt idx="768">
                  <c:v>40925</c:v>
                </c:pt>
                <c:pt idx="769">
                  <c:v>40926</c:v>
                </c:pt>
                <c:pt idx="770">
                  <c:v>40927</c:v>
                </c:pt>
                <c:pt idx="771">
                  <c:v>40928</c:v>
                </c:pt>
                <c:pt idx="772">
                  <c:v>40931</c:v>
                </c:pt>
                <c:pt idx="773">
                  <c:v>40932</c:v>
                </c:pt>
                <c:pt idx="774">
                  <c:v>40933</c:v>
                </c:pt>
                <c:pt idx="775">
                  <c:v>40934</c:v>
                </c:pt>
                <c:pt idx="776">
                  <c:v>40935</c:v>
                </c:pt>
                <c:pt idx="777">
                  <c:v>40938</c:v>
                </c:pt>
                <c:pt idx="778">
                  <c:v>40939</c:v>
                </c:pt>
                <c:pt idx="779">
                  <c:v>40940</c:v>
                </c:pt>
                <c:pt idx="780">
                  <c:v>40941</c:v>
                </c:pt>
                <c:pt idx="781">
                  <c:v>40942</c:v>
                </c:pt>
                <c:pt idx="782">
                  <c:v>40945</c:v>
                </c:pt>
                <c:pt idx="783">
                  <c:v>40946</c:v>
                </c:pt>
                <c:pt idx="784">
                  <c:v>40947</c:v>
                </c:pt>
                <c:pt idx="785">
                  <c:v>40948</c:v>
                </c:pt>
                <c:pt idx="786">
                  <c:v>40949</c:v>
                </c:pt>
                <c:pt idx="787">
                  <c:v>40952</c:v>
                </c:pt>
                <c:pt idx="788">
                  <c:v>40953</c:v>
                </c:pt>
                <c:pt idx="789">
                  <c:v>40954</c:v>
                </c:pt>
                <c:pt idx="790">
                  <c:v>40955</c:v>
                </c:pt>
                <c:pt idx="791">
                  <c:v>40956</c:v>
                </c:pt>
                <c:pt idx="792">
                  <c:v>40961</c:v>
                </c:pt>
                <c:pt idx="793">
                  <c:v>40962</c:v>
                </c:pt>
                <c:pt idx="794">
                  <c:v>40963</c:v>
                </c:pt>
                <c:pt idx="795">
                  <c:v>40966</c:v>
                </c:pt>
                <c:pt idx="796">
                  <c:v>40967</c:v>
                </c:pt>
                <c:pt idx="797">
                  <c:v>40968</c:v>
                </c:pt>
                <c:pt idx="798">
                  <c:v>40969</c:v>
                </c:pt>
                <c:pt idx="799">
                  <c:v>40970</c:v>
                </c:pt>
                <c:pt idx="800">
                  <c:v>40973</c:v>
                </c:pt>
                <c:pt idx="801">
                  <c:v>40974</c:v>
                </c:pt>
                <c:pt idx="802">
                  <c:v>40975</c:v>
                </c:pt>
                <c:pt idx="803">
                  <c:v>40976</c:v>
                </c:pt>
                <c:pt idx="804">
                  <c:v>40977</c:v>
                </c:pt>
                <c:pt idx="805">
                  <c:v>40980</c:v>
                </c:pt>
                <c:pt idx="806">
                  <c:v>40981</c:v>
                </c:pt>
                <c:pt idx="807">
                  <c:v>40982</c:v>
                </c:pt>
                <c:pt idx="808">
                  <c:v>40983</c:v>
                </c:pt>
                <c:pt idx="809">
                  <c:v>40984</c:v>
                </c:pt>
                <c:pt idx="810">
                  <c:v>40987</c:v>
                </c:pt>
                <c:pt idx="811">
                  <c:v>40988</c:v>
                </c:pt>
                <c:pt idx="812">
                  <c:v>40989</c:v>
                </c:pt>
                <c:pt idx="813">
                  <c:v>40990</c:v>
                </c:pt>
                <c:pt idx="814">
                  <c:v>40991</c:v>
                </c:pt>
                <c:pt idx="815">
                  <c:v>40994</c:v>
                </c:pt>
                <c:pt idx="816">
                  <c:v>40995</c:v>
                </c:pt>
                <c:pt idx="817">
                  <c:v>40996</c:v>
                </c:pt>
                <c:pt idx="818">
                  <c:v>40997</c:v>
                </c:pt>
                <c:pt idx="819">
                  <c:v>40998</c:v>
                </c:pt>
                <c:pt idx="820">
                  <c:v>41001</c:v>
                </c:pt>
                <c:pt idx="821">
                  <c:v>41002</c:v>
                </c:pt>
                <c:pt idx="822">
                  <c:v>41003</c:v>
                </c:pt>
                <c:pt idx="823">
                  <c:v>41004</c:v>
                </c:pt>
                <c:pt idx="824">
                  <c:v>41008</c:v>
                </c:pt>
                <c:pt idx="825">
                  <c:v>41009</c:v>
                </c:pt>
                <c:pt idx="826">
                  <c:v>41010</c:v>
                </c:pt>
                <c:pt idx="827">
                  <c:v>41011</c:v>
                </c:pt>
                <c:pt idx="828">
                  <c:v>41012</c:v>
                </c:pt>
                <c:pt idx="829">
                  <c:v>41015</c:v>
                </c:pt>
                <c:pt idx="830">
                  <c:v>41016</c:v>
                </c:pt>
                <c:pt idx="831">
                  <c:v>41017</c:v>
                </c:pt>
                <c:pt idx="832">
                  <c:v>41018</c:v>
                </c:pt>
                <c:pt idx="833">
                  <c:v>41019</c:v>
                </c:pt>
                <c:pt idx="834">
                  <c:v>41022</c:v>
                </c:pt>
                <c:pt idx="835">
                  <c:v>41023</c:v>
                </c:pt>
                <c:pt idx="836">
                  <c:v>41024</c:v>
                </c:pt>
                <c:pt idx="837">
                  <c:v>41025</c:v>
                </c:pt>
                <c:pt idx="838">
                  <c:v>41026</c:v>
                </c:pt>
                <c:pt idx="839">
                  <c:v>41029</c:v>
                </c:pt>
                <c:pt idx="840">
                  <c:v>41031</c:v>
                </c:pt>
                <c:pt idx="841">
                  <c:v>41032</c:v>
                </c:pt>
                <c:pt idx="842">
                  <c:v>41033</c:v>
                </c:pt>
                <c:pt idx="843">
                  <c:v>41036</c:v>
                </c:pt>
                <c:pt idx="844">
                  <c:v>41037</c:v>
                </c:pt>
                <c:pt idx="845">
                  <c:v>41038</c:v>
                </c:pt>
                <c:pt idx="846">
                  <c:v>41039</c:v>
                </c:pt>
                <c:pt idx="847">
                  <c:v>41040</c:v>
                </c:pt>
                <c:pt idx="848">
                  <c:v>41043</c:v>
                </c:pt>
                <c:pt idx="849">
                  <c:v>41044</c:v>
                </c:pt>
                <c:pt idx="850">
                  <c:v>41045</c:v>
                </c:pt>
                <c:pt idx="851">
                  <c:v>41046</c:v>
                </c:pt>
                <c:pt idx="852">
                  <c:v>41047</c:v>
                </c:pt>
                <c:pt idx="853">
                  <c:v>41050</c:v>
                </c:pt>
                <c:pt idx="854">
                  <c:v>41051</c:v>
                </c:pt>
                <c:pt idx="855">
                  <c:v>41052</c:v>
                </c:pt>
                <c:pt idx="856">
                  <c:v>41053</c:v>
                </c:pt>
                <c:pt idx="857">
                  <c:v>41054</c:v>
                </c:pt>
                <c:pt idx="858">
                  <c:v>41057</c:v>
                </c:pt>
                <c:pt idx="859">
                  <c:v>41058</c:v>
                </c:pt>
                <c:pt idx="860">
                  <c:v>41059</c:v>
                </c:pt>
                <c:pt idx="861">
                  <c:v>41060</c:v>
                </c:pt>
                <c:pt idx="862">
                  <c:v>41061</c:v>
                </c:pt>
                <c:pt idx="863">
                  <c:v>41064</c:v>
                </c:pt>
                <c:pt idx="864">
                  <c:v>41065</c:v>
                </c:pt>
                <c:pt idx="865">
                  <c:v>41066</c:v>
                </c:pt>
                <c:pt idx="866">
                  <c:v>41068</c:v>
                </c:pt>
                <c:pt idx="867">
                  <c:v>41071</c:v>
                </c:pt>
                <c:pt idx="868">
                  <c:v>41072</c:v>
                </c:pt>
                <c:pt idx="869">
                  <c:v>41073</c:v>
                </c:pt>
                <c:pt idx="870">
                  <c:v>41074</c:v>
                </c:pt>
                <c:pt idx="871">
                  <c:v>41075</c:v>
                </c:pt>
                <c:pt idx="872">
                  <c:v>41078</c:v>
                </c:pt>
                <c:pt idx="873">
                  <c:v>41079</c:v>
                </c:pt>
                <c:pt idx="874">
                  <c:v>41080</c:v>
                </c:pt>
                <c:pt idx="875">
                  <c:v>41081</c:v>
                </c:pt>
                <c:pt idx="876">
                  <c:v>41082</c:v>
                </c:pt>
                <c:pt idx="877">
                  <c:v>41085</c:v>
                </c:pt>
                <c:pt idx="878">
                  <c:v>41086</c:v>
                </c:pt>
                <c:pt idx="879">
                  <c:v>41087</c:v>
                </c:pt>
                <c:pt idx="880">
                  <c:v>41088</c:v>
                </c:pt>
                <c:pt idx="881">
                  <c:v>41089</c:v>
                </c:pt>
                <c:pt idx="882">
                  <c:v>41092</c:v>
                </c:pt>
                <c:pt idx="883">
                  <c:v>41093</c:v>
                </c:pt>
                <c:pt idx="884">
                  <c:v>41094</c:v>
                </c:pt>
                <c:pt idx="885">
                  <c:v>41095</c:v>
                </c:pt>
                <c:pt idx="886">
                  <c:v>41096</c:v>
                </c:pt>
                <c:pt idx="887">
                  <c:v>41099</c:v>
                </c:pt>
                <c:pt idx="888">
                  <c:v>41100</c:v>
                </c:pt>
                <c:pt idx="889">
                  <c:v>41101</c:v>
                </c:pt>
                <c:pt idx="890">
                  <c:v>41102</c:v>
                </c:pt>
                <c:pt idx="891">
                  <c:v>41103</c:v>
                </c:pt>
                <c:pt idx="892">
                  <c:v>41106</c:v>
                </c:pt>
                <c:pt idx="893">
                  <c:v>41107</c:v>
                </c:pt>
                <c:pt idx="894">
                  <c:v>41108</c:v>
                </c:pt>
                <c:pt idx="895">
                  <c:v>41109</c:v>
                </c:pt>
                <c:pt idx="896">
                  <c:v>41110</c:v>
                </c:pt>
                <c:pt idx="897">
                  <c:v>41113</c:v>
                </c:pt>
                <c:pt idx="898">
                  <c:v>41114</c:v>
                </c:pt>
                <c:pt idx="899">
                  <c:v>41115</c:v>
                </c:pt>
                <c:pt idx="900">
                  <c:v>41116</c:v>
                </c:pt>
                <c:pt idx="901">
                  <c:v>41117</c:v>
                </c:pt>
                <c:pt idx="902">
                  <c:v>41120</c:v>
                </c:pt>
                <c:pt idx="903">
                  <c:v>41121</c:v>
                </c:pt>
                <c:pt idx="904">
                  <c:v>41122</c:v>
                </c:pt>
                <c:pt idx="905">
                  <c:v>41123</c:v>
                </c:pt>
                <c:pt idx="906">
                  <c:v>41124</c:v>
                </c:pt>
                <c:pt idx="907">
                  <c:v>41127</c:v>
                </c:pt>
                <c:pt idx="908">
                  <c:v>41128</c:v>
                </c:pt>
                <c:pt idx="909">
                  <c:v>41129</c:v>
                </c:pt>
                <c:pt idx="910">
                  <c:v>41130</c:v>
                </c:pt>
                <c:pt idx="911">
                  <c:v>41131</c:v>
                </c:pt>
                <c:pt idx="912">
                  <c:v>41134</c:v>
                </c:pt>
                <c:pt idx="913">
                  <c:v>41135</c:v>
                </c:pt>
                <c:pt idx="914">
                  <c:v>41136</c:v>
                </c:pt>
                <c:pt idx="915">
                  <c:v>41137</c:v>
                </c:pt>
                <c:pt idx="916">
                  <c:v>41138</c:v>
                </c:pt>
                <c:pt idx="917">
                  <c:v>41141</c:v>
                </c:pt>
                <c:pt idx="918">
                  <c:v>41142</c:v>
                </c:pt>
                <c:pt idx="919">
                  <c:v>41143</c:v>
                </c:pt>
                <c:pt idx="920">
                  <c:v>41144</c:v>
                </c:pt>
                <c:pt idx="921">
                  <c:v>41145</c:v>
                </c:pt>
                <c:pt idx="922">
                  <c:v>41148</c:v>
                </c:pt>
                <c:pt idx="923">
                  <c:v>41149</c:v>
                </c:pt>
                <c:pt idx="924">
                  <c:v>41150</c:v>
                </c:pt>
                <c:pt idx="925">
                  <c:v>41151</c:v>
                </c:pt>
                <c:pt idx="926">
                  <c:v>41152</c:v>
                </c:pt>
                <c:pt idx="927">
                  <c:v>41155</c:v>
                </c:pt>
                <c:pt idx="928">
                  <c:v>41156</c:v>
                </c:pt>
                <c:pt idx="929">
                  <c:v>41157</c:v>
                </c:pt>
                <c:pt idx="930">
                  <c:v>41158</c:v>
                </c:pt>
                <c:pt idx="931">
                  <c:v>41162</c:v>
                </c:pt>
                <c:pt idx="932">
                  <c:v>41163</c:v>
                </c:pt>
                <c:pt idx="933">
                  <c:v>41164</c:v>
                </c:pt>
                <c:pt idx="934">
                  <c:v>41165</c:v>
                </c:pt>
                <c:pt idx="935">
                  <c:v>41166</c:v>
                </c:pt>
                <c:pt idx="936">
                  <c:v>41169</c:v>
                </c:pt>
                <c:pt idx="937">
                  <c:v>41170</c:v>
                </c:pt>
                <c:pt idx="938">
                  <c:v>41171</c:v>
                </c:pt>
                <c:pt idx="939">
                  <c:v>41172</c:v>
                </c:pt>
                <c:pt idx="940">
                  <c:v>41173</c:v>
                </c:pt>
                <c:pt idx="941">
                  <c:v>41176</c:v>
                </c:pt>
                <c:pt idx="942">
                  <c:v>41177</c:v>
                </c:pt>
                <c:pt idx="943">
                  <c:v>41178</c:v>
                </c:pt>
                <c:pt idx="944">
                  <c:v>41179</c:v>
                </c:pt>
                <c:pt idx="945">
                  <c:v>41180</c:v>
                </c:pt>
                <c:pt idx="946">
                  <c:v>41183</c:v>
                </c:pt>
                <c:pt idx="947">
                  <c:v>41184</c:v>
                </c:pt>
                <c:pt idx="948">
                  <c:v>41185</c:v>
                </c:pt>
                <c:pt idx="949">
                  <c:v>41186</c:v>
                </c:pt>
                <c:pt idx="950">
                  <c:v>41187</c:v>
                </c:pt>
                <c:pt idx="951">
                  <c:v>41190</c:v>
                </c:pt>
                <c:pt idx="952">
                  <c:v>41191</c:v>
                </c:pt>
                <c:pt idx="953">
                  <c:v>41192</c:v>
                </c:pt>
                <c:pt idx="954">
                  <c:v>41193</c:v>
                </c:pt>
                <c:pt idx="955">
                  <c:v>41197</c:v>
                </c:pt>
                <c:pt idx="956">
                  <c:v>41198</c:v>
                </c:pt>
                <c:pt idx="957">
                  <c:v>41199</c:v>
                </c:pt>
                <c:pt idx="958">
                  <c:v>41200</c:v>
                </c:pt>
                <c:pt idx="959">
                  <c:v>41201</c:v>
                </c:pt>
                <c:pt idx="960">
                  <c:v>41204</c:v>
                </c:pt>
                <c:pt idx="961">
                  <c:v>41205</c:v>
                </c:pt>
                <c:pt idx="962">
                  <c:v>41206</c:v>
                </c:pt>
                <c:pt idx="963">
                  <c:v>41207</c:v>
                </c:pt>
                <c:pt idx="964">
                  <c:v>41208</c:v>
                </c:pt>
                <c:pt idx="965">
                  <c:v>41211</c:v>
                </c:pt>
                <c:pt idx="966">
                  <c:v>41212</c:v>
                </c:pt>
                <c:pt idx="967">
                  <c:v>41213</c:v>
                </c:pt>
                <c:pt idx="968">
                  <c:v>41214</c:v>
                </c:pt>
                <c:pt idx="969">
                  <c:v>41218</c:v>
                </c:pt>
                <c:pt idx="970">
                  <c:v>41219</c:v>
                </c:pt>
                <c:pt idx="971">
                  <c:v>41220</c:v>
                </c:pt>
                <c:pt idx="972">
                  <c:v>41221</c:v>
                </c:pt>
                <c:pt idx="973">
                  <c:v>41222</c:v>
                </c:pt>
                <c:pt idx="974">
                  <c:v>41225</c:v>
                </c:pt>
                <c:pt idx="975">
                  <c:v>41226</c:v>
                </c:pt>
                <c:pt idx="976">
                  <c:v>41227</c:v>
                </c:pt>
                <c:pt idx="977">
                  <c:v>41229</c:v>
                </c:pt>
                <c:pt idx="978">
                  <c:v>41232</c:v>
                </c:pt>
                <c:pt idx="979">
                  <c:v>41233</c:v>
                </c:pt>
                <c:pt idx="980">
                  <c:v>41234</c:v>
                </c:pt>
                <c:pt idx="981">
                  <c:v>41235</c:v>
                </c:pt>
                <c:pt idx="982">
                  <c:v>41236</c:v>
                </c:pt>
                <c:pt idx="983">
                  <c:v>41239</c:v>
                </c:pt>
                <c:pt idx="984">
                  <c:v>41240</c:v>
                </c:pt>
                <c:pt idx="985">
                  <c:v>41241</c:v>
                </c:pt>
                <c:pt idx="986">
                  <c:v>41242</c:v>
                </c:pt>
                <c:pt idx="987">
                  <c:v>41243</c:v>
                </c:pt>
                <c:pt idx="988">
                  <c:v>41246</c:v>
                </c:pt>
                <c:pt idx="989">
                  <c:v>41247</c:v>
                </c:pt>
                <c:pt idx="990">
                  <c:v>41248</c:v>
                </c:pt>
                <c:pt idx="991">
                  <c:v>41249</c:v>
                </c:pt>
                <c:pt idx="992">
                  <c:v>41250</c:v>
                </c:pt>
                <c:pt idx="993">
                  <c:v>41253</c:v>
                </c:pt>
                <c:pt idx="994">
                  <c:v>41254</c:v>
                </c:pt>
                <c:pt idx="995">
                  <c:v>41255</c:v>
                </c:pt>
                <c:pt idx="996">
                  <c:v>41256</c:v>
                </c:pt>
                <c:pt idx="997">
                  <c:v>41257</c:v>
                </c:pt>
                <c:pt idx="998">
                  <c:v>41260</c:v>
                </c:pt>
                <c:pt idx="999">
                  <c:v>41261</c:v>
                </c:pt>
                <c:pt idx="1000">
                  <c:v>41262</c:v>
                </c:pt>
                <c:pt idx="1001">
                  <c:v>41263</c:v>
                </c:pt>
                <c:pt idx="1002">
                  <c:v>41264</c:v>
                </c:pt>
                <c:pt idx="1003">
                  <c:v>41267</c:v>
                </c:pt>
                <c:pt idx="1004">
                  <c:v>41269</c:v>
                </c:pt>
                <c:pt idx="1005">
                  <c:v>41270</c:v>
                </c:pt>
                <c:pt idx="1006">
                  <c:v>41271</c:v>
                </c:pt>
                <c:pt idx="1007">
                  <c:v>41274</c:v>
                </c:pt>
                <c:pt idx="1008">
                  <c:v>41276</c:v>
                </c:pt>
                <c:pt idx="1009">
                  <c:v>41277</c:v>
                </c:pt>
                <c:pt idx="1010">
                  <c:v>41278</c:v>
                </c:pt>
                <c:pt idx="1011">
                  <c:v>41281</c:v>
                </c:pt>
                <c:pt idx="1012">
                  <c:v>41282</c:v>
                </c:pt>
                <c:pt idx="1013">
                  <c:v>41283</c:v>
                </c:pt>
                <c:pt idx="1014">
                  <c:v>41284</c:v>
                </c:pt>
                <c:pt idx="1015">
                  <c:v>41285</c:v>
                </c:pt>
                <c:pt idx="1016">
                  <c:v>41288</c:v>
                </c:pt>
                <c:pt idx="1017">
                  <c:v>41289</c:v>
                </c:pt>
                <c:pt idx="1018">
                  <c:v>41290</c:v>
                </c:pt>
                <c:pt idx="1019">
                  <c:v>41291</c:v>
                </c:pt>
                <c:pt idx="1020">
                  <c:v>41292</c:v>
                </c:pt>
                <c:pt idx="1021">
                  <c:v>41295</c:v>
                </c:pt>
                <c:pt idx="1022">
                  <c:v>41296</c:v>
                </c:pt>
                <c:pt idx="1023">
                  <c:v>41297</c:v>
                </c:pt>
                <c:pt idx="1024">
                  <c:v>41298</c:v>
                </c:pt>
                <c:pt idx="1025">
                  <c:v>41299</c:v>
                </c:pt>
                <c:pt idx="1026">
                  <c:v>41302</c:v>
                </c:pt>
                <c:pt idx="1027">
                  <c:v>41303</c:v>
                </c:pt>
                <c:pt idx="1028">
                  <c:v>41304</c:v>
                </c:pt>
                <c:pt idx="1029">
                  <c:v>41305</c:v>
                </c:pt>
                <c:pt idx="1030">
                  <c:v>41306</c:v>
                </c:pt>
                <c:pt idx="1031">
                  <c:v>41309</c:v>
                </c:pt>
                <c:pt idx="1032">
                  <c:v>41310</c:v>
                </c:pt>
                <c:pt idx="1033">
                  <c:v>41311</c:v>
                </c:pt>
                <c:pt idx="1034">
                  <c:v>41312</c:v>
                </c:pt>
                <c:pt idx="1035">
                  <c:v>41313</c:v>
                </c:pt>
                <c:pt idx="1036">
                  <c:v>41318</c:v>
                </c:pt>
                <c:pt idx="1037">
                  <c:v>41319</c:v>
                </c:pt>
                <c:pt idx="1038">
                  <c:v>41320</c:v>
                </c:pt>
                <c:pt idx="1039">
                  <c:v>41323</c:v>
                </c:pt>
                <c:pt idx="1040">
                  <c:v>41324</c:v>
                </c:pt>
                <c:pt idx="1041">
                  <c:v>41325</c:v>
                </c:pt>
                <c:pt idx="1042">
                  <c:v>41326</c:v>
                </c:pt>
                <c:pt idx="1043">
                  <c:v>41327</c:v>
                </c:pt>
                <c:pt idx="1044">
                  <c:v>41330</c:v>
                </c:pt>
                <c:pt idx="1045">
                  <c:v>41331</c:v>
                </c:pt>
                <c:pt idx="1046">
                  <c:v>41332</c:v>
                </c:pt>
                <c:pt idx="1047">
                  <c:v>41333</c:v>
                </c:pt>
                <c:pt idx="1048">
                  <c:v>41334</c:v>
                </c:pt>
                <c:pt idx="1049">
                  <c:v>41337</c:v>
                </c:pt>
                <c:pt idx="1050">
                  <c:v>41338</c:v>
                </c:pt>
                <c:pt idx="1051">
                  <c:v>41339</c:v>
                </c:pt>
                <c:pt idx="1052">
                  <c:v>41340</c:v>
                </c:pt>
                <c:pt idx="1053">
                  <c:v>41341</c:v>
                </c:pt>
                <c:pt idx="1054">
                  <c:v>41344</c:v>
                </c:pt>
                <c:pt idx="1055">
                  <c:v>41345</c:v>
                </c:pt>
                <c:pt idx="1056">
                  <c:v>41346</c:v>
                </c:pt>
                <c:pt idx="1057">
                  <c:v>41347</c:v>
                </c:pt>
                <c:pt idx="1058">
                  <c:v>41348</c:v>
                </c:pt>
                <c:pt idx="1059">
                  <c:v>41351</c:v>
                </c:pt>
                <c:pt idx="1060">
                  <c:v>41352</c:v>
                </c:pt>
                <c:pt idx="1061">
                  <c:v>41353</c:v>
                </c:pt>
                <c:pt idx="1062">
                  <c:v>41354</c:v>
                </c:pt>
                <c:pt idx="1063">
                  <c:v>41355</c:v>
                </c:pt>
                <c:pt idx="1064">
                  <c:v>41358</c:v>
                </c:pt>
                <c:pt idx="1065">
                  <c:v>41359</c:v>
                </c:pt>
                <c:pt idx="1066">
                  <c:v>41360</c:v>
                </c:pt>
                <c:pt idx="1067">
                  <c:v>41361</c:v>
                </c:pt>
                <c:pt idx="1068">
                  <c:v>41365</c:v>
                </c:pt>
                <c:pt idx="1069">
                  <c:v>41366</c:v>
                </c:pt>
                <c:pt idx="1070">
                  <c:v>41367</c:v>
                </c:pt>
                <c:pt idx="1071">
                  <c:v>41368</c:v>
                </c:pt>
                <c:pt idx="1072">
                  <c:v>41369</c:v>
                </c:pt>
                <c:pt idx="1073">
                  <c:v>41372</c:v>
                </c:pt>
                <c:pt idx="1074">
                  <c:v>41373</c:v>
                </c:pt>
                <c:pt idx="1075">
                  <c:v>41374</c:v>
                </c:pt>
                <c:pt idx="1076">
                  <c:v>41375</c:v>
                </c:pt>
                <c:pt idx="1077">
                  <c:v>41376</c:v>
                </c:pt>
                <c:pt idx="1078">
                  <c:v>41379</c:v>
                </c:pt>
                <c:pt idx="1079">
                  <c:v>41380</c:v>
                </c:pt>
                <c:pt idx="1080">
                  <c:v>41381</c:v>
                </c:pt>
                <c:pt idx="1081">
                  <c:v>41382</c:v>
                </c:pt>
                <c:pt idx="1082">
                  <c:v>41383</c:v>
                </c:pt>
                <c:pt idx="1083">
                  <c:v>41386</c:v>
                </c:pt>
                <c:pt idx="1084">
                  <c:v>41387</c:v>
                </c:pt>
                <c:pt idx="1085">
                  <c:v>41388</c:v>
                </c:pt>
                <c:pt idx="1086">
                  <c:v>41389</c:v>
                </c:pt>
                <c:pt idx="1087">
                  <c:v>41390</c:v>
                </c:pt>
                <c:pt idx="1088">
                  <c:v>41393</c:v>
                </c:pt>
                <c:pt idx="1089">
                  <c:v>41394</c:v>
                </c:pt>
                <c:pt idx="1090">
                  <c:v>41396</c:v>
                </c:pt>
                <c:pt idx="1091">
                  <c:v>41397</c:v>
                </c:pt>
                <c:pt idx="1092">
                  <c:v>41400</c:v>
                </c:pt>
                <c:pt idx="1093">
                  <c:v>41401</c:v>
                </c:pt>
                <c:pt idx="1094">
                  <c:v>41402</c:v>
                </c:pt>
                <c:pt idx="1095">
                  <c:v>41403</c:v>
                </c:pt>
                <c:pt idx="1096">
                  <c:v>41404</c:v>
                </c:pt>
                <c:pt idx="1097">
                  <c:v>41407</c:v>
                </c:pt>
                <c:pt idx="1098">
                  <c:v>41408</c:v>
                </c:pt>
                <c:pt idx="1099">
                  <c:v>41409</c:v>
                </c:pt>
                <c:pt idx="1100">
                  <c:v>41410</c:v>
                </c:pt>
                <c:pt idx="1101">
                  <c:v>41411</c:v>
                </c:pt>
                <c:pt idx="1102">
                  <c:v>41414</c:v>
                </c:pt>
                <c:pt idx="1103">
                  <c:v>41415</c:v>
                </c:pt>
                <c:pt idx="1104">
                  <c:v>41416</c:v>
                </c:pt>
                <c:pt idx="1105">
                  <c:v>41417</c:v>
                </c:pt>
                <c:pt idx="1106">
                  <c:v>41418</c:v>
                </c:pt>
                <c:pt idx="1107">
                  <c:v>41421</c:v>
                </c:pt>
                <c:pt idx="1108">
                  <c:v>41422</c:v>
                </c:pt>
                <c:pt idx="1109">
                  <c:v>41423</c:v>
                </c:pt>
                <c:pt idx="1110">
                  <c:v>41425</c:v>
                </c:pt>
                <c:pt idx="1111">
                  <c:v>41428</c:v>
                </c:pt>
                <c:pt idx="1112">
                  <c:v>41429</c:v>
                </c:pt>
                <c:pt idx="1113">
                  <c:v>41430</c:v>
                </c:pt>
                <c:pt idx="1114">
                  <c:v>41431</c:v>
                </c:pt>
                <c:pt idx="1115">
                  <c:v>41432</c:v>
                </c:pt>
                <c:pt idx="1116">
                  <c:v>41435</c:v>
                </c:pt>
                <c:pt idx="1117">
                  <c:v>41436</c:v>
                </c:pt>
                <c:pt idx="1118">
                  <c:v>41437</c:v>
                </c:pt>
                <c:pt idx="1119">
                  <c:v>41438</c:v>
                </c:pt>
                <c:pt idx="1120">
                  <c:v>41439</c:v>
                </c:pt>
                <c:pt idx="1121">
                  <c:v>41442</c:v>
                </c:pt>
                <c:pt idx="1122">
                  <c:v>41443</c:v>
                </c:pt>
                <c:pt idx="1123">
                  <c:v>41444</c:v>
                </c:pt>
                <c:pt idx="1124">
                  <c:v>41445</c:v>
                </c:pt>
                <c:pt idx="1125">
                  <c:v>41446</c:v>
                </c:pt>
                <c:pt idx="1126">
                  <c:v>41449</c:v>
                </c:pt>
                <c:pt idx="1127">
                  <c:v>41450</c:v>
                </c:pt>
                <c:pt idx="1128">
                  <c:v>41451</c:v>
                </c:pt>
                <c:pt idx="1129">
                  <c:v>41452</c:v>
                </c:pt>
                <c:pt idx="1130">
                  <c:v>41453</c:v>
                </c:pt>
                <c:pt idx="1131">
                  <c:v>41456</c:v>
                </c:pt>
                <c:pt idx="1132">
                  <c:v>41457</c:v>
                </c:pt>
                <c:pt idx="1133">
                  <c:v>41458</c:v>
                </c:pt>
                <c:pt idx="1134">
                  <c:v>41459</c:v>
                </c:pt>
                <c:pt idx="1135">
                  <c:v>41460</c:v>
                </c:pt>
                <c:pt idx="1136">
                  <c:v>41463</c:v>
                </c:pt>
                <c:pt idx="1137">
                  <c:v>41464</c:v>
                </c:pt>
                <c:pt idx="1138">
                  <c:v>41465</c:v>
                </c:pt>
                <c:pt idx="1139">
                  <c:v>41466</c:v>
                </c:pt>
                <c:pt idx="1140">
                  <c:v>41467</c:v>
                </c:pt>
                <c:pt idx="1141">
                  <c:v>41470</c:v>
                </c:pt>
                <c:pt idx="1142">
                  <c:v>41471</c:v>
                </c:pt>
                <c:pt idx="1143">
                  <c:v>41472</c:v>
                </c:pt>
                <c:pt idx="1144">
                  <c:v>41473</c:v>
                </c:pt>
                <c:pt idx="1145">
                  <c:v>41474</c:v>
                </c:pt>
                <c:pt idx="1146">
                  <c:v>41477</c:v>
                </c:pt>
                <c:pt idx="1147">
                  <c:v>41478</c:v>
                </c:pt>
                <c:pt idx="1148">
                  <c:v>41479</c:v>
                </c:pt>
                <c:pt idx="1149">
                  <c:v>41480</c:v>
                </c:pt>
                <c:pt idx="1150">
                  <c:v>41481</c:v>
                </c:pt>
                <c:pt idx="1151">
                  <c:v>41484</c:v>
                </c:pt>
                <c:pt idx="1152">
                  <c:v>41485</c:v>
                </c:pt>
                <c:pt idx="1153">
                  <c:v>41486</c:v>
                </c:pt>
                <c:pt idx="1154">
                  <c:v>41487</c:v>
                </c:pt>
                <c:pt idx="1155">
                  <c:v>41488</c:v>
                </c:pt>
                <c:pt idx="1156">
                  <c:v>41491</c:v>
                </c:pt>
                <c:pt idx="1157">
                  <c:v>41492</c:v>
                </c:pt>
                <c:pt idx="1158">
                  <c:v>41493</c:v>
                </c:pt>
                <c:pt idx="1159">
                  <c:v>41494</c:v>
                </c:pt>
                <c:pt idx="1160">
                  <c:v>41495</c:v>
                </c:pt>
                <c:pt idx="1161">
                  <c:v>41498</c:v>
                </c:pt>
                <c:pt idx="1162">
                  <c:v>41499</c:v>
                </c:pt>
                <c:pt idx="1163">
                  <c:v>41500</c:v>
                </c:pt>
                <c:pt idx="1164">
                  <c:v>41501</c:v>
                </c:pt>
                <c:pt idx="1165">
                  <c:v>41502</c:v>
                </c:pt>
                <c:pt idx="1166">
                  <c:v>41505</c:v>
                </c:pt>
                <c:pt idx="1167">
                  <c:v>41506</c:v>
                </c:pt>
                <c:pt idx="1168">
                  <c:v>41507</c:v>
                </c:pt>
                <c:pt idx="1169">
                  <c:v>41508</c:v>
                </c:pt>
                <c:pt idx="1170">
                  <c:v>41509</c:v>
                </c:pt>
                <c:pt idx="1171">
                  <c:v>41512</c:v>
                </c:pt>
                <c:pt idx="1172">
                  <c:v>41513</c:v>
                </c:pt>
                <c:pt idx="1173">
                  <c:v>41514</c:v>
                </c:pt>
                <c:pt idx="1174">
                  <c:v>41515</c:v>
                </c:pt>
                <c:pt idx="1175">
                  <c:v>41516</c:v>
                </c:pt>
                <c:pt idx="1176">
                  <c:v>41519</c:v>
                </c:pt>
                <c:pt idx="1177">
                  <c:v>41520</c:v>
                </c:pt>
                <c:pt idx="1178">
                  <c:v>41521</c:v>
                </c:pt>
                <c:pt idx="1179">
                  <c:v>41522</c:v>
                </c:pt>
                <c:pt idx="1180">
                  <c:v>41523</c:v>
                </c:pt>
                <c:pt idx="1181">
                  <c:v>41526</c:v>
                </c:pt>
                <c:pt idx="1182">
                  <c:v>41527</c:v>
                </c:pt>
                <c:pt idx="1183">
                  <c:v>41528</c:v>
                </c:pt>
                <c:pt idx="1184">
                  <c:v>41529</c:v>
                </c:pt>
                <c:pt idx="1185">
                  <c:v>41530</c:v>
                </c:pt>
                <c:pt idx="1186">
                  <c:v>41533</c:v>
                </c:pt>
                <c:pt idx="1187">
                  <c:v>41534</c:v>
                </c:pt>
                <c:pt idx="1188">
                  <c:v>41535</c:v>
                </c:pt>
                <c:pt idx="1189">
                  <c:v>41536</c:v>
                </c:pt>
                <c:pt idx="1190">
                  <c:v>41537</c:v>
                </c:pt>
                <c:pt idx="1191">
                  <c:v>41540</c:v>
                </c:pt>
                <c:pt idx="1192">
                  <c:v>41541</c:v>
                </c:pt>
                <c:pt idx="1193">
                  <c:v>41542</c:v>
                </c:pt>
                <c:pt idx="1194">
                  <c:v>41543</c:v>
                </c:pt>
                <c:pt idx="1195">
                  <c:v>41544</c:v>
                </c:pt>
                <c:pt idx="1196">
                  <c:v>41547</c:v>
                </c:pt>
                <c:pt idx="1197">
                  <c:v>41548</c:v>
                </c:pt>
                <c:pt idx="1198">
                  <c:v>41549</c:v>
                </c:pt>
                <c:pt idx="1199">
                  <c:v>41550</c:v>
                </c:pt>
                <c:pt idx="1200">
                  <c:v>41551</c:v>
                </c:pt>
                <c:pt idx="1201">
                  <c:v>41554</c:v>
                </c:pt>
                <c:pt idx="1202">
                  <c:v>41555</c:v>
                </c:pt>
                <c:pt idx="1203">
                  <c:v>41556</c:v>
                </c:pt>
                <c:pt idx="1204">
                  <c:v>41557</c:v>
                </c:pt>
                <c:pt idx="1205">
                  <c:v>41558</c:v>
                </c:pt>
                <c:pt idx="1206">
                  <c:v>41561</c:v>
                </c:pt>
                <c:pt idx="1207">
                  <c:v>41562</c:v>
                </c:pt>
                <c:pt idx="1208">
                  <c:v>41563</c:v>
                </c:pt>
                <c:pt idx="1209">
                  <c:v>41564</c:v>
                </c:pt>
                <c:pt idx="1210">
                  <c:v>41565</c:v>
                </c:pt>
                <c:pt idx="1211">
                  <c:v>41568</c:v>
                </c:pt>
                <c:pt idx="1212">
                  <c:v>41569</c:v>
                </c:pt>
                <c:pt idx="1213">
                  <c:v>41570</c:v>
                </c:pt>
                <c:pt idx="1214">
                  <c:v>41571</c:v>
                </c:pt>
                <c:pt idx="1215">
                  <c:v>41572</c:v>
                </c:pt>
                <c:pt idx="1216">
                  <c:v>41575</c:v>
                </c:pt>
                <c:pt idx="1217">
                  <c:v>41576</c:v>
                </c:pt>
                <c:pt idx="1218">
                  <c:v>41577</c:v>
                </c:pt>
                <c:pt idx="1219">
                  <c:v>41578</c:v>
                </c:pt>
                <c:pt idx="1220">
                  <c:v>41579</c:v>
                </c:pt>
                <c:pt idx="1221">
                  <c:v>41582</c:v>
                </c:pt>
                <c:pt idx="1222">
                  <c:v>41583</c:v>
                </c:pt>
                <c:pt idx="1223">
                  <c:v>41584</c:v>
                </c:pt>
                <c:pt idx="1224">
                  <c:v>41585</c:v>
                </c:pt>
                <c:pt idx="1225">
                  <c:v>41586</c:v>
                </c:pt>
                <c:pt idx="1226">
                  <c:v>41589</c:v>
                </c:pt>
                <c:pt idx="1227">
                  <c:v>41590</c:v>
                </c:pt>
                <c:pt idx="1228">
                  <c:v>41591</c:v>
                </c:pt>
                <c:pt idx="1229">
                  <c:v>41592</c:v>
                </c:pt>
                <c:pt idx="1230">
                  <c:v>41596</c:v>
                </c:pt>
                <c:pt idx="1231">
                  <c:v>41598</c:v>
                </c:pt>
                <c:pt idx="1232">
                  <c:v>41599</c:v>
                </c:pt>
                <c:pt idx="1233">
                  <c:v>41600</c:v>
                </c:pt>
                <c:pt idx="1234">
                  <c:v>41603</c:v>
                </c:pt>
                <c:pt idx="1235">
                  <c:v>41604</c:v>
                </c:pt>
                <c:pt idx="1236">
                  <c:v>41605</c:v>
                </c:pt>
                <c:pt idx="1237">
                  <c:v>41606</c:v>
                </c:pt>
                <c:pt idx="1238">
                  <c:v>41607</c:v>
                </c:pt>
                <c:pt idx="1239">
                  <c:v>41610</c:v>
                </c:pt>
                <c:pt idx="1240">
                  <c:v>41611</c:v>
                </c:pt>
                <c:pt idx="1241">
                  <c:v>41612</c:v>
                </c:pt>
                <c:pt idx="1242">
                  <c:v>41613</c:v>
                </c:pt>
                <c:pt idx="1243">
                  <c:v>41614</c:v>
                </c:pt>
                <c:pt idx="1244">
                  <c:v>41617</c:v>
                </c:pt>
                <c:pt idx="1245">
                  <c:v>41618</c:v>
                </c:pt>
                <c:pt idx="1246">
                  <c:v>41619</c:v>
                </c:pt>
                <c:pt idx="1247">
                  <c:v>41620</c:v>
                </c:pt>
                <c:pt idx="1248">
                  <c:v>41621</c:v>
                </c:pt>
                <c:pt idx="1249">
                  <c:v>41624</c:v>
                </c:pt>
                <c:pt idx="1250">
                  <c:v>41626</c:v>
                </c:pt>
                <c:pt idx="1251">
                  <c:v>41627</c:v>
                </c:pt>
                <c:pt idx="1252">
                  <c:v>41628</c:v>
                </c:pt>
                <c:pt idx="1253">
                  <c:v>41631</c:v>
                </c:pt>
                <c:pt idx="1254">
                  <c:v>41632</c:v>
                </c:pt>
                <c:pt idx="1255">
                  <c:v>41634</c:v>
                </c:pt>
                <c:pt idx="1256">
                  <c:v>41635</c:v>
                </c:pt>
                <c:pt idx="1257">
                  <c:v>41638</c:v>
                </c:pt>
                <c:pt idx="1258">
                  <c:v>41639</c:v>
                </c:pt>
                <c:pt idx="1259">
                  <c:v>41641</c:v>
                </c:pt>
                <c:pt idx="1260">
                  <c:v>41642</c:v>
                </c:pt>
                <c:pt idx="1261">
                  <c:v>41645</c:v>
                </c:pt>
                <c:pt idx="1262">
                  <c:v>41646</c:v>
                </c:pt>
                <c:pt idx="1263">
                  <c:v>41647</c:v>
                </c:pt>
                <c:pt idx="1264">
                  <c:v>41648</c:v>
                </c:pt>
                <c:pt idx="1265">
                  <c:v>41649</c:v>
                </c:pt>
                <c:pt idx="1266">
                  <c:v>41652</c:v>
                </c:pt>
                <c:pt idx="1267">
                  <c:v>41653</c:v>
                </c:pt>
                <c:pt idx="1268">
                  <c:v>41654</c:v>
                </c:pt>
                <c:pt idx="1269">
                  <c:v>41655</c:v>
                </c:pt>
                <c:pt idx="1270">
                  <c:v>41656</c:v>
                </c:pt>
                <c:pt idx="1271">
                  <c:v>41659</c:v>
                </c:pt>
                <c:pt idx="1272">
                  <c:v>41660</c:v>
                </c:pt>
                <c:pt idx="1273">
                  <c:v>41661</c:v>
                </c:pt>
                <c:pt idx="1274">
                  <c:v>41662</c:v>
                </c:pt>
                <c:pt idx="1275">
                  <c:v>41663</c:v>
                </c:pt>
                <c:pt idx="1276">
                  <c:v>41666</c:v>
                </c:pt>
                <c:pt idx="1277">
                  <c:v>41667</c:v>
                </c:pt>
                <c:pt idx="1278">
                  <c:v>41668</c:v>
                </c:pt>
                <c:pt idx="1279">
                  <c:v>41669</c:v>
                </c:pt>
                <c:pt idx="1280">
                  <c:v>41670</c:v>
                </c:pt>
                <c:pt idx="1281">
                  <c:v>41673</c:v>
                </c:pt>
                <c:pt idx="1282">
                  <c:v>41674</c:v>
                </c:pt>
                <c:pt idx="1283">
                  <c:v>41675</c:v>
                </c:pt>
                <c:pt idx="1284">
                  <c:v>41676</c:v>
                </c:pt>
                <c:pt idx="1285">
                  <c:v>41677</c:v>
                </c:pt>
                <c:pt idx="1286">
                  <c:v>41680</c:v>
                </c:pt>
                <c:pt idx="1287">
                  <c:v>41681</c:v>
                </c:pt>
                <c:pt idx="1288">
                  <c:v>41682</c:v>
                </c:pt>
                <c:pt idx="1289">
                  <c:v>41683</c:v>
                </c:pt>
                <c:pt idx="1290">
                  <c:v>41684</c:v>
                </c:pt>
                <c:pt idx="1291">
                  <c:v>41687</c:v>
                </c:pt>
                <c:pt idx="1292">
                  <c:v>41688</c:v>
                </c:pt>
                <c:pt idx="1293">
                  <c:v>41689</c:v>
                </c:pt>
                <c:pt idx="1294">
                  <c:v>41690</c:v>
                </c:pt>
                <c:pt idx="1295">
                  <c:v>41691</c:v>
                </c:pt>
                <c:pt idx="1296">
                  <c:v>41694</c:v>
                </c:pt>
                <c:pt idx="1297">
                  <c:v>41695</c:v>
                </c:pt>
                <c:pt idx="1298">
                  <c:v>41696</c:v>
                </c:pt>
                <c:pt idx="1299">
                  <c:v>41697</c:v>
                </c:pt>
                <c:pt idx="1300">
                  <c:v>41698</c:v>
                </c:pt>
                <c:pt idx="1301">
                  <c:v>41703</c:v>
                </c:pt>
                <c:pt idx="1302">
                  <c:v>41704</c:v>
                </c:pt>
                <c:pt idx="1303">
                  <c:v>41705</c:v>
                </c:pt>
                <c:pt idx="1304">
                  <c:v>41708</c:v>
                </c:pt>
                <c:pt idx="1305">
                  <c:v>41709</c:v>
                </c:pt>
                <c:pt idx="1306">
                  <c:v>41710</c:v>
                </c:pt>
                <c:pt idx="1307">
                  <c:v>41711</c:v>
                </c:pt>
                <c:pt idx="1308">
                  <c:v>41712</c:v>
                </c:pt>
                <c:pt idx="1309">
                  <c:v>41715</c:v>
                </c:pt>
                <c:pt idx="1310">
                  <c:v>41716</c:v>
                </c:pt>
                <c:pt idx="1311">
                  <c:v>41717</c:v>
                </c:pt>
                <c:pt idx="1312">
                  <c:v>41718</c:v>
                </c:pt>
                <c:pt idx="1313">
                  <c:v>41719</c:v>
                </c:pt>
                <c:pt idx="1314">
                  <c:v>41722</c:v>
                </c:pt>
                <c:pt idx="1315">
                  <c:v>41723</c:v>
                </c:pt>
                <c:pt idx="1316">
                  <c:v>41724</c:v>
                </c:pt>
                <c:pt idx="1317">
                  <c:v>41725</c:v>
                </c:pt>
                <c:pt idx="1318">
                  <c:v>41726</c:v>
                </c:pt>
                <c:pt idx="1319">
                  <c:v>41729</c:v>
                </c:pt>
                <c:pt idx="1320">
                  <c:v>41730</c:v>
                </c:pt>
                <c:pt idx="1321">
                  <c:v>41731</c:v>
                </c:pt>
                <c:pt idx="1322">
                  <c:v>41732</c:v>
                </c:pt>
                <c:pt idx="1323">
                  <c:v>41733</c:v>
                </c:pt>
                <c:pt idx="1324">
                  <c:v>41736</c:v>
                </c:pt>
                <c:pt idx="1325">
                  <c:v>41737</c:v>
                </c:pt>
                <c:pt idx="1326">
                  <c:v>41738</c:v>
                </c:pt>
                <c:pt idx="1327">
                  <c:v>41739</c:v>
                </c:pt>
                <c:pt idx="1328">
                  <c:v>41740</c:v>
                </c:pt>
                <c:pt idx="1329">
                  <c:v>41743</c:v>
                </c:pt>
                <c:pt idx="1330">
                  <c:v>41744</c:v>
                </c:pt>
                <c:pt idx="1331">
                  <c:v>41745</c:v>
                </c:pt>
                <c:pt idx="1332">
                  <c:v>41746</c:v>
                </c:pt>
                <c:pt idx="1333">
                  <c:v>41751</c:v>
                </c:pt>
                <c:pt idx="1334">
                  <c:v>41752</c:v>
                </c:pt>
                <c:pt idx="1335">
                  <c:v>41753</c:v>
                </c:pt>
                <c:pt idx="1336">
                  <c:v>41754</c:v>
                </c:pt>
                <c:pt idx="1337">
                  <c:v>41757</c:v>
                </c:pt>
                <c:pt idx="1338">
                  <c:v>41758</c:v>
                </c:pt>
                <c:pt idx="1339">
                  <c:v>41759</c:v>
                </c:pt>
                <c:pt idx="1340">
                  <c:v>41761</c:v>
                </c:pt>
                <c:pt idx="1341">
                  <c:v>41764</c:v>
                </c:pt>
                <c:pt idx="1342">
                  <c:v>41765</c:v>
                </c:pt>
                <c:pt idx="1343">
                  <c:v>41766</c:v>
                </c:pt>
                <c:pt idx="1344">
                  <c:v>41767</c:v>
                </c:pt>
                <c:pt idx="1345">
                  <c:v>41768</c:v>
                </c:pt>
                <c:pt idx="1346">
                  <c:v>41771</c:v>
                </c:pt>
                <c:pt idx="1347">
                  <c:v>41772</c:v>
                </c:pt>
                <c:pt idx="1348">
                  <c:v>41773</c:v>
                </c:pt>
                <c:pt idx="1349">
                  <c:v>41774</c:v>
                </c:pt>
                <c:pt idx="1350">
                  <c:v>41775</c:v>
                </c:pt>
                <c:pt idx="1351">
                  <c:v>41778</c:v>
                </c:pt>
                <c:pt idx="1352">
                  <c:v>41779</c:v>
                </c:pt>
                <c:pt idx="1353">
                  <c:v>41780</c:v>
                </c:pt>
                <c:pt idx="1354">
                  <c:v>41781</c:v>
                </c:pt>
                <c:pt idx="1355">
                  <c:v>41782</c:v>
                </c:pt>
                <c:pt idx="1356">
                  <c:v>41785</c:v>
                </c:pt>
                <c:pt idx="1357">
                  <c:v>41786</c:v>
                </c:pt>
                <c:pt idx="1358">
                  <c:v>41787</c:v>
                </c:pt>
                <c:pt idx="1359">
                  <c:v>41788</c:v>
                </c:pt>
                <c:pt idx="1360">
                  <c:v>41789</c:v>
                </c:pt>
                <c:pt idx="1361">
                  <c:v>41792</c:v>
                </c:pt>
                <c:pt idx="1362">
                  <c:v>41793</c:v>
                </c:pt>
                <c:pt idx="1363">
                  <c:v>41794</c:v>
                </c:pt>
                <c:pt idx="1364">
                  <c:v>41795</c:v>
                </c:pt>
                <c:pt idx="1365">
                  <c:v>41796</c:v>
                </c:pt>
                <c:pt idx="1366">
                  <c:v>41799</c:v>
                </c:pt>
                <c:pt idx="1367">
                  <c:v>41800</c:v>
                </c:pt>
                <c:pt idx="1368">
                  <c:v>41801</c:v>
                </c:pt>
                <c:pt idx="1369">
                  <c:v>41802</c:v>
                </c:pt>
                <c:pt idx="1370">
                  <c:v>41803</c:v>
                </c:pt>
                <c:pt idx="1371">
                  <c:v>41806</c:v>
                </c:pt>
                <c:pt idx="1372">
                  <c:v>41807</c:v>
                </c:pt>
                <c:pt idx="1373">
                  <c:v>41808</c:v>
                </c:pt>
                <c:pt idx="1374">
                  <c:v>41810</c:v>
                </c:pt>
                <c:pt idx="1375">
                  <c:v>41813</c:v>
                </c:pt>
                <c:pt idx="1376">
                  <c:v>41814</c:v>
                </c:pt>
                <c:pt idx="1377">
                  <c:v>41815</c:v>
                </c:pt>
                <c:pt idx="1378">
                  <c:v>41816</c:v>
                </c:pt>
                <c:pt idx="1379">
                  <c:v>41817</c:v>
                </c:pt>
                <c:pt idx="1380">
                  <c:v>41820</c:v>
                </c:pt>
                <c:pt idx="1381">
                  <c:v>41821</c:v>
                </c:pt>
                <c:pt idx="1382">
                  <c:v>41822</c:v>
                </c:pt>
                <c:pt idx="1383">
                  <c:v>41823</c:v>
                </c:pt>
                <c:pt idx="1384">
                  <c:v>41824</c:v>
                </c:pt>
                <c:pt idx="1385">
                  <c:v>41827</c:v>
                </c:pt>
                <c:pt idx="1386">
                  <c:v>41828</c:v>
                </c:pt>
                <c:pt idx="1387">
                  <c:v>41829</c:v>
                </c:pt>
                <c:pt idx="1388">
                  <c:v>41830</c:v>
                </c:pt>
                <c:pt idx="1389">
                  <c:v>41831</c:v>
                </c:pt>
                <c:pt idx="1390">
                  <c:v>41834</c:v>
                </c:pt>
                <c:pt idx="1391">
                  <c:v>41835</c:v>
                </c:pt>
                <c:pt idx="1392">
                  <c:v>41836</c:v>
                </c:pt>
                <c:pt idx="1393">
                  <c:v>41837</c:v>
                </c:pt>
                <c:pt idx="1394">
                  <c:v>41838</c:v>
                </c:pt>
                <c:pt idx="1395">
                  <c:v>41841</c:v>
                </c:pt>
                <c:pt idx="1396">
                  <c:v>41842</c:v>
                </c:pt>
                <c:pt idx="1397">
                  <c:v>41843</c:v>
                </c:pt>
                <c:pt idx="1398">
                  <c:v>41844</c:v>
                </c:pt>
                <c:pt idx="1399">
                  <c:v>41845</c:v>
                </c:pt>
                <c:pt idx="1400">
                  <c:v>41848</c:v>
                </c:pt>
                <c:pt idx="1401">
                  <c:v>41849</c:v>
                </c:pt>
                <c:pt idx="1402">
                  <c:v>41850</c:v>
                </c:pt>
                <c:pt idx="1403">
                  <c:v>41851</c:v>
                </c:pt>
                <c:pt idx="1404">
                  <c:v>41852</c:v>
                </c:pt>
                <c:pt idx="1405">
                  <c:v>41855</c:v>
                </c:pt>
                <c:pt idx="1406">
                  <c:v>41856</c:v>
                </c:pt>
                <c:pt idx="1407">
                  <c:v>41857</c:v>
                </c:pt>
                <c:pt idx="1408">
                  <c:v>41858</c:v>
                </c:pt>
                <c:pt idx="1409">
                  <c:v>41859</c:v>
                </c:pt>
                <c:pt idx="1410">
                  <c:v>41862</c:v>
                </c:pt>
                <c:pt idx="1411">
                  <c:v>41863</c:v>
                </c:pt>
                <c:pt idx="1412">
                  <c:v>41864</c:v>
                </c:pt>
                <c:pt idx="1413">
                  <c:v>41865</c:v>
                </c:pt>
                <c:pt idx="1414">
                  <c:v>41866</c:v>
                </c:pt>
                <c:pt idx="1415">
                  <c:v>41869</c:v>
                </c:pt>
                <c:pt idx="1416">
                  <c:v>41870</c:v>
                </c:pt>
                <c:pt idx="1417">
                  <c:v>41871</c:v>
                </c:pt>
                <c:pt idx="1418">
                  <c:v>41872</c:v>
                </c:pt>
                <c:pt idx="1419">
                  <c:v>41873</c:v>
                </c:pt>
                <c:pt idx="1420">
                  <c:v>41876</c:v>
                </c:pt>
                <c:pt idx="1421">
                  <c:v>41877</c:v>
                </c:pt>
                <c:pt idx="1422">
                  <c:v>41878</c:v>
                </c:pt>
                <c:pt idx="1423">
                  <c:v>41879</c:v>
                </c:pt>
                <c:pt idx="1424">
                  <c:v>41880</c:v>
                </c:pt>
                <c:pt idx="1425">
                  <c:v>41883</c:v>
                </c:pt>
                <c:pt idx="1426">
                  <c:v>41884</c:v>
                </c:pt>
                <c:pt idx="1427">
                  <c:v>41885</c:v>
                </c:pt>
                <c:pt idx="1428">
                  <c:v>41886</c:v>
                </c:pt>
                <c:pt idx="1429">
                  <c:v>41887</c:v>
                </c:pt>
                <c:pt idx="1430">
                  <c:v>41890</c:v>
                </c:pt>
                <c:pt idx="1431">
                  <c:v>41891</c:v>
                </c:pt>
                <c:pt idx="1432">
                  <c:v>41892</c:v>
                </c:pt>
                <c:pt idx="1433">
                  <c:v>41893</c:v>
                </c:pt>
                <c:pt idx="1434">
                  <c:v>41894</c:v>
                </c:pt>
                <c:pt idx="1435">
                  <c:v>41897</c:v>
                </c:pt>
                <c:pt idx="1436">
                  <c:v>41898</c:v>
                </c:pt>
                <c:pt idx="1437">
                  <c:v>41899</c:v>
                </c:pt>
                <c:pt idx="1438">
                  <c:v>41900</c:v>
                </c:pt>
                <c:pt idx="1439">
                  <c:v>41901</c:v>
                </c:pt>
                <c:pt idx="1440">
                  <c:v>41904</c:v>
                </c:pt>
                <c:pt idx="1441">
                  <c:v>41905</c:v>
                </c:pt>
                <c:pt idx="1442">
                  <c:v>41906</c:v>
                </c:pt>
                <c:pt idx="1443">
                  <c:v>41907</c:v>
                </c:pt>
                <c:pt idx="1444">
                  <c:v>41908</c:v>
                </c:pt>
                <c:pt idx="1445">
                  <c:v>41911</c:v>
                </c:pt>
                <c:pt idx="1446">
                  <c:v>41912</c:v>
                </c:pt>
                <c:pt idx="1447">
                  <c:v>41913</c:v>
                </c:pt>
                <c:pt idx="1448">
                  <c:v>41914</c:v>
                </c:pt>
                <c:pt idx="1449">
                  <c:v>41915</c:v>
                </c:pt>
                <c:pt idx="1450">
                  <c:v>41918</c:v>
                </c:pt>
                <c:pt idx="1451">
                  <c:v>41919</c:v>
                </c:pt>
                <c:pt idx="1452">
                  <c:v>41920</c:v>
                </c:pt>
                <c:pt idx="1453">
                  <c:v>41921</c:v>
                </c:pt>
                <c:pt idx="1454">
                  <c:v>41922</c:v>
                </c:pt>
                <c:pt idx="1455">
                  <c:v>41925</c:v>
                </c:pt>
                <c:pt idx="1456">
                  <c:v>41926</c:v>
                </c:pt>
                <c:pt idx="1457">
                  <c:v>41927</c:v>
                </c:pt>
                <c:pt idx="1458">
                  <c:v>41928</c:v>
                </c:pt>
                <c:pt idx="1459">
                  <c:v>41929</c:v>
                </c:pt>
                <c:pt idx="1460">
                  <c:v>41932</c:v>
                </c:pt>
                <c:pt idx="1461">
                  <c:v>41933</c:v>
                </c:pt>
                <c:pt idx="1462">
                  <c:v>41934</c:v>
                </c:pt>
                <c:pt idx="1463">
                  <c:v>41935</c:v>
                </c:pt>
                <c:pt idx="1464">
                  <c:v>41936</c:v>
                </c:pt>
                <c:pt idx="1465">
                  <c:v>41939</c:v>
                </c:pt>
                <c:pt idx="1466">
                  <c:v>41940</c:v>
                </c:pt>
                <c:pt idx="1467">
                  <c:v>41941</c:v>
                </c:pt>
                <c:pt idx="1468">
                  <c:v>41942</c:v>
                </c:pt>
                <c:pt idx="1469">
                  <c:v>41943</c:v>
                </c:pt>
                <c:pt idx="1470">
                  <c:v>41946</c:v>
                </c:pt>
                <c:pt idx="1471">
                  <c:v>41947</c:v>
                </c:pt>
                <c:pt idx="1472">
                  <c:v>41948</c:v>
                </c:pt>
                <c:pt idx="1473">
                  <c:v>41949</c:v>
                </c:pt>
                <c:pt idx="1474">
                  <c:v>41950</c:v>
                </c:pt>
                <c:pt idx="1475">
                  <c:v>41953</c:v>
                </c:pt>
                <c:pt idx="1476">
                  <c:v>41954</c:v>
                </c:pt>
                <c:pt idx="1477">
                  <c:v>41955</c:v>
                </c:pt>
                <c:pt idx="1478">
                  <c:v>41956</c:v>
                </c:pt>
                <c:pt idx="1479">
                  <c:v>41957</c:v>
                </c:pt>
                <c:pt idx="1480">
                  <c:v>41960</c:v>
                </c:pt>
                <c:pt idx="1481">
                  <c:v>41961</c:v>
                </c:pt>
                <c:pt idx="1482">
                  <c:v>41962</c:v>
                </c:pt>
                <c:pt idx="1483">
                  <c:v>41963</c:v>
                </c:pt>
                <c:pt idx="1484">
                  <c:v>41964</c:v>
                </c:pt>
                <c:pt idx="1485">
                  <c:v>41967</c:v>
                </c:pt>
                <c:pt idx="1486">
                  <c:v>41968</c:v>
                </c:pt>
                <c:pt idx="1487">
                  <c:v>41969</c:v>
                </c:pt>
                <c:pt idx="1488">
                  <c:v>41970</c:v>
                </c:pt>
                <c:pt idx="1489">
                  <c:v>41971</c:v>
                </c:pt>
                <c:pt idx="1490">
                  <c:v>41974</c:v>
                </c:pt>
                <c:pt idx="1491">
                  <c:v>41975</c:v>
                </c:pt>
                <c:pt idx="1492">
                  <c:v>41976</c:v>
                </c:pt>
                <c:pt idx="1493">
                  <c:v>41977</c:v>
                </c:pt>
                <c:pt idx="1494">
                  <c:v>41978</c:v>
                </c:pt>
                <c:pt idx="1495">
                  <c:v>41981</c:v>
                </c:pt>
                <c:pt idx="1496">
                  <c:v>41982</c:v>
                </c:pt>
                <c:pt idx="1497">
                  <c:v>41983</c:v>
                </c:pt>
                <c:pt idx="1498">
                  <c:v>41984</c:v>
                </c:pt>
                <c:pt idx="1499">
                  <c:v>41985</c:v>
                </c:pt>
                <c:pt idx="1500">
                  <c:v>41988</c:v>
                </c:pt>
                <c:pt idx="1501">
                  <c:v>41989</c:v>
                </c:pt>
                <c:pt idx="1502">
                  <c:v>41990</c:v>
                </c:pt>
                <c:pt idx="1503">
                  <c:v>41991</c:v>
                </c:pt>
                <c:pt idx="1504">
                  <c:v>41992</c:v>
                </c:pt>
                <c:pt idx="1505">
                  <c:v>41995</c:v>
                </c:pt>
                <c:pt idx="1506">
                  <c:v>41996</c:v>
                </c:pt>
                <c:pt idx="1507">
                  <c:v>41997</c:v>
                </c:pt>
                <c:pt idx="1508">
                  <c:v>41999</c:v>
                </c:pt>
                <c:pt idx="1509">
                  <c:v>42002</c:v>
                </c:pt>
                <c:pt idx="1510">
                  <c:v>42003</c:v>
                </c:pt>
                <c:pt idx="1511">
                  <c:v>42004</c:v>
                </c:pt>
                <c:pt idx="1512">
                  <c:v>42006</c:v>
                </c:pt>
                <c:pt idx="1513">
                  <c:v>42009</c:v>
                </c:pt>
                <c:pt idx="1514">
                  <c:v>42010</c:v>
                </c:pt>
                <c:pt idx="1515">
                  <c:v>42011</c:v>
                </c:pt>
                <c:pt idx="1516">
                  <c:v>42012</c:v>
                </c:pt>
                <c:pt idx="1517">
                  <c:v>42013</c:v>
                </c:pt>
                <c:pt idx="1518">
                  <c:v>42016</c:v>
                </c:pt>
                <c:pt idx="1519">
                  <c:v>42017</c:v>
                </c:pt>
                <c:pt idx="1520">
                  <c:v>42018</c:v>
                </c:pt>
                <c:pt idx="1521">
                  <c:v>42019</c:v>
                </c:pt>
                <c:pt idx="1522">
                  <c:v>42020</c:v>
                </c:pt>
                <c:pt idx="1523">
                  <c:v>42023</c:v>
                </c:pt>
                <c:pt idx="1524">
                  <c:v>42024</c:v>
                </c:pt>
                <c:pt idx="1525">
                  <c:v>42025</c:v>
                </c:pt>
                <c:pt idx="1526">
                  <c:v>42026</c:v>
                </c:pt>
                <c:pt idx="1527">
                  <c:v>42027</c:v>
                </c:pt>
                <c:pt idx="1528">
                  <c:v>42030</c:v>
                </c:pt>
                <c:pt idx="1529">
                  <c:v>42031</c:v>
                </c:pt>
                <c:pt idx="1530">
                  <c:v>42032</c:v>
                </c:pt>
                <c:pt idx="1531">
                  <c:v>42033</c:v>
                </c:pt>
                <c:pt idx="1532">
                  <c:v>42034</c:v>
                </c:pt>
                <c:pt idx="1533">
                  <c:v>42037</c:v>
                </c:pt>
                <c:pt idx="1534">
                  <c:v>42038</c:v>
                </c:pt>
                <c:pt idx="1535">
                  <c:v>42039</c:v>
                </c:pt>
                <c:pt idx="1536">
                  <c:v>42040</c:v>
                </c:pt>
                <c:pt idx="1537">
                  <c:v>42041</c:v>
                </c:pt>
                <c:pt idx="1538">
                  <c:v>42044</c:v>
                </c:pt>
                <c:pt idx="1539">
                  <c:v>42045</c:v>
                </c:pt>
                <c:pt idx="1540">
                  <c:v>42046</c:v>
                </c:pt>
                <c:pt idx="1541">
                  <c:v>42047</c:v>
                </c:pt>
                <c:pt idx="1542">
                  <c:v>42048</c:v>
                </c:pt>
                <c:pt idx="1543">
                  <c:v>42053</c:v>
                </c:pt>
                <c:pt idx="1544">
                  <c:v>42054</c:v>
                </c:pt>
                <c:pt idx="1545">
                  <c:v>42055</c:v>
                </c:pt>
                <c:pt idx="1546">
                  <c:v>42058</c:v>
                </c:pt>
                <c:pt idx="1547">
                  <c:v>42059</c:v>
                </c:pt>
                <c:pt idx="1548">
                  <c:v>42060</c:v>
                </c:pt>
                <c:pt idx="1549">
                  <c:v>42061</c:v>
                </c:pt>
                <c:pt idx="1550">
                  <c:v>42062</c:v>
                </c:pt>
                <c:pt idx="1551">
                  <c:v>42065</c:v>
                </c:pt>
                <c:pt idx="1552">
                  <c:v>42066</c:v>
                </c:pt>
                <c:pt idx="1553">
                  <c:v>42067</c:v>
                </c:pt>
                <c:pt idx="1554">
                  <c:v>42068</c:v>
                </c:pt>
                <c:pt idx="1555">
                  <c:v>42069</c:v>
                </c:pt>
                <c:pt idx="1556">
                  <c:v>42072</c:v>
                </c:pt>
                <c:pt idx="1557">
                  <c:v>42073</c:v>
                </c:pt>
                <c:pt idx="1558">
                  <c:v>42074</c:v>
                </c:pt>
                <c:pt idx="1559">
                  <c:v>42075</c:v>
                </c:pt>
                <c:pt idx="1560">
                  <c:v>42076</c:v>
                </c:pt>
                <c:pt idx="1561">
                  <c:v>42079</c:v>
                </c:pt>
                <c:pt idx="1562">
                  <c:v>42080</c:v>
                </c:pt>
                <c:pt idx="1563">
                  <c:v>42081</c:v>
                </c:pt>
                <c:pt idx="1564">
                  <c:v>42082</c:v>
                </c:pt>
                <c:pt idx="1565">
                  <c:v>42083</c:v>
                </c:pt>
                <c:pt idx="1566">
                  <c:v>42086</c:v>
                </c:pt>
                <c:pt idx="1567">
                  <c:v>42087</c:v>
                </c:pt>
                <c:pt idx="1568">
                  <c:v>42088</c:v>
                </c:pt>
                <c:pt idx="1569">
                  <c:v>42089</c:v>
                </c:pt>
                <c:pt idx="1570">
                  <c:v>42090</c:v>
                </c:pt>
                <c:pt idx="1571">
                  <c:v>42093</c:v>
                </c:pt>
                <c:pt idx="1572">
                  <c:v>42094</c:v>
                </c:pt>
                <c:pt idx="1573">
                  <c:v>42095</c:v>
                </c:pt>
                <c:pt idx="1574">
                  <c:v>42096</c:v>
                </c:pt>
                <c:pt idx="1575">
                  <c:v>42100</c:v>
                </c:pt>
                <c:pt idx="1576">
                  <c:v>42101</c:v>
                </c:pt>
                <c:pt idx="1577">
                  <c:v>42102</c:v>
                </c:pt>
                <c:pt idx="1578">
                  <c:v>42103</c:v>
                </c:pt>
                <c:pt idx="1579">
                  <c:v>42104</c:v>
                </c:pt>
                <c:pt idx="1580">
                  <c:v>42107</c:v>
                </c:pt>
                <c:pt idx="1581">
                  <c:v>42108</c:v>
                </c:pt>
                <c:pt idx="1582">
                  <c:v>42109</c:v>
                </c:pt>
                <c:pt idx="1583">
                  <c:v>42110</c:v>
                </c:pt>
                <c:pt idx="1584">
                  <c:v>42111</c:v>
                </c:pt>
                <c:pt idx="1585">
                  <c:v>42114</c:v>
                </c:pt>
                <c:pt idx="1586">
                  <c:v>42116</c:v>
                </c:pt>
                <c:pt idx="1587">
                  <c:v>42117</c:v>
                </c:pt>
                <c:pt idx="1588">
                  <c:v>42118</c:v>
                </c:pt>
                <c:pt idx="1589">
                  <c:v>42121</c:v>
                </c:pt>
                <c:pt idx="1590">
                  <c:v>42122</c:v>
                </c:pt>
                <c:pt idx="1591">
                  <c:v>42123</c:v>
                </c:pt>
                <c:pt idx="1592">
                  <c:v>42124</c:v>
                </c:pt>
                <c:pt idx="1593">
                  <c:v>42128</c:v>
                </c:pt>
                <c:pt idx="1594">
                  <c:v>42129</c:v>
                </c:pt>
                <c:pt idx="1595">
                  <c:v>42130</c:v>
                </c:pt>
                <c:pt idx="1596">
                  <c:v>42131</c:v>
                </c:pt>
                <c:pt idx="1597">
                  <c:v>42132</c:v>
                </c:pt>
                <c:pt idx="1598">
                  <c:v>42135</c:v>
                </c:pt>
                <c:pt idx="1599">
                  <c:v>42136</c:v>
                </c:pt>
                <c:pt idx="1600">
                  <c:v>42137</c:v>
                </c:pt>
                <c:pt idx="1601">
                  <c:v>42138</c:v>
                </c:pt>
                <c:pt idx="1602">
                  <c:v>42139</c:v>
                </c:pt>
                <c:pt idx="1603">
                  <c:v>42142</c:v>
                </c:pt>
                <c:pt idx="1604">
                  <c:v>42143</c:v>
                </c:pt>
                <c:pt idx="1605">
                  <c:v>42144</c:v>
                </c:pt>
                <c:pt idx="1606">
                  <c:v>42145</c:v>
                </c:pt>
                <c:pt idx="1607">
                  <c:v>42146</c:v>
                </c:pt>
                <c:pt idx="1608">
                  <c:v>42149</c:v>
                </c:pt>
                <c:pt idx="1609">
                  <c:v>42150</c:v>
                </c:pt>
                <c:pt idx="1610">
                  <c:v>42151</c:v>
                </c:pt>
                <c:pt idx="1611">
                  <c:v>42152</c:v>
                </c:pt>
                <c:pt idx="1612">
                  <c:v>42153</c:v>
                </c:pt>
                <c:pt idx="1613">
                  <c:v>42156</c:v>
                </c:pt>
                <c:pt idx="1614">
                  <c:v>42157</c:v>
                </c:pt>
                <c:pt idx="1615">
                  <c:v>42158</c:v>
                </c:pt>
                <c:pt idx="1616">
                  <c:v>42160</c:v>
                </c:pt>
                <c:pt idx="1617">
                  <c:v>42163</c:v>
                </c:pt>
                <c:pt idx="1618">
                  <c:v>42164</c:v>
                </c:pt>
                <c:pt idx="1619">
                  <c:v>42165</c:v>
                </c:pt>
                <c:pt idx="1620">
                  <c:v>42166</c:v>
                </c:pt>
                <c:pt idx="1621">
                  <c:v>42167</c:v>
                </c:pt>
                <c:pt idx="1622">
                  <c:v>42170</c:v>
                </c:pt>
                <c:pt idx="1623">
                  <c:v>42171</c:v>
                </c:pt>
                <c:pt idx="1624">
                  <c:v>42172</c:v>
                </c:pt>
                <c:pt idx="1625">
                  <c:v>42173</c:v>
                </c:pt>
                <c:pt idx="1626">
                  <c:v>42174</c:v>
                </c:pt>
                <c:pt idx="1627">
                  <c:v>42177</c:v>
                </c:pt>
                <c:pt idx="1628">
                  <c:v>42178</c:v>
                </c:pt>
                <c:pt idx="1629">
                  <c:v>42179</c:v>
                </c:pt>
                <c:pt idx="1630">
                  <c:v>42180</c:v>
                </c:pt>
                <c:pt idx="1631">
                  <c:v>42181</c:v>
                </c:pt>
                <c:pt idx="1632">
                  <c:v>42184</c:v>
                </c:pt>
                <c:pt idx="1633">
                  <c:v>42185</c:v>
                </c:pt>
                <c:pt idx="1634">
                  <c:v>42186</c:v>
                </c:pt>
                <c:pt idx="1635">
                  <c:v>42187</c:v>
                </c:pt>
                <c:pt idx="1636">
                  <c:v>42188</c:v>
                </c:pt>
                <c:pt idx="1637">
                  <c:v>42191</c:v>
                </c:pt>
                <c:pt idx="1638">
                  <c:v>42192</c:v>
                </c:pt>
                <c:pt idx="1639">
                  <c:v>42193</c:v>
                </c:pt>
                <c:pt idx="1640">
                  <c:v>42194</c:v>
                </c:pt>
                <c:pt idx="1641">
                  <c:v>42195</c:v>
                </c:pt>
                <c:pt idx="1642">
                  <c:v>42198</c:v>
                </c:pt>
                <c:pt idx="1643">
                  <c:v>42199</c:v>
                </c:pt>
                <c:pt idx="1644">
                  <c:v>42200</c:v>
                </c:pt>
                <c:pt idx="1645">
                  <c:v>42201</c:v>
                </c:pt>
                <c:pt idx="1646">
                  <c:v>42202</c:v>
                </c:pt>
                <c:pt idx="1647">
                  <c:v>42205</c:v>
                </c:pt>
                <c:pt idx="1648">
                  <c:v>42206</c:v>
                </c:pt>
                <c:pt idx="1649">
                  <c:v>42207</c:v>
                </c:pt>
                <c:pt idx="1650">
                  <c:v>42208</c:v>
                </c:pt>
                <c:pt idx="1651">
                  <c:v>42209</c:v>
                </c:pt>
                <c:pt idx="1652">
                  <c:v>42212</c:v>
                </c:pt>
                <c:pt idx="1653">
                  <c:v>42213</c:v>
                </c:pt>
                <c:pt idx="1654">
                  <c:v>42214</c:v>
                </c:pt>
                <c:pt idx="1655">
                  <c:v>42215</c:v>
                </c:pt>
                <c:pt idx="1656">
                  <c:v>42216</c:v>
                </c:pt>
                <c:pt idx="1657">
                  <c:v>42219</c:v>
                </c:pt>
                <c:pt idx="1658">
                  <c:v>42220</c:v>
                </c:pt>
                <c:pt idx="1659">
                  <c:v>42221</c:v>
                </c:pt>
                <c:pt idx="1660">
                  <c:v>42222</c:v>
                </c:pt>
                <c:pt idx="1661">
                  <c:v>42223</c:v>
                </c:pt>
                <c:pt idx="1662">
                  <c:v>42226</c:v>
                </c:pt>
                <c:pt idx="1663">
                  <c:v>42227</c:v>
                </c:pt>
                <c:pt idx="1664">
                  <c:v>42228</c:v>
                </c:pt>
                <c:pt idx="1665">
                  <c:v>42229</c:v>
                </c:pt>
                <c:pt idx="1666">
                  <c:v>42230</c:v>
                </c:pt>
                <c:pt idx="1667">
                  <c:v>42233</c:v>
                </c:pt>
                <c:pt idx="1668">
                  <c:v>42234</c:v>
                </c:pt>
                <c:pt idx="1669">
                  <c:v>42235</c:v>
                </c:pt>
                <c:pt idx="1670">
                  <c:v>42236</c:v>
                </c:pt>
                <c:pt idx="1671">
                  <c:v>42237</c:v>
                </c:pt>
                <c:pt idx="1672">
                  <c:v>42240</c:v>
                </c:pt>
                <c:pt idx="1673">
                  <c:v>42241</c:v>
                </c:pt>
                <c:pt idx="1674">
                  <c:v>42242</c:v>
                </c:pt>
                <c:pt idx="1675">
                  <c:v>42243</c:v>
                </c:pt>
                <c:pt idx="1676">
                  <c:v>42244</c:v>
                </c:pt>
                <c:pt idx="1677">
                  <c:v>42247</c:v>
                </c:pt>
                <c:pt idx="1678">
                  <c:v>42248</c:v>
                </c:pt>
                <c:pt idx="1679">
                  <c:v>42249</c:v>
                </c:pt>
                <c:pt idx="1680">
                  <c:v>42250</c:v>
                </c:pt>
                <c:pt idx="1681">
                  <c:v>42251</c:v>
                </c:pt>
                <c:pt idx="1682">
                  <c:v>42255</c:v>
                </c:pt>
                <c:pt idx="1683">
                  <c:v>42256</c:v>
                </c:pt>
                <c:pt idx="1684">
                  <c:v>42257</c:v>
                </c:pt>
                <c:pt idx="1685">
                  <c:v>42258</c:v>
                </c:pt>
                <c:pt idx="1686">
                  <c:v>42261</c:v>
                </c:pt>
                <c:pt idx="1687">
                  <c:v>42262</c:v>
                </c:pt>
                <c:pt idx="1688">
                  <c:v>42263</c:v>
                </c:pt>
                <c:pt idx="1689">
                  <c:v>42264</c:v>
                </c:pt>
                <c:pt idx="1690">
                  <c:v>42265</c:v>
                </c:pt>
                <c:pt idx="1691">
                  <c:v>42268</c:v>
                </c:pt>
                <c:pt idx="1692">
                  <c:v>42269</c:v>
                </c:pt>
                <c:pt idx="1693">
                  <c:v>42270</c:v>
                </c:pt>
                <c:pt idx="1694">
                  <c:v>42271</c:v>
                </c:pt>
                <c:pt idx="1695">
                  <c:v>42272</c:v>
                </c:pt>
                <c:pt idx="1696">
                  <c:v>42275</c:v>
                </c:pt>
                <c:pt idx="1697">
                  <c:v>42276</c:v>
                </c:pt>
                <c:pt idx="1698">
                  <c:v>42277</c:v>
                </c:pt>
                <c:pt idx="1699">
                  <c:v>42278</c:v>
                </c:pt>
                <c:pt idx="1700">
                  <c:v>42279</c:v>
                </c:pt>
                <c:pt idx="1701">
                  <c:v>42282</c:v>
                </c:pt>
                <c:pt idx="1702">
                  <c:v>42283</c:v>
                </c:pt>
                <c:pt idx="1703">
                  <c:v>42284</c:v>
                </c:pt>
                <c:pt idx="1704">
                  <c:v>42285</c:v>
                </c:pt>
                <c:pt idx="1705">
                  <c:v>42286</c:v>
                </c:pt>
                <c:pt idx="1706">
                  <c:v>42290</c:v>
                </c:pt>
                <c:pt idx="1707">
                  <c:v>42291</c:v>
                </c:pt>
                <c:pt idx="1708">
                  <c:v>42292</c:v>
                </c:pt>
                <c:pt idx="1709">
                  <c:v>42293</c:v>
                </c:pt>
                <c:pt idx="1710">
                  <c:v>42296</c:v>
                </c:pt>
                <c:pt idx="1711">
                  <c:v>42297</c:v>
                </c:pt>
                <c:pt idx="1712">
                  <c:v>42298</c:v>
                </c:pt>
                <c:pt idx="1713">
                  <c:v>42299</c:v>
                </c:pt>
                <c:pt idx="1714">
                  <c:v>42300</c:v>
                </c:pt>
                <c:pt idx="1715">
                  <c:v>42303</c:v>
                </c:pt>
                <c:pt idx="1716">
                  <c:v>42304</c:v>
                </c:pt>
                <c:pt idx="1717">
                  <c:v>42305</c:v>
                </c:pt>
                <c:pt idx="1718">
                  <c:v>42306</c:v>
                </c:pt>
                <c:pt idx="1719">
                  <c:v>42307</c:v>
                </c:pt>
                <c:pt idx="1720">
                  <c:v>42311</c:v>
                </c:pt>
                <c:pt idx="1721">
                  <c:v>42312</c:v>
                </c:pt>
                <c:pt idx="1722">
                  <c:v>42313</c:v>
                </c:pt>
                <c:pt idx="1723">
                  <c:v>42314</c:v>
                </c:pt>
                <c:pt idx="1724">
                  <c:v>42317</c:v>
                </c:pt>
                <c:pt idx="1725">
                  <c:v>42318</c:v>
                </c:pt>
                <c:pt idx="1726">
                  <c:v>42319</c:v>
                </c:pt>
                <c:pt idx="1727">
                  <c:v>42320</c:v>
                </c:pt>
                <c:pt idx="1728">
                  <c:v>42321</c:v>
                </c:pt>
                <c:pt idx="1729">
                  <c:v>42324</c:v>
                </c:pt>
                <c:pt idx="1730">
                  <c:v>42325</c:v>
                </c:pt>
                <c:pt idx="1731">
                  <c:v>42326</c:v>
                </c:pt>
                <c:pt idx="1732">
                  <c:v>42327</c:v>
                </c:pt>
                <c:pt idx="1733">
                  <c:v>42328</c:v>
                </c:pt>
                <c:pt idx="1734">
                  <c:v>42331</c:v>
                </c:pt>
                <c:pt idx="1735">
                  <c:v>42332</c:v>
                </c:pt>
                <c:pt idx="1736">
                  <c:v>42333</c:v>
                </c:pt>
                <c:pt idx="1737">
                  <c:v>42334</c:v>
                </c:pt>
                <c:pt idx="1738">
                  <c:v>42335</c:v>
                </c:pt>
                <c:pt idx="1739">
                  <c:v>42338</c:v>
                </c:pt>
                <c:pt idx="1740">
                  <c:v>42339</c:v>
                </c:pt>
                <c:pt idx="1741">
                  <c:v>42340</c:v>
                </c:pt>
                <c:pt idx="1742">
                  <c:v>42341</c:v>
                </c:pt>
                <c:pt idx="1743">
                  <c:v>42345</c:v>
                </c:pt>
                <c:pt idx="1744">
                  <c:v>42346</c:v>
                </c:pt>
                <c:pt idx="1745">
                  <c:v>42347</c:v>
                </c:pt>
                <c:pt idx="1746">
                  <c:v>42348</c:v>
                </c:pt>
                <c:pt idx="1747">
                  <c:v>42349</c:v>
                </c:pt>
                <c:pt idx="1748">
                  <c:v>42352</c:v>
                </c:pt>
                <c:pt idx="1749">
                  <c:v>42353</c:v>
                </c:pt>
                <c:pt idx="1750">
                  <c:v>42354</c:v>
                </c:pt>
                <c:pt idx="1751">
                  <c:v>42355</c:v>
                </c:pt>
                <c:pt idx="1752">
                  <c:v>42356</c:v>
                </c:pt>
                <c:pt idx="1753">
                  <c:v>42359</c:v>
                </c:pt>
                <c:pt idx="1754">
                  <c:v>42360</c:v>
                </c:pt>
                <c:pt idx="1755">
                  <c:v>42361</c:v>
                </c:pt>
                <c:pt idx="1756">
                  <c:v>42362</c:v>
                </c:pt>
                <c:pt idx="1757">
                  <c:v>42366</c:v>
                </c:pt>
                <c:pt idx="1758">
                  <c:v>42367</c:v>
                </c:pt>
                <c:pt idx="1759">
                  <c:v>42368</c:v>
                </c:pt>
                <c:pt idx="1760">
                  <c:v>42369</c:v>
                </c:pt>
                <c:pt idx="1761">
                  <c:v>42373</c:v>
                </c:pt>
                <c:pt idx="1762">
                  <c:v>42374</c:v>
                </c:pt>
                <c:pt idx="1763">
                  <c:v>42375</c:v>
                </c:pt>
                <c:pt idx="1764">
                  <c:v>42376</c:v>
                </c:pt>
                <c:pt idx="1765">
                  <c:v>42377</c:v>
                </c:pt>
                <c:pt idx="1766">
                  <c:v>42380</c:v>
                </c:pt>
                <c:pt idx="1767">
                  <c:v>42381</c:v>
                </c:pt>
                <c:pt idx="1768">
                  <c:v>42382</c:v>
                </c:pt>
                <c:pt idx="1769">
                  <c:v>42383</c:v>
                </c:pt>
                <c:pt idx="1770">
                  <c:v>42384</c:v>
                </c:pt>
                <c:pt idx="1771">
                  <c:v>42387</c:v>
                </c:pt>
                <c:pt idx="1772">
                  <c:v>42388</c:v>
                </c:pt>
                <c:pt idx="1773">
                  <c:v>42389</c:v>
                </c:pt>
                <c:pt idx="1774">
                  <c:v>42390</c:v>
                </c:pt>
                <c:pt idx="1775">
                  <c:v>42391</c:v>
                </c:pt>
                <c:pt idx="1776">
                  <c:v>42394</c:v>
                </c:pt>
                <c:pt idx="1777">
                  <c:v>42395</c:v>
                </c:pt>
                <c:pt idx="1778">
                  <c:v>42396</c:v>
                </c:pt>
                <c:pt idx="1779">
                  <c:v>42397</c:v>
                </c:pt>
                <c:pt idx="1780">
                  <c:v>42398</c:v>
                </c:pt>
                <c:pt idx="1781">
                  <c:v>42401</c:v>
                </c:pt>
                <c:pt idx="1782">
                  <c:v>42402</c:v>
                </c:pt>
                <c:pt idx="1783">
                  <c:v>42403</c:v>
                </c:pt>
                <c:pt idx="1784">
                  <c:v>42404</c:v>
                </c:pt>
                <c:pt idx="1785">
                  <c:v>42405</c:v>
                </c:pt>
                <c:pt idx="1786">
                  <c:v>42410</c:v>
                </c:pt>
                <c:pt idx="1787">
                  <c:v>42411</c:v>
                </c:pt>
                <c:pt idx="1788">
                  <c:v>42412</c:v>
                </c:pt>
                <c:pt idx="1789">
                  <c:v>42415</c:v>
                </c:pt>
                <c:pt idx="1790">
                  <c:v>42416</c:v>
                </c:pt>
                <c:pt idx="1791">
                  <c:v>42417</c:v>
                </c:pt>
                <c:pt idx="1792">
                  <c:v>42418</c:v>
                </c:pt>
                <c:pt idx="1793">
                  <c:v>42419</c:v>
                </c:pt>
                <c:pt idx="1794">
                  <c:v>42422</c:v>
                </c:pt>
                <c:pt idx="1795">
                  <c:v>42423</c:v>
                </c:pt>
                <c:pt idx="1796">
                  <c:v>42424</c:v>
                </c:pt>
                <c:pt idx="1797">
                  <c:v>42425</c:v>
                </c:pt>
                <c:pt idx="1798">
                  <c:v>42426</c:v>
                </c:pt>
                <c:pt idx="1799">
                  <c:v>42429</c:v>
                </c:pt>
                <c:pt idx="1800">
                  <c:v>42430</c:v>
                </c:pt>
                <c:pt idx="1801">
                  <c:v>42431</c:v>
                </c:pt>
                <c:pt idx="1802">
                  <c:v>42432</c:v>
                </c:pt>
                <c:pt idx="1803">
                  <c:v>42433</c:v>
                </c:pt>
                <c:pt idx="1804">
                  <c:v>42436</c:v>
                </c:pt>
                <c:pt idx="1805">
                  <c:v>42437</c:v>
                </c:pt>
                <c:pt idx="1806">
                  <c:v>42438</c:v>
                </c:pt>
                <c:pt idx="1807">
                  <c:v>42439</c:v>
                </c:pt>
                <c:pt idx="1808">
                  <c:v>42440</c:v>
                </c:pt>
                <c:pt idx="1809">
                  <c:v>42443</c:v>
                </c:pt>
                <c:pt idx="1810">
                  <c:v>42444</c:v>
                </c:pt>
                <c:pt idx="1811">
                  <c:v>42445</c:v>
                </c:pt>
                <c:pt idx="1812">
                  <c:v>42446</c:v>
                </c:pt>
                <c:pt idx="1813">
                  <c:v>42447</c:v>
                </c:pt>
                <c:pt idx="1814">
                  <c:v>42450</c:v>
                </c:pt>
                <c:pt idx="1815">
                  <c:v>42451</c:v>
                </c:pt>
                <c:pt idx="1816">
                  <c:v>42452</c:v>
                </c:pt>
                <c:pt idx="1817">
                  <c:v>42453</c:v>
                </c:pt>
                <c:pt idx="1818">
                  <c:v>42457</c:v>
                </c:pt>
                <c:pt idx="1819">
                  <c:v>42458</c:v>
                </c:pt>
                <c:pt idx="1820">
                  <c:v>42459</c:v>
                </c:pt>
                <c:pt idx="1821">
                  <c:v>42460</c:v>
                </c:pt>
                <c:pt idx="1822">
                  <c:v>42461</c:v>
                </c:pt>
                <c:pt idx="1823">
                  <c:v>42464</c:v>
                </c:pt>
                <c:pt idx="1824">
                  <c:v>42465</c:v>
                </c:pt>
                <c:pt idx="1825">
                  <c:v>42466</c:v>
                </c:pt>
                <c:pt idx="1826">
                  <c:v>42467</c:v>
                </c:pt>
                <c:pt idx="1827">
                  <c:v>42468</c:v>
                </c:pt>
                <c:pt idx="1828">
                  <c:v>42471</c:v>
                </c:pt>
                <c:pt idx="1829">
                  <c:v>42472</c:v>
                </c:pt>
                <c:pt idx="1830">
                  <c:v>42473</c:v>
                </c:pt>
                <c:pt idx="1831">
                  <c:v>42474</c:v>
                </c:pt>
                <c:pt idx="1832">
                  <c:v>42475</c:v>
                </c:pt>
                <c:pt idx="1833">
                  <c:v>42478</c:v>
                </c:pt>
                <c:pt idx="1834">
                  <c:v>42479</c:v>
                </c:pt>
                <c:pt idx="1835">
                  <c:v>42480</c:v>
                </c:pt>
                <c:pt idx="1836">
                  <c:v>42482</c:v>
                </c:pt>
                <c:pt idx="1837">
                  <c:v>42485</c:v>
                </c:pt>
                <c:pt idx="1838">
                  <c:v>42486</c:v>
                </c:pt>
                <c:pt idx="1839">
                  <c:v>42487</c:v>
                </c:pt>
                <c:pt idx="1840">
                  <c:v>42488</c:v>
                </c:pt>
                <c:pt idx="1841">
                  <c:v>42489</c:v>
                </c:pt>
                <c:pt idx="1842">
                  <c:v>42492</c:v>
                </c:pt>
                <c:pt idx="1843">
                  <c:v>42493</c:v>
                </c:pt>
                <c:pt idx="1844">
                  <c:v>42494</c:v>
                </c:pt>
                <c:pt idx="1845">
                  <c:v>42495</c:v>
                </c:pt>
                <c:pt idx="1846">
                  <c:v>42496</c:v>
                </c:pt>
                <c:pt idx="1847">
                  <c:v>42499</c:v>
                </c:pt>
                <c:pt idx="1848">
                  <c:v>42500</c:v>
                </c:pt>
                <c:pt idx="1849">
                  <c:v>42501</c:v>
                </c:pt>
                <c:pt idx="1850">
                  <c:v>42502</c:v>
                </c:pt>
                <c:pt idx="1851">
                  <c:v>42503</c:v>
                </c:pt>
                <c:pt idx="1852">
                  <c:v>42506</c:v>
                </c:pt>
                <c:pt idx="1853">
                  <c:v>42507</c:v>
                </c:pt>
                <c:pt idx="1854">
                  <c:v>42508</c:v>
                </c:pt>
                <c:pt idx="1855">
                  <c:v>42509</c:v>
                </c:pt>
                <c:pt idx="1856">
                  <c:v>42510</c:v>
                </c:pt>
                <c:pt idx="1857">
                  <c:v>42513</c:v>
                </c:pt>
                <c:pt idx="1858">
                  <c:v>42514</c:v>
                </c:pt>
                <c:pt idx="1859">
                  <c:v>42515</c:v>
                </c:pt>
                <c:pt idx="1860">
                  <c:v>42517</c:v>
                </c:pt>
                <c:pt idx="1861">
                  <c:v>42520</c:v>
                </c:pt>
                <c:pt idx="1862">
                  <c:v>42521</c:v>
                </c:pt>
                <c:pt idx="1863">
                  <c:v>42522</c:v>
                </c:pt>
                <c:pt idx="1864">
                  <c:v>42523</c:v>
                </c:pt>
                <c:pt idx="1865">
                  <c:v>42524</c:v>
                </c:pt>
                <c:pt idx="1866">
                  <c:v>42527</c:v>
                </c:pt>
                <c:pt idx="1867">
                  <c:v>42528</c:v>
                </c:pt>
                <c:pt idx="1868">
                  <c:v>42529</c:v>
                </c:pt>
                <c:pt idx="1869">
                  <c:v>42530</c:v>
                </c:pt>
                <c:pt idx="1870">
                  <c:v>42531</c:v>
                </c:pt>
                <c:pt idx="1871">
                  <c:v>42534</c:v>
                </c:pt>
                <c:pt idx="1872">
                  <c:v>42535</c:v>
                </c:pt>
                <c:pt idx="1873">
                  <c:v>42536</c:v>
                </c:pt>
                <c:pt idx="1874">
                  <c:v>42537</c:v>
                </c:pt>
                <c:pt idx="1875">
                  <c:v>42538</c:v>
                </c:pt>
                <c:pt idx="1876">
                  <c:v>42541</c:v>
                </c:pt>
                <c:pt idx="1877">
                  <c:v>42542</c:v>
                </c:pt>
                <c:pt idx="1878">
                  <c:v>42543</c:v>
                </c:pt>
                <c:pt idx="1879">
                  <c:v>42544</c:v>
                </c:pt>
                <c:pt idx="1880">
                  <c:v>42545</c:v>
                </c:pt>
                <c:pt idx="1881">
                  <c:v>42548</c:v>
                </c:pt>
                <c:pt idx="1882">
                  <c:v>42549</c:v>
                </c:pt>
                <c:pt idx="1883">
                  <c:v>42550</c:v>
                </c:pt>
                <c:pt idx="1884">
                  <c:v>42551</c:v>
                </c:pt>
                <c:pt idx="1885">
                  <c:v>42552</c:v>
                </c:pt>
                <c:pt idx="1886">
                  <c:v>42555</c:v>
                </c:pt>
                <c:pt idx="1887">
                  <c:v>42556</c:v>
                </c:pt>
                <c:pt idx="1888">
                  <c:v>42557</c:v>
                </c:pt>
                <c:pt idx="1889">
                  <c:v>42558</c:v>
                </c:pt>
                <c:pt idx="1890">
                  <c:v>42559</c:v>
                </c:pt>
                <c:pt idx="1891">
                  <c:v>42562</c:v>
                </c:pt>
                <c:pt idx="1892">
                  <c:v>42563</c:v>
                </c:pt>
                <c:pt idx="1893">
                  <c:v>42564</c:v>
                </c:pt>
                <c:pt idx="1894">
                  <c:v>42565</c:v>
                </c:pt>
                <c:pt idx="1895">
                  <c:v>42566</c:v>
                </c:pt>
                <c:pt idx="1896">
                  <c:v>42569</c:v>
                </c:pt>
                <c:pt idx="1897">
                  <c:v>42570</c:v>
                </c:pt>
                <c:pt idx="1898">
                  <c:v>42571</c:v>
                </c:pt>
                <c:pt idx="1899">
                  <c:v>42572</c:v>
                </c:pt>
                <c:pt idx="1900">
                  <c:v>42573</c:v>
                </c:pt>
                <c:pt idx="1901">
                  <c:v>42576</c:v>
                </c:pt>
                <c:pt idx="1902">
                  <c:v>42577</c:v>
                </c:pt>
                <c:pt idx="1903">
                  <c:v>42578</c:v>
                </c:pt>
                <c:pt idx="1904">
                  <c:v>42579</c:v>
                </c:pt>
                <c:pt idx="1905">
                  <c:v>42580</c:v>
                </c:pt>
                <c:pt idx="1906">
                  <c:v>42583</c:v>
                </c:pt>
                <c:pt idx="1907">
                  <c:v>42584</c:v>
                </c:pt>
                <c:pt idx="1908">
                  <c:v>42585</c:v>
                </c:pt>
                <c:pt idx="1909">
                  <c:v>42586</c:v>
                </c:pt>
                <c:pt idx="1910">
                  <c:v>42587</c:v>
                </c:pt>
                <c:pt idx="1911">
                  <c:v>42590</c:v>
                </c:pt>
                <c:pt idx="1912">
                  <c:v>42591</c:v>
                </c:pt>
                <c:pt idx="1913">
                  <c:v>42592</c:v>
                </c:pt>
                <c:pt idx="1914">
                  <c:v>42593</c:v>
                </c:pt>
                <c:pt idx="1915">
                  <c:v>42594</c:v>
                </c:pt>
                <c:pt idx="1916">
                  <c:v>42597</c:v>
                </c:pt>
                <c:pt idx="1917">
                  <c:v>42598</c:v>
                </c:pt>
                <c:pt idx="1918">
                  <c:v>42599</c:v>
                </c:pt>
                <c:pt idx="1919">
                  <c:v>42600</c:v>
                </c:pt>
                <c:pt idx="1920">
                  <c:v>42601</c:v>
                </c:pt>
                <c:pt idx="1921">
                  <c:v>42604</c:v>
                </c:pt>
                <c:pt idx="1922">
                  <c:v>42605</c:v>
                </c:pt>
                <c:pt idx="1923">
                  <c:v>42606</c:v>
                </c:pt>
                <c:pt idx="1924">
                  <c:v>42607</c:v>
                </c:pt>
                <c:pt idx="1925">
                  <c:v>42608</c:v>
                </c:pt>
                <c:pt idx="1926">
                  <c:v>42611</c:v>
                </c:pt>
                <c:pt idx="1927">
                  <c:v>42612</c:v>
                </c:pt>
                <c:pt idx="1928">
                  <c:v>42613</c:v>
                </c:pt>
                <c:pt idx="1929">
                  <c:v>42614</c:v>
                </c:pt>
                <c:pt idx="1930">
                  <c:v>42615</c:v>
                </c:pt>
                <c:pt idx="1931">
                  <c:v>42618</c:v>
                </c:pt>
                <c:pt idx="1932">
                  <c:v>42619</c:v>
                </c:pt>
                <c:pt idx="1933">
                  <c:v>42621</c:v>
                </c:pt>
                <c:pt idx="1934">
                  <c:v>42622</c:v>
                </c:pt>
                <c:pt idx="1935">
                  <c:v>42625</c:v>
                </c:pt>
                <c:pt idx="1936">
                  <c:v>42626</c:v>
                </c:pt>
                <c:pt idx="1937">
                  <c:v>42627</c:v>
                </c:pt>
                <c:pt idx="1938">
                  <c:v>42628</c:v>
                </c:pt>
                <c:pt idx="1939">
                  <c:v>42629</c:v>
                </c:pt>
                <c:pt idx="1940">
                  <c:v>42632</c:v>
                </c:pt>
                <c:pt idx="1941">
                  <c:v>42633</c:v>
                </c:pt>
                <c:pt idx="1942">
                  <c:v>42634</c:v>
                </c:pt>
                <c:pt idx="1943">
                  <c:v>42635</c:v>
                </c:pt>
                <c:pt idx="1944">
                  <c:v>42636</c:v>
                </c:pt>
                <c:pt idx="1945">
                  <c:v>42639</c:v>
                </c:pt>
                <c:pt idx="1946">
                  <c:v>42640</c:v>
                </c:pt>
                <c:pt idx="1947">
                  <c:v>42641</c:v>
                </c:pt>
                <c:pt idx="1948">
                  <c:v>42642</c:v>
                </c:pt>
                <c:pt idx="1949">
                  <c:v>42643</c:v>
                </c:pt>
                <c:pt idx="1950">
                  <c:v>42646</c:v>
                </c:pt>
                <c:pt idx="1951">
                  <c:v>42647</c:v>
                </c:pt>
                <c:pt idx="1952">
                  <c:v>42648</c:v>
                </c:pt>
                <c:pt idx="1953">
                  <c:v>42649</c:v>
                </c:pt>
                <c:pt idx="1954">
                  <c:v>42650</c:v>
                </c:pt>
                <c:pt idx="1955">
                  <c:v>42653</c:v>
                </c:pt>
                <c:pt idx="1956">
                  <c:v>42654</c:v>
                </c:pt>
                <c:pt idx="1957">
                  <c:v>42656</c:v>
                </c:pt>
                <c:pt idx="1958">
                  <c:v>42657</c:v>
                </c:pt>
                <c:pt idx="1959">
                  <c:v>42660</c:v>
                </c:pt>
                <c:pt idx="1960">
                  <c:v>42661</c:v>
                </c:pt>
                <c:pt idx="1961">
                  <c:v>42662</c:v>
                </c:pt>
                <c:pt idx="1962">
                  <c:v>42663</c:v>
                </c:pt>
                <c:pt idx="1963">
                  <c:v>42664</c:v>
                </c:pt>
                <c:pt idx="1964">
                  <c:v>42667</c:v>
                </c:pt>
                <c:pt idx="1965">
                  <c:v>42668</c:v>
                </c:pt>
                <c:pt idx="1966">
                  <c:v>42669</c:v>
                </c:pt>
                <c:pt idx="1967">
                  <c:v>42670</c:v>
                </c:pt>
                <c:pt idx="1968">
                  <c:v>42671</c:v>
                </c:pt>
                <c:pt idx="1969">
                  <c:v>42674</c:v>
                </c:pt>
                <c:pt idx="1970">
                  <c:v>42675</c:v>
                </c:pt>
                <c:pt idx="1971">
                  <c:v>42677</c:v>
                </c:pt>
                <c:pt idx="1972">
                  <c:v>42678</c:v>
                </c:pt>
                <c:pt idx="1973">
                  <c:v>42681</c:v>
                </c:pt>
                <c:pt idx="1974">
                  <c:v>42682</c:v>
                </c:pt>
                <c:pt idx="1975">
                  <c:v>42683</c:v>
                </c:pt>
                <c:pt idx="1976">
                  <c:v>42684</c:v>
                </c:pt>
                <c:pt idx="1977">
                  <c:v>42685</c:v>
                </c:pt>
                <c:pt idx="1978">
                  <c:v>42688</c:v>
                </c:pt>
                <c:pt idx="1979">
                  <c:v>42690</c:v>
                </c:pt>
                <c:pt idx="1980">
                  <c:v>42691</c:v>
                </c:pt>
                <c:pt idx="1981">
                  <c:v>42692</c:v>
                </c:pt>
                <c:pt idx="1982">
                  <c:v>42695</c:v>
                </c:pt>
                <c:pt idx="1983">
                  <c:v>42696</c:v>
                </c:pt>
                <c:pt idx="1984">
                  <c:v>42697</c:v>
                </c:pt>
                <c:pt idx="1985">
                  <c:v>42698</c:v>
                </c:pt>
                <c:pt idx="1986">
                  <c:v>42699</c:v>
                </c:pt>
                <c:pt idx="1987">
                  <c:v>42702</c:v>
                </c:pt>
                <c:pt idx="1988">
                  <c:v>42703</c:v>
                </c:pt>
                <c:pt idx="1989">
                  <c:v>42704</c:v>
                </c:pt>
                <c:pt idx="1990">
                  <c:v>42705</c:v>
                </c:pt>
                <c:pt idx="1991">
                  <c:v>42706</c:v>
                </c:pt>
                <c:pt idx="1992">
                  <c:v>42709</c:v>
                </c:pt>
                <c:pt idx="1993">
                  <c:v>42710</c:v>
                </c:pt>
                <c:pt idx="1994">
                  <c:v>42711</c:v>
                </c:pt>
                <c:pt idx="1995">
                  <c:v>42712</c:v>
                </c:pt>
                <c:pt idx="1996">
                  <c:v>42713</c:v>
                </c:pt>
                <c:pt idx="1997">
                  <c:v>42716</c:v>
                </c:pt>
                <c:pt idx="1998">
                  <c:v>42717</c:v>
                </c:pt>
                <c:pt idx="1999">
                  <c:v>42718</c:v>
                </c:pt>
                <c:pt idx="2000">
                  <c:v>42719</c:v>
                </c:pt>
                <c:pt idx="2001">
                  <c:v>42720</c:v>
                </c:pt>
                <c:pt idx="2002">
                  <c:v>42723</c:v>
                </c:pt>
                <c:pt idx="2003">
                  <c:v>42724</c:v>
                </c:pt>
                <c:pt idx="2004">
                  <c:v>42725</c:v>
                </c:pt>
                <c:pt idx="2005">
                  <c:v>42726</c:v>
                </c:pt>
                <c:pt idx="2006">
                  <c:v>42727</c:v>
                </c:pt>
                <c:pt idx="2007">
                  <c:v>42730</c:v>
                </c:pt>
                <c:pt idx="2008">
                  <c:v>42731</c:v>
                </c:pt>
                <c:pt idx="2009">
                  <c:v>42732</c:v>
                </c:pt>
                <c:pt idx="2010">
                  <c:v>42733</c:v>
                </c:pt>
                <c:pt idx="2011">
                  <c:v>42734</c:v>
                </c:pt>
                <c:pt idx="2012">
                  <c:v>42737</c:v>
                </c:pt>
                <c:pt idx="2013">
                  <c:v>42738</c:v>
                </c:pt>
                <c:pt idx="2014">
                  <c:v>42739</c:v>
                </c:pt>
                <c:pt idx="2015">
                  <c:v>42740</c:v>
                </c:pt>
                <c:pt idx="2016">
                  <c:v>42741</c:v>
                </c:pt>
                <c:pt idx="2017">
                  <c:v>42744</c:v>
                </c:pt>
                <c:pt idx="2018">
                  <c:v>42745</c:v>
                </c:pt>
                <c:pt idx="2019">
                  <c:v>42746</c:v>
                </c:pt>
                <c:pt idx="2020">
                  <c:v>42747</c:v>
                </c:pt>
                <c:pt idx="2021">
                  <c:v>42748</c:v>
                </c:pt>
                <c:pt idx="2022">
                  <c:v>42751</c:v>
                </c:pt>
                <c:pt idx="2023">
                  <c:v>42752</c:v>
                </c:pt>
                <c:pt idx="2024">
                  <c:v>42753</c:v>
                </c:pt>
                <c:pt idx="2025">
                  <c:v>42754</c:v>
                </c:pt>
                <c:pt idx="2026">
                  <c:v>42755</c:v>
                </c:pt>
                <c:pt idx="2027">
                  <c:v>42758</c:v>
                </c:pt>
                <c:pt idx="2028">
                  <c:v>42759</c:v>
                </c:pt>
                <c:pt idx="2029">
                  <c:v>42760</c:v>
                </c:pt>
                <c:pt idx="2030">
                  <c:v>42761</c:v>
                </c:pt>
                <c:pt idx="2031">
                  <c:v>42762</c:v>
                </c:pt>
                <c:pt idx="2032">
                  <c:v>42765</c:v>
                </c:pt>
                <c:pt idx="2033">
                  <c:v>42766</c:v>
                </c:pt>
                <c:pt idx="2034">
                  <c:v>42767</c:v>
                </c:pt>
                <c:pt idx="2035">
                  <c:v>42768</c:v>
                </c:pt>
                <c:pt idx="2036">
                  <c:v>42769</c:v>
                </c:pt>
              </c:numCache>
            </c:numRef>
          </c:cat>
          <c:val>
            <c:numRef>
              <c:f>Plan1!$B$2:$B$2038</c:f>
              <c:numCache>
                <c:formatCode>General</c:formatCode>
                <c:ptCount val="2037"/>
                <c:pt idx="0">
                  <c:v>9.4177099999999999E-4</c:v>
                </c:pt>
                <c:pt idx="1">
                  <c:v>9.7061800000000002E-4</c:v>
                </c:pt>
                <c:pt idx="2">
                  <c:v>9.7153400000000003E-4</c:v>
                </c:pt>
                <c:pt idx="3">
                  <c:v>9.7245000000000003E-4</c:v>
                </c:pt>
                <c:pt idx="4">
                  <c:v>9.7336799999999995E-4</c:v>
                </c:pt>
                <c:pt idx="5">
                  <c:v>9.7428599999999999E-4</c:v>
                </c:pt>
                <c:pt idx="6">
                  <c:v>9.7520500000000004E-4</c:v>
                </c:pt>
                <c:pt idx="7">
                  <c:v>9.76125E-4</c:v>
                </c:pt>
                <c:pt idx="8">
                  <c:v>9.7704600000000008E-4</c:v>
                </c:pt>
                <c:pt idx="9">
                  <c:v>9.7796699999999994E-4</c:v>
                </c:pt>
                <c:pt idx="10">
                  <c:v>9.7889000000000006E-4</c:v>
                </c:pt>
                <c:pt idx="11">
                  <c:v>9.7981299999999995E-4</c:v>
                </c:pt>
                <c:pt idx="12">
                  <c:v>9.8073699999999997E-4</c:v>
                </c:pt>
                <c:pt idx="13">
                  <c:v>9.8166300000000002E-4</c:v>
                </c:pt>
                <c:pt idx="14">
                  <c:v>9.8258900000000008E-4</c:v>
                </c:pt>
                <c:pt idx="15">
                  <c:v>9.8351499999999991E-4</c:v>
                </c:pt>
                <c:pt idx="16">
                  <c:v>9.8444299999999999E-4</c:v>
                </c:pt>
                <c:pt idx="17">
                  <c:v>9.8537199999999998E-4</c:v>
                </c:pt>
                <c:pt idx="18">
                  <c:v>9.8630099999999997E-4</c:v>
                </c:pt>
                <c:pt idx="19">
                  <c:v>9.87232E-4</c:v>
                </c:pt>
                <c:pt idx="20">
                  <c:v>9.8816300000000002E-4</c:v>
                </c:pt>
                <c:pt idx="21">
                  <c:v>9.8909499999999995E-4</c:v>
                </c:pt>
                <c:pt idx="22">
                  <c:v>9.90028E-4</c:v>
                </c:pt>
                <c:pt idx="23">
                  <c:v>9.9096199999999996E-4</c:v>
                </c:pt>
                <c:pt idx="24">
                  <c:v>9.9189700000000005E-4</c:v>
                </c:pt>
                <c:pt idx="25">
                  <c:v>9.9283199999999992E-4</c:v>
                </c:pt>
                <c:pt idx="26">
                  <c:v>9.9376900000000003E-4</c:v>
                </c:pt>
                <c:pt idx="27">
                  <c:v>9.9470599999999993E-4</c:v>
                </c:pt>
                <c:pt idx="28">
                  <c:v>9.9564500000000008E-4</c:v>
                </c:pt>
                <c:pt idx="29">
                  <c:v>9.9658400000000001E-4</c:v>
                </c:pt>
                <c:pt idx="30">
                  <c:v>9.9752400000000007E-4</c:v>
                </c:pt>
                <c:pt idx="31">
                  <c:v>9.9846500000000003E-4</c:v>
                </c:pt>
                <c:pt idx="32">
                  <c:v>9.994069999999999E-4</c:v>
                </c:pt>
                <c:pt idx="33">
                  <c:v>1.000349E-3</c:v>
                </c:pt>
                <c:pt idx="34">
                  <c:v>1.0012930000000001E-3</c:v>
                </c:pt>
                <c:pt idx="35">
                  <c:v>1.0022379999999999E-3</c:v>
                </c:pt>
                <c:pt idx="36">
                  <c:v>1.0041290000000001E-3</c:v>
                </c:pt>
                <c:pt idx="37">
                  <c:v>1.0041290000000001E-3</c:v>
                </c:pt>
                <c:pt idx="38">
                  <c:v>1.0050759999999999E-3</c:v>
                </c:pt>
                <c:pt idx="39">
                  <c:v>1.006025E-3</c:v>
                </c:pt>
                <c:pt idx="40">
                  <c:v>1.0069740000000001E-3</c:v>
                </c:pt>
                <c:pt idx="41">
                  <c:v>1.007923E-3</c:v>
                </c:pt>
                <c:pt idx="42">
                  <c:v>1.0088740000000001E-3</c:v>
                </c:pt>
                <c:pt idx="43">
                  <c:v>1.0098259999999999E-3</c:v>
                </c:pt>
                <c:pt idx="44">
                  <c:v>1.0107779999999999E-3</c:v>
                </c:pt>
                <c:pt idx="45">
                  <c:v>1.011732E-3</c:v>
                </c:pt>
                <c:pt idx="46">
                  <c:v>1.0126860000000001E-3</c:v>
                </c:pt>
                <c:pt idx="47">
                  <c:v>1.013641E-3</c:v>
                </c:pt>
                <c:pt idx="48">
                  <c:v>1.014598E-3</c:v>
                </c:pt>
                <c:pt idx="49">
                  <c:v>1.015555E-3</c:v>
                </c:pt>
                <c:pt idx="50">
                  <c:v>1.0165129999999999E-3</c:v>
                </c:pt>
                <c:pt idx="51">
                  <c:v>1.017472E-3</c:v>
                </c:pt>
                <c:pt idx="52">
                  <c:v>1.018431E-3</c:v>
                </c:pt>
                <c:pt idx="53">
                  <c:v>1.019392E-3</c:v>
                </c:pt>
                <c:pt idx="54">
                  <c:v>1.020354E-3</c:v>
                </c:pt>
                <c:pt idx="55">
                  <c:v>1.021316E-3</c:v>
                </c:pt>
                <c:pt idx="56">
                  <c:v>1.0222790000000001E-3</c:v>
                </c:pt>
                <c:pt idx="57">
                  <c:v>1.023244E-3</c:v>
                </c:pt>
                <c:pt idx="58">
                  <c:v>1.0242090000000001E-3</c:v>
                </c:pt>
                <c:pt idx="59">
                  <c:v>1.0251749999999999E-3</c:v>
                </c:pt>
                <c:pt idx="60">
                  <c:v>1.0261420000000001E-3</c:v>
                </c:pt>
                <c:pt idx="61">
                  <c:v>1.0271099999999999E-3</c:v>
                </c:pt>
                <c:pt idx="62">
                  <c:v>1.0280790000000001E-3</c:v>
                </c:pt>
                <c:pt idx="63">
                  <c:v>1.029049E-3</c:v>
                </c:pt>
                <c:pt idx="64">
                  <c:v>1.03002E-3</c:v>
                </c:pt>
                <c:pt idx="65">
                  <c:v>1.030991E-3</c:v>
                </c:pt>
                <c:pt idx="66">
                  <c:v>1.031964E-3</c:v>
                </c:pt>
                <c:pt idx="67">
                  <c:v>1.032937E-3</c:v>
                </c:pt>
                <c:pt idx="68">
                  <c:v>1.033911E-3</c:v>
                </c:pt>
                <c:pt idx="69">
                  <c:v>1.034887E-3</c:v>
                </c:pt>
                <c:pt idx="70">
                  <c:v>1.0358629999999999E-3</c:v>
                </c:pt>
                <c:pt idx="71">
                  <c:v>1.03684E-3</c:v>
                </c:pt>
                <c:pt idx="72">
                  <c:v>1.037818E-3</c:v>
                </c:pt>
                <c:pt idx="73">
                  <c:v>1.0387969999999999E-3</c:v>
                </c:pt>
                <c:pt idx="74">
                  <c:v>1.039777E-3</c:v>
                </c:pt>
                <c:pt idx="75">
                  <c:v>1.0407579999999999E-3</c:v>
                </c:pt>
                <c:pt idx="76">
                  <c:v>1.04174E-3</c:v>
                </c:pt>
                <c:pt idx="77">
                  <c:v>1.042722E-3</c:v>
                </c:pt>
                <c:pt idx="78">
                  <c:v>1.0437059999999999E-3</c:v>
                </c:pt>
                <c:pt idx="79">
                  <c:v>1.04469E-3</c:v>
                </c:pt>
                <c:pt idx="80">
                  <c:v>1.0456759999999999E-3</c:v>
                </c:pt>
                <c:pt idx="81">
                  <c:v>1.0466620000000001E-3</c:v>
                </c:pt>
                <c:pt idx="82">
                  <c:v>1.0476490000000001E-3</c:v>
                </c:pt>
                <c:pt idx="83">
                  <c:v>1.048638E-3</c:v>
                </c:pt>
                <c:pt idx="84">
                  <c:v>1.049627E-3</c:v>
                </c:pt>
                <c:pt idx="85">
                  <c:v>1.050617E-3</c:v>
                </c:pt>
                <c:pt idx="86">
                  <c:v>1.0516080000000001E-3</c:v>
                </c:pt>
                <c:pt idx="87">
                  <c:v>1.0526000000000001E-3</c:v>
                </c:pt>
                <c:pt idx="88">
                  <c:v>1.053593E-3</c:v>
                </c:pt>
                <c:pt idx="89">
                  <c:v>1.0545870000000001E-3</c:v>
                </c:pt>
                <c:pt idx="90">
                  <c:v>1.055582E-3</c:v>
                </c:pt>
                <c:pt idx="91">
                  <c:v>1.056577E-3</c:v>
                </c:pt>
                <c:pt idx="92">
                  <c:v>1.0575739999999999E-3</c:v>
                </c:pt>
                <c:pt idx="93">
                  <c:v>1.058572E-3</c:v>
                </c:pt>
                <c:pt idx="94">
                  <c:v>1.0595699999999999E-3</c:v>
                </c:pt>
                <c:pt idx="95">
                  <c:v>1.06057E-3</c:v>
                </c:pt>
                <c:pt idx="96">
                  <c:v>1.06157E-3</c:v>
                </c:pt>
                <c:pt idx="97">
                  <c:v>1.062571E-3</c:v>
                </c:pt>
                <c:pt idx="98">
                  <c:v>1.0635740000000001E-3</c:v>
                </c:pt>
                <c:pt idx="99">
                  <c:v>1.0645769999999999E-3</c:v>
                </c:pt>
                <c:pt idx="100">
                  <c:v>1.0655809999999999E-3</c:v>
                </c:pt>
                <c:pt idx="101">
                  <c:v>1.066586E-3</c:v>
                </c:pt>
                <c:pt idx="102">
                  <c:v>1.067592E-3</c:v>
                </c:pt>
                <c:pt idx="103">
                  <c:v>1.0686000000000001E-3</c:v>
                </c:pt>
                <c:pt idx="104">
                  <c:v>1.0696080000000001E-3</c:v>
                </c:pt>
                <c:pt idx="105">
                  <c:v>1.0706159999999999E-3</c:v>
                </c:pt>
                <c:pt idx="106">
                  <c:v>1.071626E-3</c:v>
                </c:pt>
                <c:pt idx="107">
                  <c:v>1.072637E-3</c:v>
                </c:pt>
                <c:pt idx="108">
                  <c:v>1.0736490000000001E-3</c:v>
                </c:pt>
                <c:pt idx="109">
                  <c:v>1.0746620000000001E-3</c:v>
                </c:pt>
                <c:pt idx="110">
                  <c:v>1.075676E-3</c:v>
                </c:pt>
                <c:pt idx="111">
                  <c:v>1.0766899999999999E-3</c:v>
                </c:pt>
                <c:pt idx="112">
                  <c:v>1.0777060000000001E-3</c:v>
                </c:pt>
                <c:pt idx="113">
                  <c:v>1.0787220000000001E-3</c:v>
                </c:pt>
                <c:pt idx="114">
                  <c:v>1.07974E-3</c:v>
                </c:pt>
                <c:pt idx="115">
                  <c:v>1.081778E-3</c:v>
                </c:pt>
                <c:pt idx="116">
                  <c:v>1.0827980000000001E-3</c:v>
                </c:pt>
                <c:pt idx="117">
                  <c:v>1.0838200000000001E-3</c:v>
                </c:pt>
                <c:pt idx="118">
                  <c:v>1.0848419999999999E-3</c:v>
                </c:pt>
                <c:pt idx="119">
                  <c:v>1.085866E-3</c:v>
                </c:pt>
                <c:pt idx="120">
                  <c:v>1.0868900000000001E-3</c:v>
                </c:pt>
                <c:pt idx="121">
                  <c:v>1.0879150000000001E-3</c:v>
                </c:pt>
                <c:pt idx="122">
                  <c:v>1.088941E-3</c:v>
                </c:pt>
                <c:pt idx="123">
                  <c:v>1.0899690000000001E-3</c:v>
                </c:pt>
                <c:pt idx="124">
                  <c:v>1.090997E-3</c:v>
                </c:pt>
                <c:pt idx="125">
                  <c:v>1.0920260000000001E-3</c:v>
                </c:pt>
                <c:pt idx="126">
                  <c:v>1.093056E-3</c:v>
                </c:pt>
                <c:pt idx="127">
                  <c:v>1.0940870000000001E-3</c:v>
                </c:pt>
                <c:pt idx="128">
                  <c:v>1.0951190000000001E-3</c:v>
                </c:pt>
                <c:pt idx="129">
                  <c:v>1.096152E-3</c:v>
                </c:pt>
                <c:pt idx="130">
                  <c:v>1.097186E-3</c:v>
                </c:pt>
                <c:pt idx="131">
                  <c:v>1.0982209999999999E-3</c:v>
                </c:pt>
                <c:pt idx="132">
                  <c:v>1.099257E-3</c:v>
                </c:pt>
                <c:pt idx="133">
                  <c:v>1.1002939999999999E-3</c:v>
                </c:pt>
                <c:pt idx="134">
                  <c:v>1.101332E-3</c:v>
                </c:pt>
                <c:pt idx="135">
                  <c:v>1.102371E-3</c:v>
                </c:pt>
                <c:pt idx="136">
                  <c:v>1.1034110000000001E-3</c:v>
                </c:pt>
                <c:pt idx="137">
                  <c:v>1.104451E-3</c:v>
                </c:pt>
                <c:pt idx="138">
                  <c:v>1.1054929999999999E-3</c:v>
                </c:pt>
                <c:pt idx="139">
                  <c:v>1.106536E-3</c:v>
                </c:pt>
                <c:pt idx="140">
                  <c:v>1.1075799999999999E-3</c:v>
                </c:pt>
                <c:pt idx="141">
                  <c:v>1.108625E-3</c:v>
                </c:pt>
                <c:pt idx="142">
                  <c:v>1.1096700000000001E-3</c:v>
                </c:pt>
                <c:pt idx="143">
                  <c:v>1.110717E-3</c:v>
                </c:pt>
                <c:pt idx="144">
                  <c:v>1.111765E-3</c:v>
                </c:pt>
                <c:pt idx="145">
                  <c:v>1.1128139999999999E-3</c:v>
                </c:pt>
                <c:pt idx="146">
                  <c:v>1.1138630000000001E-3</c:v>
                </c:pt>
                <c:pt idx="147">
                  <c:v>1.1149140000000001E-3</c:v>
                </c:pt>
                <c:pt idx="148">
                  <c:v>1.1159659999999999E-3</c:v>
                </c:pt>
                <c:pt idx="149">
                  <c:v>1.117018E-3</c:v>
                </c:pt>
                <c:pt idx="150">
                  <c:v>1.1180719999999999E-3</c:v>
                </c:pt>
                <c:pt idx="151">
                  <c:v>1.1191269999999999E-3</c:v>
                </c:pt>
                <c:pt idx="152">
                  <c:v>1.1201819999999999E-3</c:v>
                </c:pt>
                <c:pt idx="153">
                  <c:v>1.121239E-3</c:v>
                </c:pt>
                <c:pt idx="154">
                  <c:v>1.122297E-3</c:v>
                </c:pt>
                <c:pt idx="155">
                  <c:v>1.1233549999999999E-3</c:v>
                </c:pt>
                <c:pt idx="156">
                  <c:v>1.1244149999999999E-3</c:v>
                </c:pt>
                <c:pt idx="157">
                  <c:v>1.125476E-3</c:v>
                </c:pt>
                <c:pt idx="158">
                  <c:v>1.1265369999999999E-3</c:v>
                </c:pt>
                <c:pt idx="159">
                  <c:v>9.4177099999999999E-4</c:v>
                </c:pt>
                <c:pt idx="192">
                  <c:v>2.2330464800000002E-2</c:v>
                </c:pt>
                <c:pt idx="193">
                  <c:v>2.23407339E-2</c:v>
                </c:pt>
                <c:pt idx="194">
                  <c:v>2.2371569399999999E-2</c:v>
                </c:pt>
                <c:pt idx="195">
                  <c:v>2.23818574E-2</c:v>
                </c:pt>
                <c:pt idx="196">
                  <c:v>2.2392150100000001E-2</c:v>
                </c:pt>
                <c:pt idx="197">
                  <c:v>2.2402447499999999E-2</c:v>
                </c:pt>
                <c:pt idx="198">
                  <c:v>2.2412749699999998E-2</c:v>
                </c:pt>
                <c:pt idx="199">
                  <c:v>2.2454005799999999E-2</c:v>
                </c:pt>
                <c:pt idx="200">
                  <c:v>2.2464331600000002E-2</c:v>
                </c:pt>
                <c:pt idx="201">
                  <c:v>2.24746623E-2</c:v>
                </c:pt>
                <c:pt idx="202">
                  <c:v>2.2484997699999999E-2</c:v>
                </c:pt>
                <c:pt idx="203">
                  <c:v>2.2516032300000002E-2</c:v>
                </c:pt>
                <c:pt idx="204">
                  <c:v>2.2526386699999998E-2</c:v>
                </c:pt>
                <c:pt idx="205">
                  <c:v>2.2536745899999999E-2</c:v>
                </c:pt>
                <c:pt idx="206">
                  <c:v>2.2547109799999999E-2</c:v>
                </c:pt>
                <c:pt idx="207">
                  <c:v>2.2557478499999999E-2</c:v>
                </c:pt>
                <c:pt idx="208">
                  <c:v>2.25886132E-2</c:v>
                </c:pt>
                <c:pt idx="209">
                  <c:v>2.2599001000000001E-2</c:v>
                </c:pt>
                <c:pt idx="210">
                  <c:v>2.2609393500000002E-2</c:v>
                </c:pt>
                <c:pt idx="211">
                  <c:v>2.2614123109999999E-2</c:v>
                </c:pt>
                <c:pt idx="212">
                  <c:v>2.2624327100000001E-2</c:v>
                </c:pt>
                <c:pt idx="213">
                  <c:v>2.266518922E-2</c:v>
                </c:pt>
                <c:pt idx="214">
                  <c:v>2.2675416260000001E-2</c:v>
                </c:pt>
                <c:pt idx="215">
                  <c:v>2.268564793E-2</c:v>
                </c:pt>
                <c:pt idx="216">
                  <c:v>2.2695884199999999E-2</c:v>
                </c:pt>
                <c:pt idx="217">
                  <c:v>2.2726620770000001E-2</c:v>
                </c:pt>
                <c:pt idx="218">
                  <c:v>2.2736875559999998E-2</c:v>
                </c:pt>
                <c:pt idx="219">
                  <c:v>2.274713494E-2</c:v>
                </c:pt>
                <c:pt idx="220">
                  <c:v>2.2757398969999999E-2</c:v>
                </c:pt>
                <c:pt idx="221">
                  <c:v>2.2767667639999999E-2</c:v>
                </c:pt>
                <c:pt idx="222">
                  <c:v>2.2798501410000001E-2</c:v>
                </c:pt>
                <c:pt idx="223">
                  <c:v>2.280878863E-2</c:v>
                </c:pt>
                <c:pt idx="224">
                  <c:v>2.281908044E-2</c:v>
                </c:pt>
                <c:pt idx="225">
                  <c:v>2.2829376960000002E-2</c:v>
                </c:pt>
                <c:pt idx="226">
                  <c:v>2.2839678089999999E-2</c:v>
                </c:pt>
                <c:pt idx="227">
                  <c:v>2.2870609399999998E-2</c:v>
                </c:pt>
                <c:pt idx="228">
                  <c:v>2.2880929139999999E-2</c:v>
                </c:pt>
                <c:pt idx="229">
                  <c:v>2.2891253530000003E-2</c:v>
                </c:pt>
                <c:pt idx="230">
                  <c:v>2.2901582600000001E-2</c:v>
                </c:pt>
                <c:pt idx="231">
                  <c:v>2.291191632E-2</c:v>
                </c:pt>
                <c:pt idx="232">
                  <c:v>2.2942945449999998E-2</c:v>
                </c:pt>
                <c:pt idx="233">
                  <c:v>2.2953297829999997E-2</c:v>
                </c:pt>
                <c:pt idx="234">
                  <c:v>2.2963654899999998E-2</c:v>
                </c:pt>
                <c:pt idx="235">
                  <c:v>2.297401659E-2</c:v>
                </c:pt>
                <c:pt idx="236">
                  <c:v>2.2984383019999999E-2</c:v>
                </c:pt>
                <c:pt idx="237">
                  <c:v>2.30155103E-2</c:v>
                </c:pt>
                <c:pt idx="238">
                  <c:v>2.3025895420000001E-2</c:v>
                </c:pt>
                <c:pt idx="239">
                  <c:v>2.303628521E-2</c:v>
                </c:pt>
                <c:pt idx="240">
                  <c:v>2.304667971E-2</c:v>
                </c:pt>
                <c:pt idx="241">
                  <c:v>2.30570789E-2</c:v>
                </c:pt>
                <c:pt idx="242">
                  <c:v>2.3088304630000001E-2</c:v>
                </c:pt>
                <c:pt idx="243">
                  <c:v>2.3098722610000001E-2</c:v>
                </c:pt>
                <c:pt idx="244">
                  <c:v>2.310914528E-2</c:v>
                </c:pt>
                <c:pt idx="245">
                  <c:v>2.3119572660000001E-2</c:v>
                </c:pt>
                <c:pt idx="246">
                  <c:v>2.3130004739999998E-2</c:v>
                </c:pt>
                <c:pt idx="247">
                  <c:v>2.3161329239999997E-2</c:v>
                </c:pt>
                <c:pt idx="248">
                  <c:v>2.3171780149999998E-2</c:v>
                </c:pt>
                <c:pt idx="249">
                  <c:v>2.3182235789999998E-2</c:v>
                </c:pt>
                <c:pt idx="250">
                  <c:v>2.3192696149999997E-2</c:v>
                </c:pt>
                <c:pt idx="251">
                  <c:v>2.3234584789999999E-2</c:v>
                </c:pt>
                <c:pt idx="252">
                  <c:v>2.3245068769999998E-2</c:v>
                </c:pt>
                <c:pt idx="253">
                  <c:v>2.3255557489999999E-2</c:v>
                </c:pt>
                <c:pt idx="254">
                  <c:v>2.3266050920000003E-2</c:v>
                </c:pt>
                <c:pt idx="255">
                  <c:v>2.3308072059999997E-2</c:v>
                </c:pt>
                <c:pt idx="256">
                  <c:v>2.3318589190000003E-2</c:v>
                </c:pt>
                <c:pt idx="257">
                  <c:v>2.3329111070000002E-2</c:v>
                </c:pt>
                <c:pt idx="258">
                  <c:v>2.333963771E-2</c:v>
                </c:pt>
                <c:pt idx="259">
                  <c:v>2.3350169090000001E-2</c:v>
                </c:pt>
                <c:pt idx="260">
                  <c:v>2.3381791739999998E-2</c:v>
                </c:pt>
                <c:pt idx="261">
                  <c:v>2.339234213E-2</c:v>
                </c:pt>
                <c:pt idx="262">
                  <c:v>2.3402897299999999E-2</c:v>
                </c:pt>
                <c:pt idx="263">
                  <c:v>2.3413457219999999E-2</c:v>
                </c:pt>
                <c:pt idx="264">
                  <c:v>2.3424021920000003E-2</c:v>
                </c:pt>
                <c:pt idx="265">
                  <c:v>2.3455744590000001E-2</c:v>
                </c:pt>
                <c:pt idx="266">
                  <c:v>2.3466328379999998E-2</c:v>
                </c:pt>
                <c:pt idx="267">
                  <c:v>2.3476916899999999E-2</c:v>
                </c:pt>
                <c:pt idx="268">
                  <c:v>2.3487510230000001E-2</c:v>
                </c:pt>
                <c:pt idx="269">
                  <c:v>2.3498108340000001E-2</c:v>
                </c:pt>
                <c:pt idx="270">
                  <c:v>2.352993137E-2</c:v>
                </c:pt>
                <c:pt idx="271">
                  <c:v>2.3540548600000002E-2</c:v>
                </c:pt>
                <c:pt idx="272">
                  <c:v>2.3551170649999998E-2</c:v>
                </c:pt>
                <c:pt idx="273">
                  <c:v>2.3561797449999998E-2</c:v>
                </c:pt>
                <c:pt idx="274">
                  <c:v>2.3572429070000001E-2</c:v>
                </c:pt>
                <c:pt idx="275">
                  <c:v>2.3604352760000002E-2</c:v>
                </c:pt>
                <c:pt idx="276">
                  <c:v>2.3615003579999998E-2</c:v>
                </c:pt>
                <c:pt idx="277">
                  <c:v>2.362565921E-2</c:v>
                </c:pt>
                <c:pt idx="278">
                  <c:v>2.363631964E-2</c:v>
                </c:pt>
                <c:pt idx="279">
                  <c:v>2.3646984899999998E-2</c:v>
                </c:pt>
                <c:pt idx="280">
                  <c:v>2.367900954E-2</c:v>
                </c:pt>
                <c:pt idx="281">
                  <c:v>2.368969407E-2</c:v>
                </c:pt>
                <c:pt idx="282">
                  <c:v>2.3700383379999999E-2</c:v>
                </c:pt>
                <c:pt idx="283">
                  <c:v>2.3711077559999998E-2</c:v>
                </c:pt>
                <c:pt idx="284">
                  <c:v>2.3721776519999998E-2</c:v>
                </c:pt>
                <c:pt idx="285">
                  <c:v>2.377534391E-2</c:v>
                </c:pt>
                <c:pt idx="286">
                  <c:v>2.3786071899999997E-2</c:v>
                </c:pt>
                <c:pt idx="287">
                  <c:v>2.3796804710000001E-2</c:v>
                </c:pt>
                <c:pt idx="288">
                  <c:v>2.3829032230000002E-2</c:v>
                </c:pt>
                <c:pt idx="289">
                  <c:v>2.3839784449999998E-2</c:v>
                </c:pt>
                <c:pt idx="290">
                  <c:v>2.385054151E-2</c:v>
                </c:pt>
                <c:pt idx="291">
                  <c:v>2.3861303430000001E-2</c:v>
                </c:pt>
                <c:pt idx="292">
                  <c:v>2.3872070210000002E-2</c:v>
                </c:pt>
                <c:pt idx="293">
                  <c:v>2.3904399680000001E-2</c:v>
                </c:pt>
                <c:pt idx="294">
                  <c:v>2.3915185870000001E-2</c:v>
                </c:pt>
                <c:pt idx="295">
                  <c:v>2.392597695E-2</c:v>
                </c:pt>
                <c:pt idx="296">
                  <c:v>2.3936772910000001E-2</c:v>
                </c:pt>
                <c:pt idx="297">
                  <c:v>2.3947573739999999E-2</c:v>
                </c:pt>
                <c:pt idx="298">
                  <c:v>2.3980005460000002E-2</c:v>
                </c:pt>
                <c:pt idx="299">
                  <c:v>2.3990825809999998E-2</c:v>
                </c:pt>
                <c:pt idx="300">
                  <c:v>2.4001650999999999E-2</c:v>
                </c:pt>
                <c:pt idx="301">
                  <c:v>2.4012481110000001E-2</c:v>
                </c:pt>
                <c:pt idx="302">
                  <c:v>2.402331609E-2</c:v>
                </c:pt>
                <c:pt idx="303">
                  <c:v>2.405585038E-2</c:v>
                </c:pt>
                <c:pt idx="304">
                  <c:v>2.4066704929999998E-2</c:v>
                </c:pt>
                <c:pt idx="305">
                  <c:v>2.4077564379999999E-2</c:v>
                </c:pt>
                <c:pt idx="306">
                  <c:v>2.408842873E-2</c:v>
                </c:pt>
                <c:pt idx="307">
                  <c:v>2.4099298000000002E-2</c:v>
                </c:pt>
                <c:pt idx="308">
                  <c:v>2.4131935190000002E-2</c:v>
                </c:pt>
                <c:pt idx="309">
                  <c:v>2.414282408E-2</c:v>
                </c:pt>
                <c:pt idx="310">
                  <c:v>2.4153717889999999E-2</c:v>
                </c:pt>
                <c:pt idx="311">
                  <c:v>2.4164616600000001E-2</c:v>
                </c:pt>
                <c:pt idx="312">
                  <c:v>2.417552022E-2</c:v>
                </c:pt>
                <c:pt idx="313">
                  <c:v>2.4208260670000002E-2</c:v>
                </c:pt>
                <c:pt idx="314">
                  <c:v>2.421918398E-2</c:v>
                </c:pt>
                <c:pt idx="315">
                  <c:v>2.4230112239999997E-2</c:v>
                </c:pt>
                <c:pt idx="316">
                  <c:v>2.424104543E-2</c:v>
                </c:pt>
                <c:pt idx="317">
                  <c:v>2.428482752E-2</c:v>
                </c:pt>
                <c:pt idx="318">
                  <c:v>2.429578542E-2</c:v>
                </c:pt>
                <c:pt idx="319">
                  <c:v>2.4306748199999999E-2</c:v>
                </c:pt>
                <c:pt idx="320">
                  <c:v>2.4317715980000001E-2</c:v>
                </c:pt>
                <c:pt idx="321">
                  <c:v>2.43286887E-2</c:v>
                </c:pt>
                <c:pt idx="322">
                  <c:v>2.4361636549999999E-2</c:v>
                </c:pt>
                <c:pt idx="323">
                  <c:v>2.4372629109999999E-2</c:v>
                </c:pt>
                <c:pt idx="324">
                  <c:v>2.4383626589999999E-2</c:v>
                </c:pt>
                <c:pt idx="325">
                  <c:v>2.439462903E-2</c:v>
                </c:pt>
                <c:pt idx="326">
                  <c:v>2.4405636460000001E-2</c:v>
                </c:pt>
                <c:pt idx="327">
                  <c:v>2.443868855E-2</c:v>
                </c:pt>
                <c:pt idx="328">
                  <c:v>2.444971584E-2</c:v>
                </c:pt>
                <c:pt idx="329">
                  <c:v>2.447178538E-2</c:v>
                </c:pt>
                <c:pt idx="330">
                  <c:v>2.4482827610000001E-2</c:v>
                </c:pt>
                <c:pt idx="331">
                  <c:v>2.4515984229999999E-2</c:v>
                </c:pt>
                <c:pt idx="332">
                  <c:v>2.4527046390000001E-2</c:v>
                </c:pt>
                <c:pt idx="333">
                  <c:v>2.4538113569999999E-2</c:v>
                </c:pt>
                <c:pt idx="334">
                  <c:v>2.4549185729999999E-2</c:v>
                </c:pt>
                <c:pt idx="335">
                  <c:v>2.456026289E-2</c:v>
                </c:pt>
                <c:pt idx="336">
                  <c:v>2.4593524370000001E-2</c:v>
                </c:pt>
                <c:pt idx="337">
                  <c:v>2.4604621559999998E-2</c:v>
                </c:pt>
                <c:pt idx="338">
                  <c:v>2.4615723710000002E-2</c:v>
                </c:pt>
                <c:pt idx="339">
                  <c:v>2.4626830910000001E-2</c:v>
                </c:pt>
                <c:pt idx="340">
                  <c:v>2.46379431E-2</c:v>
                </c:pt>
                <c:pt idx="341">
                  <c:v>2.4671309789999998E-2</c:v>
                </c:pt>
                <c:pt idx="342">
                  <c:v>2.468244206E-2</c:v>
                </c:pt>
                <c:pt idx="343">
                  <c:v>2.4693579350000001E-2</c:v>
                </c:pt>
                <c:pt idx="344">
                  <c:v>2.4704721649999997E-2</c:v>
                </c:pt>
                <c:pt idx="345">
                  <c:v>2.4715868989999997E-2</c:v>
                </c:pt>
                <c:pt idx="346">
                  <c:v>2.4749341229999999E-2</c:v>
                </c:pt>
                <c:pt idx="347">
                  <c:v>2.476050871E-2</c:v>
                </c:pt>
                <c:pt idx="348">
                  <c:v>2.4771681219999998E-2</c:v>
                </c:pt>
                <c:pt idx="349">
                  <c:v>2.4782858760000002E-2</c:v>
                </c:pt>
                <c:pt idx="350">
                  <c:v>2.4794041350000001E-2</c:v>
                </c:pt>
                <c:pt idx="351">
                  <c:v>2.482761944E-2</c:v>
                </c:pt>
                <c:pt idx="352">
                  <c:v>2.4838822230000002E-2</c:v>
                </c:pt>
                <c:pt idx="353">
                  <c:v>2.4850030089999999E-2</c:v>
                </c:pt>
                <c:pt idx="354">
                  <c:v>2.4861243010000002E-2</c:v>
                </c:pt>
                <c:pt idx="355">
                  <c:v>2.4872460989999998E-2</c:v>
                </c:pt>
                <c:pt idx="356">
                  <c:v>2.4906145260000002E-2</c:v>
                </c:pt>
                <c:pt idx="357">
                  <c:v>2.4917383500000001E-2</c:v>
                </c:pt>
                <c:pt idx="358">
                  <c:v>2.4928626799999999E-2</c:v>
                </c:pt>
                <c:pt idx="359">
                  <c:v>2.495112863E-2</c:v>
                </c:pt>
                <c:pt idx="360">
                  <c:v>2.4984919460000001E-2</c:v>
                </c:pt>
                <c:pt idx="361">
                  <c:v>2.4996193219999997E-2</c:v>
                </c:pt>
                <c:pt idx="362">
                  <c:v>2.5007472100000001E-2</c:v>
                </c:pt>
                <c:pt idx="363">
                  <c:v>2.501875605E-2</c:v>
                </c:pt>
                <c:pt idx="364">
                  <c:v>2.5030045090000001E-2</c:v>
                </c:pt>
                <c:pt idx="365">
                  <c:v>2.5063942799999999E-2</c:v>
                </c:pt>
                <c:pt idx="366">
                  <c:v>2.5075252230000001E-2</c:v>
                </c:pt>
                <c:pt idx="367">
                  <c:v>2.5086566760000002E-2</c:v>
                </c:pt>
                <c:pt idx="368">
                  <c:v>2.5097886390000001E-2</c:v>
                </c:pt>
                <c:pt idx="369">
                  <c:v>2.5109211149999998E-2</c:v>
                </c:pt>
                <c:pt idx="370">
                  <c:v>2.5143216079999999E-2</c:v>
                </c:pt>
                <c:pt idx="371">
                  <c:v>2.5154561289999999E-2</c:v>
                </c:pt>
                <c:pt idx="372">
                  <c:v>2.5165911620000002E-2</c:v>
                </c:pt>
                <c:pt idx="373">
                  <c:v>2.517726704E-2</c:v>
                </c:pt>
                <c:pt idx="374">
                  <c:v>2.5188627620000001E-2</c:v>
                </c:pt>
                <c:pt idx="375">
                  <c:v>2.5222740090000001E-2</c:v>
                </c:pt>
                <c:pt idx="376">
                  <c:v>2.5234121160000001E-2</c:v>
                </c:pt>
                <c:pt idx="377">
                  <c:v>2.5245507399999999E-2</c:v>
                </c:pt>
                <c:pt idx="378">
                  <c:v>2.2733719289999999E-2</c:v>
                </c:pt>
                <c:pt idx="379">
                  <c:v>2.2743986440000002E-2</c:v>
                </c:pt>
                <c:pt idx="380">
                  <c:v>2.277481571E-2</c:v>
                </c:pt>
                <c:pt idx="381">
                  <c:v>2.2785101420000002E-2</c:v>
                </c:pt>
                <c:pt idx="382">
                  <c:v>2.2795391750000001E-2</c:v>
                </c:pt>
                <c:pt idx="383">
                  <c:v>2.2805686750000002E-2</c:v>
                </c:pt>
                <c:pt idx="384">
                  <c:v>2.2815986420000003E-2</c:v>
                </c:pt>
                <c:pt idx="385">
                  <c:v>2.2846913269999998E-2</c:v>
                </c:pt>
                <c:pt idx="386">
                  <c:v>2.2857231530000001E-2</c:v>
                </c:pt>
                <c:pt idx="387">
                  <c:v>2.2867554460000002E-2</c:v>
                </c:pt>
                <c:pt idx="388">
                  <c:v>2.2877882049999999E-2</c:v>
                </c:pt>
                <c:pt idx="389">
                  <c:v>2.2888214309999998E-2</c:v>
                </c:pt>
                <c:pt idx="390">
                  <c:v>2.2919239079999997E-2</c:v>
                </c:pt>
                <c:pt idx="391">
                  <c:v>2.2929590010000001E-2</c:v>
                </c:pt>
                <c:pt idx="392">
                  <c:v>2.293994563E-2</c:v>
                </c:pt>
                <c:pt idx="393">
                  <c:v>2.2950305899999999E-2</c:v>
                </c:pt>
                <c:pt idx="394">
                  <c:v>2.2960670829999998E-2</c:v>
                </c:pt>
                <c:pt idx="395">
                  <c:v>2.2991793829999999E-2</c:v>
                </c:pt>
                <c:pt idx="396">
                  <c:v>2.3002177539999998E-2</c:v>
                </c:pt>
                <c:pt idx="397">
                  <c:v>2.3012565920000002E-2</c:v>
                </c:pt>
                <c:pt idx="398">
                  <c:v>2.302295901E-2</c:v>
                </c:pt>
                <c:pt idx="399">
                  <c:v>2.303335678E-2</c:v>
                </c:pt>
                <c:pt idx="400">
                  <c:v>2.3064578280000001E-2</c:v>
                </c:pt>
                <c:pt idx="401">
                  <c:v>2.8179436379999999E-2</c:v>
                </c:pt>
                <c:pt idx="402">
                  <c:v>2.5627044769999999E-2</c:v>
                </c:pt>
                <c:pt idx="403">
                  <c:v>2.5638033899999999E-2</c:v>
                </c:pt>
                <c:pt idx="404">
                  <c:v>2.5649027750000001E-2</c:v>
                </c:pt>
                <c:pt idx="405">
                  <c:v>2.5682037710000001E-2</c:v>
                </c:pt>
                <c:pt idx="406">
                  <c:v>2.5693050500000002E-2</c:v>
                </c:pt>
                <c:pt idx="407">
                  <c:v>2.5704068019999998E-2</c:v>
                </c:pt>
                <c:pt idx="408">
                  <c:v>2.5715090280000002E-2</c:v>
                </c:pt>
                <c:pt idx="409">
                  <c:v>2.57261173E-2</c:v>
                </c:pt>
                <c:pt idx="410">
                  <c:v>2.5759226749999999E-2</c:v>
                </c:pt>
                <c:pt idx="411">
                  <c:v>2.5770272719999997E-2</c:v>
                </c:pt>
                <c:pt idx="412">
                  <c:v>2.5781323450000001E-2</c:v>
                </c:pt>
                <c:pt idx="413">
                  <c:v>2.579237895E-2</c:v>
                </c:pt>
                <c:pt idx="414">
                  <c:v>2.580343916E-2</c:v>
                </c:pt>
                <c:pt idx="415">
                  <c:v>2.583664842E-2</c:v>
                </c:pt>
                <c:pt idx="416">
                  <c:v>2.5847727710000001E-2</c:v>
                </c:pt>
                <c:pt idx="417">
                  <c:v>2.5858811760000003E-2</c:v>
                </c:pt>
                <c:pt idx="418">
                  <c:v>2.5869900559999999E-2</c:v>
                </c:pt>
                <c:pt idx="419">
                  <c:v>2.5880994149999999E-2</c:v>
                </c:pt>
                <c:pt idx="420">
                  <c:v>2.5914303480000001E-2</c:v>
                </c:pt>
                <c:pt idx="421">
                  <c:v>2.5925416180000001E-2</c:v>
                </c:pt>
                <c:pt idx="422">
                  <c:v>2.5936533640000002E-2</c:v>
                </c:pt>
                <c:pt idx="423">
                  <c:v>2.5947655870000003E-2</c:v>
                </c:pt>
                <c:pt idx="424">
                  <c:v>2.595878289E-2</c:v>
                </c:pt>
                <c:pt idx="425">
                  <c:v>2.5992192649999999E-2</c:v>
                </c:pt>
                <c:pt idx="426">
                  <c:v>2.6014489789999998E-2</c:v>
                </c:pt>
                <c:pt idx="427">
                  <c:v>2.6025645559999998E-2</c:v>
                </c:pt>
                <c:pt idx="428">
                  <c:v>2.6036806120000002E-2</c:v>
                </c:pt>
                <c:pt idx="429">
                  <c:v>2.6070316609999998E-2</c:v>
                </c:pt>
                <c:pt idx="430">
                  <c:v>2.6081496370000002E-2</c:v>
                </c:pt>
                <c:pt idx="431">
                  <c:v>2.6092680980000001E-2</c:v>
                </c:pt>
                <c:pt idx="432">
                  <c:v>2.6103870370000001E-2</c:v>
                </c:pt>
                <c:pt idx="433">
                  <c:v>4.3423380470000002E-2</c:v>
                </c:pt>
                <c:pt idx="434">
                  <c:v>4.3474762729999998E-2</c:v>
                </c:pt>
                <c:pt idx="435">
                  <c:v>4.3494310950000004E-2</c:v>
                </c:pt>
                <c:pt idx="436">
                  <c:v>4.3513868170000004E-2</c:v>
                </c:pt>
                <c:pt idx="437">
                  <c:v>4.3533434340000003E-2</c:v>
                </c:pt>
                <c:pt idx="438">
                  <c:v>4.355301281E-2</c:v>
                </c:pt>
                <c:pt idx="439">
                  <c:v>4.3604552009999999E-2</c:v>
                </c:pt>
                <c:pt idx="440">
                  <c:v>4.3624162250000001E-2</c:v>
                </c:pt>
                <c:pt idx="441">
                  <c:v>4.3643777959999998E-2</c:v>
                </c:pt>
                <c:pt idx="442">
                  <c:v>4.3663396260000001E-2</c:v>
                </c:pt>
                <c:pt idx="443">
                  <c:v>4.3683026850000001E-2</c:v>
                </c:pt>
                <c:pt idx="444">
                  <c:v>4.3734723750000003E-2</c:v>
                </c:pt>
                <c:pt idx="445">
                  <c:v>4.3754395759999995E-2</c:v>
                </c:pt>
                <c:pt idx="446">
                  <c:v>4.3774076869999998E-2</c:v>
                </c:pt>
                <c:pt idx="447">
                  <c:v>4.3793767070000003E-2</c:v>
                </c:pt>
                <c:pt idx="448">
                  <c:v>4.3813466229999994E-2</c:v>
                </c:pt>
                <c:pt idx="449">
                  <c:v>4.3865317960000004E-2</c:v>
                </c:pt>
                <c:pt idx="450">
                  <c:v>4.3901137890000004E-2</c:v>
                </c:pt>
                <c:pt idx="451">
                  <c:v>4.3920884960000003E-2</c:v>
                </c:pt>
                <c:pt idx="452">
                  <c:v>4.394063753E-2</c:v>
                </c:pt>
                <c:pt idx="453">
                  <c:v>4.3992642369999994E-2</c:v>
                </c:pt>
                <c:pt idx="454">
                  <c:v>4.4012430380000002E-2</c:v>
                </c:pt>
                <c:pt idx="455">
                  <c:v>4.4032227439999995E-2</c:v>
                </c:pt>
                <c:pt idx="456">
                  <c:v>4.4052033549999994E-2</c:v>
                </c:pt>
                <c:pt idx="457">
                  <c:v>4.4071848720000001E-2</c:v>
                </c:pt>
                <c:pt idx="458">
                  <c:v>4.4124009369999995E-2</c:v>
                </c:pt>
                <c:pt idx="459">
                  <c:v>4.4143856580000002E-2</c:v>
                </c:pt>
                <c:pt idx="460">
                  <c:v>4.4163713E-2</c:v>
                </c:pt>
                <c:pt idx="461">
                  <c:v>4.4183578439999996E-2</c:v>
                </c:pt>
                <c:pt idx="462">
                  <c:v>4.4203452999999997E-2</c:v>
                </c:pt>
                <c:pt idx="463">
                  <c:v>4.4255769770000002E-2</c:v>
                </c:pt>
                <c:pt idx="464">
                  <c:v>4.4291910149999995E-2</c:v>
                </c:pt>
                <c:pt idx="465">
                  <c:v>4.4311833109999997E-2</c:v>
                </c:pt>
                <c:pt idx="466">
                  <c:v>4.4331765119999998E-2</c:v>
                </c:pt>
                <c:pt idx="467">
                  <c:v>4.4384236229999999E-2</c:v>
                </c:pt>
                <c:pt idx="468">
                  <c:v>4.4404200460000001E-2</c:v>
                </c:pt>
                <c:pt idx="469">
                  <c:v>4.4424173679999998E-2</c:v>
                </c:pt>
                <c:pt idx="470">
                  <c:v>4.4444152840000001E-2</c:v>
                </c:pt>
                <c:pt idx="471">
                  <c:v>4.446414127E-2</c:v>
                </c:pt>
                <c:pt idx="472">
                  <c:v>4.4533093840000003E-2</c:v>
                </c:pt>
                <c:pt idx="473">
                  <c:v>4.4553124780000002E-2</c:v>
                </c:pt>
                <c:pt idx="474">
                  <c:v>4.4573164899999997E-2</c:v>
                </c:pt>
                <c:pt idx="475">
                  <c:v>4.4593214290000002E-2</c:v>
                </c:pt>
                <c:pt idx="476">
                  <c:v>4.4645998030000002E-2</c:v>
                </c:pt>
                <c:pt idx="477">
                  <c:v>4.4666079799999994E-2</c:v>
                </c:pt>
                <c:pt idx="478">
                  <c:v>4.4686170829999997E-2</c:v>
                </c:pt>
                <c:pt idx="479">
                  <c:v>4.4706270979999997E-2</c:v>
                </c:pt>
                <c:pt idx="480">
                  <c:v>4.4726380479999994E-2</c:v>
                </c:pt>
                <c:pt idx="481">
                  <c:v>4.4779322240000002E-2</c:v>
                </c:pt>
                <c:pt idx="482">
                  <c:v>4.4799464079999997E-2</c:v>
                </c:pt>
                <c:pt idx="483">
                  <c:v>4.4819615299999997E-2</c:v>
                </c:pt>
                <c:pt idx="484">
                  <c:v>4.4839775979999996E-2</c:v>
                </c:pt>
                <c:pt idx="485">
                  <c:v>4.4859945619999994E-2</c:v>
                </c:pt>
                <c:pt idx="486">
                  <c:v>4.491304594E-2</c:v>
                </c:pt>
                <c:pt idx="487">
                  <c:v>4.4933248259999996E-2</c:v>
                </c:pt>
                <c:pt idx="488">
                  <c:v>4.4953459810000006E-2</c:v>
                </c:pt>
                <c:pt idx="489">
                  <c:v>4.4973680680000003E-2</c:v>
                </c:pt>
                <c:pt idx="490">
                  <c:v>4.4993910880000001E-2</c:v>
                </c:pt>
                <c:pt idx="491">
                  <c:v>4.5047173650000001E-2</c:v>
                </c:pt>
                <c:pt idx="492">
                  <c:v>4.506743647E-2</c:v>
                </c:pt>
                <c:pt idx="493">
                  <c:v>4.5087708659999996E-2</c:v>
                </c:pt>
                <c:pt idx="494">
                  <c:v>4.5107990180000002E-2</c:v>
                </c:pt>
                <c:pt idx="495">
                  <c:v>4.5128281040000003E-2</c:v>
                </c:pt>
                <c:pt idx="496">
                  <c:v>4.5181699729999997E-2</c:v>
                </c:pt>
                <c:pt idx="497">
                  <c:v>4.5202023530000003E-2</c:v>
                </c:pt>
                <c:pt idx="498">
                  <c:v>4.5222356310000003E-2</c:v>
                </c:pt>
                <c:pt idx="499">
                  <c:v>0.1565006806</c:v>
                </c:pt>
                <c:pt idx="500">
                  <c:v>0.15656970063</c:v>
                </c:pt>
                <c:pt idx="501">
                  <c:v>0.15667196986000001</c:v>
                </c:pt>
                <c:pt idx="502">
                  <c:v>0.15674106677000002</c:v>
                </c:pt>
                <c:pt idx="503">
                  <c:v>0.15681019285</c:v>
                </c:pt>
                <c:pt idx="504">
                  <c:v>0.15687935029</c:v>
                </c:pt>
                <c:pt idx="505">
                  <c:v>0.15694853690999999</c:v>
                </c:pt>
                <c:pt idx="506">
                  <c:v>0.15705107215</c:v>
                </c:pt>
                <c:pt idx="507">
                  <c:v>0.15712033581000001</c:v>
                </c:pt>
                <c:pt idx="508">
                  <c:v>0.15718963093999999</c:v>
                </c:pt>
                <c:pt idx="509">
                  <c:v>0.15725895508000001</c:v>
                </c:pt>
                <c:pt idx="510">
                  <c:v>0.15732831068</c:v>
                </c:pt>
                <c:pt idx="511">
                  <c:v>0.15743111463000001</c:v>
                </c:pt>
                <c:pt idx="512">
                  <c:v>0.15750054502999999</c:v>
                </c:pt>
                <c:pt idx="513">
                  <c:v>0.15757000928000001</c:v>
                </c:pt>
                <c:pt idx="514">
                  <c:v>0.15763950261000001</c:v>
                </c:pt>
                <c:pt idx="515">
                  <c:v>0.15770902527</c:v>
                </c:pt>
                <c:pt idx="516">
                  <c:v>0.15781209847</c:v>
                </c:pt>
                <c:pt idx="517">
                  <c:v>0.15788169827000001</c:v>
                </c:pt>
                <c:pt idx="518">
                  <c:v>0.15795132928</c:v>
                </c:pt>
                <c:pt idx="519">
                  <c:v>0.15802098995</c:v>
                </c:pt>
                <c:pt idx="520">
                  <c:v>0.15809304281</c:v>
                </c:pt>
                <c:pt idx="521">
                  <c:v>0.15819874671</c:v>
                </c:pt>
                <c:pt idx="522">
                  <c:v>0.15827087969</c:v>
                </c:pt>
                <c:pt idx="523">
                  <c:v>0.15834304413</c:v>
                </c:pt>
                <c:pt idx="524">
                  <c:v>0.15841524463999998</c:v>
                </c:pt>
                <c:pt idx="525">
                  <c:v>0.15848747702000002</c:v>
                </c:pt>
                <c:pt idx="526">
                  <c:v>0.15859346103999999</c:v>
                </c:pt>
                <c:pt idx="527">
                  <c:v>0.15866577328999998</c:v>
                </c:pt>
                <c:pt idx="528">
                  <c:v>0.15873811955</c:v>
                </c:pt>
                <c:pt idx="529">
                  <c:v>0.15881049958000001</c:v>
                </c:pt>
                <c:pt idx="530">
                  <c:v>0.15888291359000001</c:v>
                </c:pt>
                <c:pt idx="531">
                  <c:v>0.15898917836000001</c:v>
                </c:pt>
                <c:pt idx="532">
                  <c:v>0.15906167254</c:v>
                </c:pt>
                <c:pt idx="533">
                  <c:v>0.15913420049999999</c:v>
                </c:pt>
                <c:pt idx="534">
                  <c:v>0.15920676047999999</c:v>
                </c:pt>
                <c:pt idx="535">
                  <c:v>0.15927940154</c:v>
                </c:pt>
                <c:pt idx="536">
                  <c:v>0.18489912627000002</c:v>
                </c:pt>
                <c:pt idx="537">
                  <c:v>0.18498490894</c:v>
                </c:pt>
                <c:pt idx="538">
                  <c:v>0.18507073019999998</c:v>
                </c:pt>
                <c:pt idx="539">
                  <c:v>0.21070027728000001</c:v>
                </c:pt>
                <c:pt idx="540">
                  <c:v>0.21079882662000002</c:v>
                </c:pt>
                <c:pt idx="541">
                  <c:v>0.21093151302000002</c:v>
                </c:pt>
                <c:pt idx="542">
                  <c:v>0.21103023797999998</c:v>
                </c:pt>
                <c:pt idx="543">
                  <c:v>0.21112901009999999</c:v>
                </c:pt>
                <c:pt idx="544">
                  <c:v>0.21122782838999998</c:v>
                </c:pt>
                <c:pt idx="545">
                  <c:v>0.21132669546000002</c:v>
                </c:pt>
                <c:pt idx="546">
                  <c:v>0.21145973000999999</c:v>
                </c:pt>
                <c:pt idx="547">
                  <c:v>0.21155863419999998</c:v>
                </c:pt>
                <c:pt idx="548">
                  <c:v>0.21165765269999998</c:v>
                </c:pt>
                <c:pt idx="549">
                  <c:v>0.21175672046000002</c:v>
                </c:pt>
                <c:pt idx="550">
                  <c:v>0.21185917437000001</c:v>
                </c:pt>
                <c:pt idx="551">
                  <c:v>0.21203016034</c:v>
                </c:pt>
                <c:pt idx="552">
                  <c:v>0.21213274554</c:v>
                </c:pt>
                <c:pt idx="553">
                  <c:v>0.21223538112000001</c:v>
                </c:pt>
                <c:pt idx="554">
                  <c:v>0.21237239316999998</c:v>
                </c:pt>
                <c:pt idx="555">
                  <c:v>0.21247514218999999</c:v>
                </c:pt>
                <c:pt idx="556">
                  <c:v>0.21257801109999999</c:v>
                </c:pt>
                <c:pt idx="557">
                  <c:v>0.21268092947</c:v>
                </c:pt>
                <c:pt idx="558">
                  <c:v>0.21278382889</c:v>
                </c:pt>
                <c:pt idx="559">
                  <c:v>0.21292127919000001</c:v>
                </c:pt>
                <c:pt idx="560">
                  <c:v>0.21302429443000001</c:v>
                </c:pt>
                <c:pt idx="561">
                  <c:v>0.21312736111000002</c:v>
                </c:pt>
                <c:pt idx="562">
                  <c:v>0.2132305468</c:v>
                </c:pt>
                <c:pt idx="563">
                  <c:v>0.21333378084000001</c:v>
                </c:pt>
                <c:pt idx="564">
                  <c:v>0.21347160146999999</c:v>
                </c:pt>
                <c:pt idx="565">
                  <c:v>0.31465805898999999</c:v>
                </c:pt>
                <c:pt idx="566">
                  <c:v>0.31480577997000003</c:v>
                </c:pt>
                <c:pt idx="567">
                  <c:v>0.31495357063999996</c:v>
                </c:pt>
                <c:pt idx="568">
                  <c:v>0.31510143281000003</c:v>
                </c:pt>
                <c:pt idx="569">
                  <c:v>0.31528410648999999</c:v>
                </c:pt>
                <c:pt idx="570">
                  <c:v>0.31543212367000001</c:v>
                </c:pt>
                <c:pt idx="571">
                  <c:v>0.31558010182999996</c:v>
                </c:pt>
                <c:pt idx="572">
                  <c:v>0.31572804610999999</c:v>
                </c:pt>
                <c:pt idx="573">
                  <c:v>0.31587616332999996</c:v>
                </c:pt>
                <c:pt idx="574">
                  <c:v>0.31605898900000001</c:v>
                </c:pt>
                <c:pt idx="575">
                  <c:v>0.32889554814999999</c:v>
                </c:pt>
                <c:pt idx="576">
                  <c:v>0.32905199022000003</c:v>
                </c:pt>
                <c:pt idx="577">
                  <c:v>0.32920873393</c:v>
                </c:pt>
                <c:pt idx="578">
                  <c:v>0.32936566923999999</c:v>
                </c:pt>
                <c:pt idx="579">
                  <c:v>0.32955752500999996</c:v>
                </c:pt>
                <c:pt idx="580">
                  <c:v>0.32971496318999999</c:v>
                </c:pt>
                <c:pt idx="581">
                  <c:v>0.32987214187000002</c:v>
                </c:pt>
                <c:pt idx="582">
                  <c:v>0.33009903823000003</c:v>
                </c:pt>
                <c:pt idx="583">
                  <c:v>0.33025889206999998</c:v>
                </c:pt>
                <c:pt idx="584">
                  <c:v>0.33041893883999995</c:v>
                </c:pt>
                <c:pt idx="585">
                  <c:v>0.33057906643000001</c:v>
                </c:pt>
                <c:pt idx="586">
                  <c:v>0.33073927127999997</c:v>
                </c:pt>
                <c:pt idx="587">
                  <c:v>0.33093483717</c:v>
                </c:pt>
                <c:pt idx="588">
                  <c:v>0.33109532779</c:v>
                </c:pt>
                <c:pt idx="589">
                  <c:v>0.33023433837999999</c:v>
                </c:pt>
                <c:pt idx="590">
                  <c:v>0.33039453139999997</c:v>
                </c:pt>
                <c:pt idx="591">
                  <c:v>0.33055480191000003</c:v>
                </c:pt>
                <c:pt idx="592">
                  <c:v>0.33075031005</c:v>
                </c:pt>
                <c:pt idx="593">
                  <c:v>0.33091064192000003</c:v>
                </c:pt>
                <c:pt idx="594">
                  <c:v>0.33107105520999996</c:v>
                </c:pt>
                <c:pt idx="595">
                  <c:v>0.33123142843000003</c:v>
                </c:pt>
                <c:pt idx="596">
                  <c:v>0.33139176862000003</c:v>
                </c:pt>
                <c:pt idx="597">
                  <c:v>0.33158745336000001</c:v>
                </c:pt>
                <c:pt idx="598">
                  <c:v>0.33174785126</c:v>
                </c:pt>
                <c:pt idx="599">
                  <c:v>0.33190855481999998</c:v>
                </c:pt>
                <c:pt idx="600">
                  <c:v>0.33206933981999998</c:v>
                </c:pt>
                <c:pt idx="601">
                  <c:v>0.33223020270999998</c:v>
                </c:pt>
                <c:pt idx="602">
                  <c:v>0.33242674106999998</c:v>
                </c:pt>
                <c:pt idx="603">
                  <c:v>0.33258800551000001</c:v>
                </c:pt>
                <c:pt idx="604">
                  <c:v>0.33274923870000001</c:v>
                </c:pt>
                <c:pt idx="605">
                  <c:v>0.33291054856000002</c:v>
                </c:pt>
                <c:pt idx="606">
                  <c:v>0.33307182115</c:v>
                </c:pt>
                <c:pt idx="607">
                  <c:v>0.33326876597000005</c:v>
                </c:pt>
                <c:pt idx="608">
                  <c:v>0.33343021436000003</c:v>
                </c:pt>
                <c:pt idx="609">
                  <c:v>0.33359139995999998</c:v>
                </c:pt>
                <c:pt idx="610">
                  <c:v>0.33375334943000001</c:v>
                </c:pt>
                <c:pt idx="611">
                  <c:v>0.33391515356000001</c:v>
                </c:pt>
                <c:pt idx="612">
                  <c:v>0.33411261604000003</c:v>
                </c:pt>
                <c:pt idx="613">
                  <c:v>0.33427482194000002</c:v>
                </c:pt>
                <c:pt idx="614">
                  <c:v>0.33443687845999998</c:v>
                </c:pt>
                <c:pt idx="615">
                  <c:v>0.33459889787999997</c:v>
                </c:pt>
                <c:pt idx="616">
                  <c:v>0.33476317820000001</c:v>
                </c:pt>
                <c:pt idx="617">
                  <c:v>0.33496346127999999</c:v>
                </c:pt>
                <c:pt idx="618">
                  <c:v>0.33512792002999997</c:v>
                </c:pt>
                <c:pt idx="619">
                  <c:v>0.33529234777999994</c:v>
                </c:pt>
                <c:pt idx="620">
                  <c:v>0.33545766063999999</c:v>
                </c:pt>
                <c:pt idx="621">
                  <c:v>0.33562305367</c:v>
                </c:pt>
                <c:pt idx="622">
                  <c:v>0.33582432957999997</c:v>
                </c:pt>
                <c:pt idx="623">
                  <c:v>0.33598979022000003</c:v>
                </c:pt>
                <c:pt idx="624">
                  <c:v>0.33615556602999996</c:v>
                </c:pt>
                <c:pt idx="625">
                  <c:v>0.33633923970000001</c:v>
                </c:pt>
                <c:pt idx="626">
                  <c:v>0.33654086039999997</c:v>
                </c:pt>
                <c:pt idx="627">
                  <c:v>0.33670667737999999</c:v>
                </c:pt>
                <c:pt idx="628">
                  <c:v>0.33687246241000002</c:v>
                </c:pt>
                <c:pt idx="629">
                  <c:v>0.33703844599999999</c:v>
                </c:pt>
                <c:pt idx="630">
                  <c:v>0.33422749381</c:v>
                </c:pt>
                <c:pt idx="631">
                  <c:v>0.33442597002999996</c:v>
                </c:pt>
                <c:pt idx="632">
                  <c:v>0.33459121750999998</c:v>
                </c:pt>
                <c:pt idx="633">
                  <c:v>0.33475666767000001</c:v>
                </c:pt>
                <c:pt idx="634">
                  <c:v>0.33492208188</c:v>
                </c:pt>
                <c:pt idx="635">
                  <c:v>0.33508757916000004</c:v>
                </c:pt>
                <c:pt idx="636">
                  <c:v>0.33528658192999999</c:v>
                </c:pt>
                <c:pt idx="637">
                  <c:v>0.33545225900999998</c:v>
                </c:pt>
                <c:pt idx="638">
                  <c:v>0.33561801994000001</c:v>
                </c:pt>
                <c:pt idx="639">
                  <c:v>0.33578398359</c:v>
                </c:pt>
                <c:pt idx="640">
                  <c:v>0.33595002800000001</c:v>
                </c:pt>
                <c:pt idx="641">
                  <c:v>0.33614967904000004</c:v>
                </c:pt>
                <c:pt idx="642">
                  <c:v>0.33631590570999997</c:v>
                </c:pt>
                <c:pt idx="643">
                  <c:v>0.33648209783999999</c:v>
                </c:pt>
                <c:pt idx="644">
                  <c:v>0.33664837270999998</c:v>
                </c:pt>
                <c:pt idx="645">
                  <c:v>0.33681763674999998</c:v>
                </c:pt>
                <c:pt idx="646">
                  <c:v>0.33702060793999999</c:v>
                </c:pt>
                <c:pt idx="647">
                  <c:v>0.33719017387</c:v>
                </c:pt>
                <c:pt idx="648">
                  <c:v>0.33735970939999999</c:v>
                </c:pt>
                <c:pt idx="649">
                  <c:v>0.33752933387</c:v>
                </c:pt>
                <c:pt idx="650">
                  <c:v>0.32864527469999999</c:v>
                </c:pt>
                <c:pt idx="651">
                  <c:v>0.31592668304000004</c:v>
                </c:pt>
                <c:pt idx="652">
                  <c:v>0.30918383460000004</c:v>
                </c:pt>
                <c:pt idx="653">
                  <c:v>0.30933951764000001</c:v>
                </c:pt>
                <c:pt idx="654">
                  <c:v>0.30949527960000001</c:v>
                </c:pt>
                <c:pt idx="655">
                  <c:v>0.30965112089999997</c:v>
                </c:pt>
                <c:pt idx="656">
                  <c:v>0.30982182949000003</c:v>
                </c:pt>
                <c:pt idx="657">
                  <c:v>0.30997783491000003</c:v>
                </c:pt>
                <c:pt idx="658">
                  <c:v>0.31013392267000001</c:v>
                </c:pt>
                <c:pt idx="659">
                  <c:v>0.31029008732999996</c:v>
                </c:pt>
                <c:pt idx="660">
                  <c:v>0.31044633017000001</c:v>
                </c:pt>
                <c:pt idx="661">
                  <c:v>0.31061748637000003</c:v>
                </c:pt>
                <c:pt idx="662">
                  <c:v>0.31077389677</c:v>
                </c:pt>
                <c:pt idx="663">
                  <c:v>0.31093038612000001</c:v>
                </c:pt>
                <c:pt idx="664">
                  <c:v>0.31108695776</c:v>
                </c:pt>
                <c:pt idx="665">
                  <c:v>0.31124349475000002</c:v>
                </c:pt>
                <c:pt idx="666">
                  <c:v>0.31141509781999999</c:v>
                </c:pt>
                <c:pt idx="667">
                  <c:v>0.31157180024999998</c:v>
                </c:pt>
                <c:pt idx="668">
                  <c:v>0.31172869683999999</c:v>
                </c:pt>
                <c:pt idx="669">
                  <c:v>0.31188567033999998</c:v>
                </c:pt>
                <c:pt idx="670">
                  <c:v>0.31204261339</c:v>
                </c:pt>
                <c:pt idx="671">
                  <c:v>0.31221455514999996</c:v>
                </c:pt>
                <c:pt idx="672">
                  <c:v>0.31237166388999998</c:v>
                </c:pt>
                <c:pt idx="673">
                  <c:v>0.31252885135000003</c:v>
                </c:pt>
                <c:pt idx="674">
                  <c:v>0.31268611937000002</c:v>
                </c:pt>
                <c:pt idx="675">
                  <c:v>0.31283763191000002</c:v>
                </c:pt>
                <c:pt idx="676">
                  <c:v>0.31300417731000002</c:v>
                </c:pt>
                <c:pt idx="677">
                  <c:v>0.31315584179</c:v>
                </c:pt>
                <c:pt idx="678">
                  <c:v>0.31331507204000003</c:v>
                </c:pt>
                <c:pt idx="679">
                  <c:v>0.31346689206</c:v>
                </c:pt>
                <c:pt idx="680">
                  <c:v>0.31363378662000002</c:v>
                </c:pt>
                <c:pt idx="681">
                  <c:v>0.31378575763</c:v>
                </c:pt>
                <c:pt idx="682">
                  <c:v>0.31393780633999996</c:v>
                </c:pt>
                <c:pt idx="683">
                  <c:v>0.31408992660000001</c:v>
                </c:pt>
                <c:pt idx="684">
                  <c:v>0.31424212257</c:v>
                </c:pt>
                <c:pt idx="685">
                  <c:v>0.31440943962000001</c:v>
                </c:pt>
                <c:pt idx="686">
                  <c:v>0.31456167826999998</c:v>
                </c:pt>
                <c:pt idx="687">
                  <c:v>0.31471398998</c:v>
                </c:pt>
                <c:pt idx="688">
                  <c:v>0.31486648944000001</c:v>
                </c:pt>
                <c:pt idx="689">
                  <c:v>0.31501906586</c:v>
                </c:pt>
                <c:pt idx="690">
                  <c:v>0.31518680930999998</c:v>
                </c:pt>
                <c:pt idx="691">
                  <c:v>0.31533953877999998</c:v>
                </c:pt>
                <c:pt idx="692">
                  <c:v>0.31549234645999996</c:v>
                </c:pt>
                <c:pt idx="693">
                  <c:v>0.31564522842999998</c:v>
                </c:pt>
                <c:pt idx="694">
                  <c:v>0.31579818197000004</c:v>
                </c:pt>
                <c:pt idx="695">
                  <c:v>0.31596634874000001</c:v>
                </c:pt>
                <c:pt idx="696">
                  <c:v>0.31611957944999997</c:v>
                </c:pt>
                <c:pt idx="697">
                  <c:v>0.3162727655</c:v>
                </c:pt>
                <c:pt idx="698">
                  <c:v>0.31642602948999998</c:v>
                </c:pt>
                <c:pt idx="699">
                  <c:v>0.31657936679000004</c:v>
                </c:pt>
                <c:pt idx="700">
                  <c:v>0.31674795813000001</c:v>
                </c:pt>
                <c:pt idx="701">
                  <c:v>0.31690145445999995</c:v>
                </c:pt>
                <c:pt idx="702">
                  <c:v>0.31706262394000001</c:v>
                </c:pt>
                <c:pt idx="703">
                  <c:v>0.31721615651999996</c:v>
                </c:pt>
                <c:pt idx="704">
                  <c:v>0.31738498811999999</c:v>
                </c:pt>
                <c:pt idx="705">
                  <c:v>0.31753867873000002</c:v>
                </c:pt>
                <c:pt idx="706">
                  <c:v>0.31769244369999999</c:v>
                </c:pt>
                <c:pt idx="707">
                  <c:v>0.31784640085999999</c:v>
                </c:pt>
                <c:pt idx="708">
                  <c:v>0.31799470578</c:v>
                </c:pt>
                <c:pt idx="709">
                  <c:v>0.31815835127999997</c:v>
                </c:pt>
                <c:pt idx="710">
                  <c:v>0.31830680574000003</c:v>
                </c:pt>
                <c:pt idx="711">
                  <c:v>0.31845532831000001</c:v>
                </c:pt>
                <c:pt idx="712">
                  <c:v>0.31860392299000001</c:v>
                </c:pt>
                <c:pt idx="713">
                  <c:v>0.31875258482000002</c:v>
                </c:pt>
                <c:pt idx="714">
                  <c:v>0.31891663154</c:v>
                </c:pt>
                <c:pt idx="715">
                  <c:v>0.31906544316000002</c:v>
                </c:pt>
                <c:pt idx="716">
                  <c:v>0.31922198969999999</c:v>
                </c:pt>
                <c:pt idx="717">
                  <c:v>0.31621848698000005</c:v>
                </c:pt>
                <c:pt idx="718">
                  <c:v>0.31637859444999999</c:v>
                </c:pt>
                <c:pt idx="719">
                  <c:v>0.31652662543999999</c:v>
                </c:pt>
                <c:pt idx="720">
                  <c:v>0.31667436935000004</c:v>
                </c:pt>
                <c:pt idx="721">
                  <c:v>0.31682206529000001</c:v>
                </c:pt>
                <c:pt idx="722">
                  <c:v>0.31696971350000003</c:v>
                </c:pt>
                <c:pt idx="723">
                  <c:v>0.31712997191000003</c:v>
                </c:pt>
                <c:pt idx="724">
                  <c:v>0.31728380820999996</c:v>
                </c:pt>
                <c:pt idx="725">
                  <c:v>0.31743155310000004</c:v>
                </c:pt>
                <c:pt idx="726">
                  <c:v>0.31757937070999998</c:v>
                </c:pt>
                <c:pt idx="727">
                  <c:v>0.31773995064999999</c:v>
                </c:pt>
                <c:pt idx="728">
                  <c:v>0.31788814827999995</c:v>
                </c:pt>
                <c:pt idx="729">
                  <c:v>0.31803641567000002</c:v>
                </c:pt>
                <c:pt idx="730">
                  <c:v>0.31818475252999995</c:v>
                </c:pt>
                <c:pt idx="731">
                  <c:v>0.31833315795</c:v>
                </c:pt>
                <c:pt idx="732">
                  <c:v>0.31849401472000005</c:v>
                </c:pt>
                <c:pt idx="733">
                  <c:v>0.31864221063999998</c:v>
                </c:pt>
                <c:pt idx="734">
                  <c:v>0.31879035566000002</c:v>
                </c:pt>
                <c:pt idx="735">
                  <c:v>0.31893881177</c:v>
                </c:pt>
                <c:pt idx="736">
                  <c:v>0.31908150623000003</c:v>
                </c:pt>
                <c:pt idx="737">
                  <c:v>0.31923703488999999</c:v>
                </c:pt>
                <c:pt idx="738">
                  <c:v>0.31938010402</c:v>
                </c:pt>
                <c:pt idx="739">
                  <c:v>0.31952311831000002</c:v>
                </c:pt>
                <c:pt idx="740">
                  <c:v>0.31966607600999997</c:v>
                </c:pt>
                <c:pt idx="741">
                  <c:v>0.31980885802999998</c:v>
                </c:pt>
                <c:pt idx="742">
                  <c:v>0.31996415435000003</c:v>
                </c:pt>
                <c:pt idx="743">
                  <c:v>0.32010671385</c:v>
                </c:pt>
                <c:pt idx="744">
                  <c:v>0.32024945711000002</c:v>
                </c:pt>
                <c:pt idx="745">
                  <c:v>0.32039262406000002</c:v>
                </c:pt>
                <c:pt idx="746">
                  <c:v>0.32053597356000002</c:v>
                </c:pt>
                <c:pt idx="747">
                  <c:v>0.32069223277999998</c:v>
                </c:pt>
                <c:pt idx="748">
                  <c:v>0.32083596119000002</c:v>
                </c:pt>
                <c:pt idx="749">
                  <c:v>0.32097986898000003</c:v>
                </c:pt>
                <c:pt idx="750">
                  <c:v>0.32112372660999999</c:v>
                </c:pt>
                <c:pt idx="751">
                  <c:v>0.32126752623999999</c:v>
                </c:pt>
                <c:pt idx="752">
                  <c:v>0.32142415183999995</c:v>
                </c:pt>
                <c:pt idx="753">
                  <c:v>0.3451635629</c:v>
                </c:pt>
                <c:pt idx="754">
                  <c:v>0.34530732365</c:v>
                </c:pt>
                <c:pt idx="755">
                  <c:v>0.34545102836000002</c:v>
                </c:pt>
                <c:pt idx="756">
                  <c:v>0.34559503901999999</c:v>
                </c:pt>
                <c:pt idx="757">
                  <c:v>0.3457519107</c:v>
                </c:pt>
                <c:pt idx="758">
                  <c:v>0.3458963001</c:v>
                </c:pt>
                <c:pt idx="759">
                  <c:v>0.34604063318</c:v>
                </c:pt>
                <c:pt idx="760">
                  <c:v>0.34618502992</c:v>
                </c:pt>
                <c:pt idx="761">
                  <c:v>0.34632912952999995</c:v>
                </c:pt>
                <c:pt idx="762">
                  <c:v>0.34648624723000004</c:v>
                </c:pt>
                <c:pt idx="763">
                  <c:v>0.34663012324000003</c:v>
                </c:pt>
                <c:pt idx="764">
                  <c:v>0.34677418481</c:v>
                </c:pt>
                <c:pt idx="765">
                  <c:v>0.34691818862000001</c:v>
                </c:pt>
                <c:pt idx="766">
                  <c:v>0.34706213467000002</c:v>
                </c:pt>
                <c:pt idx="767">
                  <c:v>0.34721913850000002</c:v>
                </c:pt>
                <c:pt idx="768">
                  <c:v>0.34736334267000002</c:v>
                </c:pt>
                <c:pt idx="769">
                  <c:v>0.34750749129000003</c:v>
                </c:pt>
                <c:pt idx="770">
                  <c:v>0.34765157972999999</c:v>
                </c:pt>
                <c:pt idx="771">
                  <c:v>0.34778978372000002</c:v>
                </c:pt>
                <c:pt idx="772">
                  <c:v>0.34794107738999996</c:v>
                </c:pt>
                <c:pt idx="773">
                  <c:v>0.34807952624999999</c:v>
                </c:pt>
                <c:pt idx="774">
                  <c:v>0.34821815867</c:v>
                </c:pt>
                <c:pt idx="775">
                  <c:v>0.34835685157999996</c:v>
                </c:pt>
                <c:pt idx="776">
                  <c:v>0.34849535993000003</c:v>
                </c:pt>
                <c:pt idx="777">
                  <c:v>0.3486467459</c:v>
                </c:pt>
                <c:pt idx="778">
                  <c:v>0.34878525656999998</c:v>
                </c:pt>
                <c:pt idx="779">
                  <c:v>0.34892395083</c:v>
                </c:pt>
                <c:pt idx="780">
                  <c:v>0.34906258048</c:v>
                </c:pt>
                <c:pt idx="781">
                  <c:v>0.34920126736000001</c:v>
                </c:pt>
                <c:pt idx="782">
                  <c:v>0.34935323960000003</c:v>
                </c:pt>
                <c:pt idx="783">
                  <c:v>0.34949205616000001</c:v>
                </c:pt>
                <c:pt idx="784">
                  <c:v>0.34963092901999998</c:v>
                </c:pt>
                <c:pt idx="785">
                  <c:v>0.34976974143</c:v>
                </c:pt>
                <c:pt idx="786">
                  <c:v>0.3499087353</c:v>
                </c:pt>
                <c:pt idx="787">
                  <c:v>0.35006080332</c:v>
                </c:pt>
                <c:pt idx="788">
                  <c:v>0.35019967738999996</c:v>
                </c:pt>
                <c:pt idx="789">
                  <c:v>0.35033873307999996</c:v>
                </c:pt>
                <c:pt idx="790">
                  <c:v>0.35047784830000001</c:v>
                </c:pt>
                <c:pt idx="791">
                  <c:v>0.35061689986</c:v>
                </c:pt>
                <c:pt idx="792">
                  <c:v>0.35078262024000001</c:v>
                </c:pt>
                <c:pt idx="793">
                  <c:v>0.35092192454999999</c:v>
                </c:pt>
                <c:pt idx="794">
                  <c:v>0.35106129133999997</c:v>
                </c:pt>
                <c:pt idx="795">
                  <c:v>0.35121405391999999</c:v>
                </c:pt>
                <c:pt idx="796">
                  <c:v>0.35135378931</c:v>
                </c:pt>
                <c:pt idx="797">
                  <c:v>0.35149321902999997</c:v>
                </c:pt>
                <c:pt idx="798">
                  <c:v>0.35163258439</c:v>
                </c:pt>
                <c:pt idx="799">
                  <c:v>0.35177200706</c:v>
                </c:pt>
                <c:pt idx="800">
                  <c:v>0.35192449439000001</c:v>
                </c:pt>
                <c:pt idx="801">
                  <c:v>0.35206392247000001</c:v>
                </c:pt>
                <c:pt idx="802">
                  <c:v>0.35220328498000003</c:v>
                </c:pt>
                <c:pt idx="803">
                  <c:v>0.35234233763</c:v>
                </c:pt>
                <c:pt idx="804">
                  <c:v>0.35247289268999998</c:v>
                </c:pt>
                <c:pt idx="805">
                  <c:v>0.35261641626000001</c:v>
                </c:pt>
                <c:pt idx="806">
                  <c:v>0.35274645988999997</c:v>
                </c:pt>
                <c:pt idx="807">
                  <c:v>0.35287630668000003</c:v>
                </c:pt>
                <c:pt idx="808">
                  <c:v>0.35300608077999995</c:v>
                </c:pt>
                <c:pt idx="809">
                  <c:v>0.35313590652999999</c:v>
                </c:pt>
                <c:pt idx="810">
                  <c:v>0.35327948366</c:v>
                </c:pt>
                <c:pt idx="811">
                  <c:v>0.35340979485000001</c:v>
                </c:pt>
                <c:pt idx="812">
                  <c:v>0.35354015550000001</c:v>
                </c:pt>
                <c:pt idx="813">
                  <c:v>0.35367056877999997</c:v>
                </c:pt>
                <c:pt idx="814">
                  <c:v>0.35380103593000001</c:v>
                </c:pt>
                <c:pt idx="815">
                  <c:v>0.35394529079000003</c:v>
                </c:pt>
                <c:pt idx="816">
                  <c:v>0.35407599272000001</c:v>
                </c:pt>
                <c:pt idx="817">
                  <c:v>0.35420674514</c:v>
                </c:pt>
                <c:pt idx="818">
                  <c:v>0.35433742410000002</c:v>
                </c:pt>
                <c:pt idx="819">
                  <c:v>0.35446815548000005</c:v>
                </c:pt>
                <c:pt idx="820">
                  <c:v>0.35461271685000001</c:v>
                </c:pt>
                <c:pt idx="821">
                  <c:v>0.35474380983999998</c:v>
                </c:pt>
                <c:pt idx="822">
                  <c:v>0.35487495332000002</c:v>
                </c:pt>
                <c:pt idx="823">
                  <c:v>0.35500652643000002</c:v>
                </c:pt>
                <c:pt idx="824">
                  <c:v>0.35515799463999997</c:v>
                </c:pt>
                <c:pt idx="825">
                  <c:v>0.35528930342999998</c:v>
                </c:pt>
                <c:pt idx="826">
                  <c:v>0.35542091758</c:v>
                </c:pt>
                <c:pt idx="827">
                  <c:v>0.35555220858999997</c:v>
                </c:pt>
                <c:pt idx="828">
                  <c:v>0.35568342692999999</c:v>
                </c:pt>
                <c:pt idx="829">
                  <c:v>0.35582804730000001</c:v>
                </c:pt>
                <c:pt idx="830">
                  <c:v>0.35595924688999997</c:v>
                </c:pt>
                <c:pt idx="831">
                  <c:v>0.3560903748</c:v>
                </c:pt>
                <c:pt idx="832">
                  <c:v>0.35622167873999999</c:v>
                </c:pt>
                <c:pt idx="833">
                  <c:v>0.35634356273000001</c:v>
                </c:pt>
                <c:pt idx="834">
                  <c:v>0.35647900857999998</c:v>
                </c:pt>
                <c:pt idx="835">
                  <c:v>0.35660162217000002</c:v>
                </c:pt>
                <c:pt idx="836">
                  <c:v>0.35672364599</c:v>
                </c:pt>
                <c:pt idx="837">
                  <c:v>0.35684571462000003</c:v>
                </c:pt>
                <c:pt idx="838">
                  <c:v>0.29748354626000001</c:v>
                </c:pt>
                <c:pt idx="839">
                  <c:v>0.29759555010000005</c:v>
                </c:pt>
                <c:pt idx="840">
                  <c:v>0.29770058132999999</c:v>
                </c:pt>
                <c:pt idx="841">
                  <c:v>0.33626713732000002</c:v>
                </c:pt>
                <c:pt idx="842">
                  <c:v>0.33637381477999995</c:v>
                </c:pt>
                <c:pt idx="843">
                  <c:v>0.33650886898999999</c:v>
                </c:pt>
                <c:pt idx="844">
                  <c:v>0.33661513037000002</c:v>
                </c:pt>
                <c:pt idx="845">
                  <c:v>0.33672122324999998</c:v>
                </c:pt>
                <c:pt idx="846">
                  <c:v>0.33682735812999998</c:v>
                </c:pt>
                <c:pt idx="847">
                  <c:v>0.33693342606999999</c:v>
                </c:pt>
                <c:pt idx="848">
                  <c:v>0.33706844848</c:v>
                </c:pt>
                <c:pt idx="849">
                  <c:v>0.33717409693</c:v>
                </c:pt>
                <c:pt idx="850">
                  <c:v>0.33728069454000004</c:v>
                </c:pt>
                <c:pt idx="851">
                  <c:v>0.33738743346</c:v>
                </c:pt>
                <c:pt idx="852">
                  <c:v>0.33749431103999999</c:v>
                </c:pt>
                <c:pt idx="853">
                  <c:v>0.33763041794999998</c:v>
                </c:pt>
                <c:pt idx="854">
                  <c:v>0.33773728256000002</c:v>
                </c:pt>
                <c:pt idx="855">
                  <c:v>0.33784459268</c:v>
                </c:pt>
                <c:pt idx="856">
                  <c:v>0.33795204195</c:v>
                </c:pt>
                <c:pt idx="857">
                  <c:v>0.33805952804</c:v>
                </c:pt>
                <c:pt idx="858">
                  <c:v>0.33819621575999997</c:v>
                </c:pt>
                <c:pt idx="859">
                  <c:v>0.33830379294000001</c:v>
                </c:pt>
                <c:pt idx="860">
                  <c:v>0.33841151025999999</c:v>
                </c:pt>
                <c:pt idx="861">
                  <c:v>0.33851946997000004</c:v>
                </c:pt>
                <c:pt idx="862">
                  <c:v>0.33862257200000001</c:v>
                </c:pt>
                <c:pt idx="863">
                  <c:v>0.3387549447</c:v>
                </c:pt>
                <c:pt idx="864">
                  <c:v>0.33885833827</c:v>
                </c:pt>
                <c:pt idx="865">
                  <c:v>0.33896186681000001</c:v>
                </c:pt>
                <c:pt idx="866">
                  <c:v>0.33907960912000001</c:v>
                </c:pt>
                <c:pt idx="867">
                  <c:v>0.33921241972000005</c:v>
                </c:pt>
                <c:pt idx="868">
                  <c:v>0.33931566108</c:v>
                </c:pt>
                <c:pt idx="869">
                  <c:v>0.33941914313999999</c:v>
                </c:pt>
                <c:pt idx="870">
                  <c:v>0.33952276607999998</c:v>
                </c:pt>
                <c:pt idx="871">
                  <c:v>0.33962631919999997</c:v>
                </c:pt>
                <c:pt idx="872">
                  <c:v>0.33975897966000002</c:v>
                </c:pt>
                <c:pt idx="873">
                  <c:v>0.33986272008999996</c:v>
                </c:pt>
                <c:pt idx="874">
                  <c:v>0.33996618737000001</c:v>
                </c:pt>
                <c:pt idx="875">
                  <c:v>0.34007020219</c:v>
                </c:pt>
                <c:pt idx="876">
                  <c:v>0.34017436041000004</c:v>
                </c:pt>
                <c:pt idx="877">
                  <c:v>0.34030769163999997</c:v>
                </c:pt>
                <c:pt idx="878">
                  <c:v>0.34041193268999997</c:v>
                </c:pt>
                <c:pt idx="879">
                  <c:v>0.34051589663999998</c:v>
                </c:pt>
                <c:pt idx="880">
                  <c:v>0.34062010797000003</c:v>
                </c:pt>
                <c:pt idx="881">
                  <c:v>0.34072424701999998</c:v>
                </c:pt>
                <c:pt idx="882">
                  <c:v>0.33699007104000001</c:v>
                </c:pt>
                <c:pt idx="883">
                  <c:v>0.33709429711</c:v>
                </c:pt>
                <c:pt idx="884">
                  <c:v>0.33719855717000002</c:v>
                </c:pt>
                <c:pt idx="885">
                  <c:v>0.33730295714999997</c:v>
                </c:pt>
                <c:pt idx="886">
                  <c:v>0.33740728950999999</c:v>
                </c:pt>
                <c:pt idx="887">
                  <c:v>0.33754094384</c:v>
                </c:pt>
                <c:pt idx="888">
                  <c:v>0.33764536107999998</c:v>
                </c:pt>
                <c:pt idx="889">
                  <c:v>0.33774939995999997</c:v>
                </c:pt>
                <c:pt idx="890">
                  <c:v>0.33785327043000002</c:v>
                </c:pt>
                <c:pt idx="891">
                  <c:v>0.36384272229000003</c:v>
                </c:pt>
                <c:pt idx="892">
                  <c:v>0.36398063202999997</c:v>
                </c:pt>
                <c:pt idx="893">
                  <c:v>0.36408925720999996</c:v>
                </c:pt>
                <c:pt idx="894">
                  <c:v>0.36419757035</c:v>
                </c:pt>
                <c:pt idx="895">
                  <c:v>0.36088580599000003</c:v>
                </c:pt>
                <c:pt idx="896">
                  <c:v>0.36099292192000004</c:v>
                </c:pt>
                <c:pt idx="897">
                  <c:v>0.36112705301999998</c:v>
                </c:pt>
                <c:pt idx="898">
                  <c:v>0.3612343616</c:v>
                </c:pt>
                <c:pt idx="899">
                  <c:v>0.36134148032000002</c:v>
                </c:pt>
                <c:pt idx="900">
                  <c:v>0.36144886129000003</c:v>
                </c:pt>
                <c:pt idx="901">
                  <c:v>0.36155593263999997</c:v>
                </c:pt>
                <c:pt idx="902">
                  <c:v>0.36168973966000001</c:v>
                </c:pt>
                <c:pt idx="903">
                  <c:v>0.36179712144999998</c:v>
                </c:pt>
                <c:pt idx="904">
                  <c:v>0.36190453895999997</c:v>
                </c:pt>
                <c:pt idx="905">
                  <c:v>0.36201198895999998</c:v>
                </c:pt>
                <c:pt idx="906">
                  <c:v>0.36211936357999996</c:v>
                </c:pt>
                <c:pt idx="907">
                  <c:v>0.36225388322000002</c:v>
                </c:pt>
                <c:pt idx="908">
                  <c:v>0.36236133926999997</c:v>
                </c:pt>
                <c:pt idx="909">
                  <c:v>0.36246882752999998</c:v>
                </c:pt>
                <c:pt idx="910">
                  <c:v>0.36257635622000001</c:v>
                </c:pt>
                <c:pt idx="911">
                  <c:v>0.36268391614999995</c:v>
                </c:pt>
                <c:pt idx="912">
                  <c:v>0.36281857769999998</c:v>
                </c:pt>
                <c:pt idx="913">
                  <c:v>0.36292598683999999</c:v>
                </c:pt>
                <c:pt idx="914">
                  <c:v>0.35611260650999998</c:v>
                </c:pt>
                <c:pt idx="915">
                  <c:v>0.34929828229000004</c:v>
                </c:pt>
                <c:pt idx="916">
                  <c:v>0.34940041386000004</c:v>
                </c:pt>
                <c:pt idx="917">
                  <c:v>0.34951869463000002</c:v>
                </c:pt>
                <c:pt idx="918">
                  <c:v>0.34962124085000001</c:v>
                </c:pt>
                <c:pt idx="919">
                  <c:v>0.34972347822000005</c:v>
                </c:pt>
                <c:pt idx="920">
                  <c:v>0.34982563031999997</c:v>
                </c:pt>
                <c:pt idx="921">
                  <c:v>0.34992781708999998</c:v>
                </c:pt>
                <c:pt idx="922">
                  <c:v>0.35004606860000004</c:v>
                </c:pt>
                <c:pt idx="923">
                  <c:v>0.35014855895999997</c:v>
                </c:pt>
                <c:pt idx="924">
                  <c:v>0.35025108226000001</c:v>
                </c:pt>
                <c:pt idx="925">
                  <c:v>0.35035352448000001</c:v>
                </c:pt>
                <c:pt idx="926">
                  <c:v>0.35045086106000001</c:v>
                </c:pt>
                <c:pt idx="927">
                  <c:v>0.35056418280000001</c:v>
                </c:pt>
                <c:pt idx="928">
                  <c:v>0.35066193979000004</c:v>
                </c:pt>
                <c:pt idx="929">
                  <c:v>0.35075949202999995</c:v>
                </c:pt>
                <c:pt idx="930">
                  <c:v>0.35085707325999999</c:v>
                </c:pt>
                <c:pt idx="931">
                  <c:v>0.35097866347000001</c:v>
                </c:pt>
                <c:pt idx="932">
                  <c:v>0.35107619567999998</c:v>
                </c:pt>
                <c:pt idx="933">
                  <c:v>0.35117364141000001</c:v>
                </c:pt>
                <c:pt idx="934">
                  <c:v>0.35127100163999997</c:v>
                </c:pt>
                <c:pt idx="935">
                  <c:v>0.35136839554000004</c:v>
                </c:pt>
                <c:pt idx="936">
                  <c:v>0.35148171993999999</c:v>
                </c:pt>
                <c:pt idx="937">
                  <c:v>0.35157894338000001</c:v>
                </c:pt>
                <c:pt idx="938">
                  <c:v>0.35167607760000003</c:v>
                </c:pt>
                <c:pt idx="939">
                  <c:v>0.35177324110000002</c:v>
                </c:pt>
                <c:pt idx="940">
                  <c:v>0.35187067323999999</c:v>
                </c:pt>
                <c:pt idx="941">
                  <c:v>0.35198418719000002</c:v>
                </c:pt>
                <c:pt idx="942">
                  <c:v>0.35208168058</c:v>
                </c:pt>
                <c:pt idx="943">
                  <c:v>0.35217955936000001</c:v>
                </c:pt>
                <c:pt idx="944">
                  <c:v>0.35227734548</c:v>
                </c:pt>
                <c:pt idx="945">
                  <c:v>0.35237505029000005</c:v>
                </c:pt>
                <c:pt idx="946">
                  <c:v>0.35248887373000004</c:v>
                </c:pt>
                <c:pt idx="947">
                  <c:v>0.35258664174999998</c:v>
                </c:pt>
                <c:pt idx="948">
                  <c:v>0.3526843201</c:v>
                </c:pt>
                <c:pt idx="949">
                  <c:v>0.35278215305999999</c:v>
                </c:pt>
                <c:pt idx="950">
                  <c:v>0.35288001206000003</c:v>
                </c:pt>
                <c:pt idx="951">
                  <c:v>0.35299402508</c:v>
                </c:pt>
                <c:pt idx="952">
                  <c:v>0.35309195027999996</c:v>
                </c:pt>
                <c:pt idx="953">
                  <c:v>0.32693455943999999</c:v>
                </c:pt>
                <c:pt idx="954">
                  <c:v>0.32702411943999998</c:v>
                </c:pt>
                <c:pt idx="955">
                  <c:v>0.32711028207999998</c:v>
                </c:pt>
                <c:pt idx="956">
                  <c:v>0.32719646927999996</c:v>
                </c:pt>
                <c:pt idx="957">
                  <c:v>0.32728279852999997</c:v>
                </c:pt>
                <c:pt idx="958">
                  <c:v>0.32736927075</c:v>
                </c:pt>
                <c:pt idx="959">
                  <c:v>0.32745600789999996</c:v>
                </c:pt>
                <c:pt idx="960">
                  <c:v>0.32754277280999999</c:v>
                </c:pt>
                <c:pt idx="961">
                  <c:v>0.32763003436999999</c:v>
                </c:pt>
                <c:pt idx="962">
                  <c:v>0.32771732122000002</c:v>
                </c:pt>
                <c:pt idx="963">
                  <c:v>0.32780475302999995</c:v>
                </c:pt>
                <c:pt idx="964">
                  <c:v>0.327891973</c:v>
                </c:pt>
                <c:pt idx="965">
                  <c:v>0.32797898232</c:v>
                </c:pt>
                <c:pt idx="966">
                  <c:v>0.32806590144999997</c:v>
                </c:pt>
                <c:pt idx="967">
                  <c:v>0.33070070957999997</c:v>
                </c:pt>
                <c:pt idx="968">
                  <c:v>0.33078779751999998</c:v>
                </c:pt>
                <c:pt idx="969">
                  <c:v>0.31740287902999997</c:v>
                </c:pt>
                <c:pt idx="970">
                  <c:v>0.31749037461000001</c:v>
                </c:pt>
                <c:pt idx="971">
                  <c:v>0.31757789673000003</c:v>
                </c:pt>
                <c:pt idx="972">
                  <c:v>0.31766556504999999</c:v>
                </c:pt>
                <c:pt idx="973">
                  <c:v>0.31775278483999997</c:v>
                </c:pt>
                <c:pt idx="974">
                  <c:v>0.31784002944</c:v>
                </c:pt>
                <c:pt idx="975">
                  <c:v>0.31792706118999997</c:v>
                </c:pt>
                <c:pt idx="976">
                  <c:v>0.31801400275999997</c:v>
                </c:pt>
                <c:pt idx="977">
                  <c:v>0.31810097057999998</c:v>
                </c:pt>
                <c:pt idx="978">
                  <c:v>0.31818784351999996</c:v>
                </c:pt>
                <c:pt idx="979">
                  <c:v>0.31827450536000002</c:v>
                </c:pt>
                <c:pt idx="980">
                  <c:v>0.31836095189999997</c:v>
                </c:pt>
                <c:pt idx="981">
                  <c:v>0.31844718482000001</c:v>
                </c:pt>
                <c:pt idx="982">
                  <c:v>0.36881188593999997</c:v>
                </c:pt>
                <c:pt idx="983">
                  <c:v>0.36891526487999998</c:v>
                </c:pt>
                <c:pt idx="984">
                  <c:v>0.36901881413999998</c:v>
                </c:pt>
                <c:pt idx="985">
                  <c:v>0.36912225547000005</c:v>
                </c:pt>
                <c:pt idx="986">
                  <c:v>0.36922558651999998</c:v>
                </c:pt>
                <c:pt idx="987">
                  <c:v>0.36932838944000002</c:v>
                </c:pt>
                <c:pt idx="988">
                  <c:v>0.36943108131000002</c:v>
                </c:pt>
                <c:pt idx="989">
                  <c:v>0.36953394289999997</c:v>
                </c:pt>
                <c:pt idx="990">
                  <c:v>0.36963683855000001</c:v>
                </c:pt>
                <c:pt idx="991">
                  <c:v>0.36973962089000001</c:v>
                </c:pt>
                <c:pt idx="992">
                  <c:v>0.36984229749999997</c:v>
                </c:pt>
                <c:pt idx="993">
                  <c:v>0.36994486019</c:v>
                </c:pt>
                <c:pt idx="994">
                  <c:v>0.37004702991999999</c:v>
                </c:pt>
                <c:pt idx="995">
                  <c:v>0.37014866822000003</c:v>
                </c:pt>
                <c:pt idx="996">
                  <c:v>0.37025033586</c:v>
                </c:pt>
                <c:pt idx="997">
                  <c:v>0.37035175164999995</c:v>
                </c:pt>
                <c:pt idx="998">
                  <c:v>0.37045248785000001</c:v>
                </c:pt>
                <c:pt idx="999">
                  <c:v>0.42056411467999999</c:v>
                </c:pt>
                <c:pt idx="1000">
                  <c:v>0.42067558894000001</c:v>
                </c:pt>
                <c:pt idx="1001">
                  <c:v>0.42078661601</c:v>
                </c:pt>
                <c:pt idx="1002">
                  <c:v>0.42089781582999997</c:v>
                </c:pt>
                <c:pt idx="1003">
                  <c:v>0.42103147688999998</c:v>
                </c:pt>
                <c:pt idx="1004">
                  <c:v>0.42115406766000002</c:v>
                </c:pt>
                <c:pt idx="1005">
                  <c:v>0.42126611047000001</c:v>
                </c:pt>
                <c:pt idx="1006">
                  <c:v>0.37039804522000003</c:v>
                </c:pt>
                <c:pt idx="1007">
                  <c:v>0.37039804522000003</c:v>
                </c:pt>
                <c:pt idx="1008">
                  <c:v>0.37039804522000003</c:v>
                </c:pt>
                <c:pt idx="1009">
                  <c:v>0.42174801294999997</c:v>
                </c:pt>
                <c:pt idx="1010">
                  <c:v>0.42186048579000002</c:v>
                </c:pt>
                <c:pt idx="1011">
                  <c:v>0.42199533573000003</c:v>
                </c:pt>
                <c:pt idx="1012">
                  <c:v>0.42210787058999999</c:v>
                </c:pt>
                <c:pt idx="1013">
                  <c:v>0.42222029106999998</c:v>
                </c:pt>
                <c:pt idx="1014">
                  <c:v>0.42233260066</c:v>
                </c:pt>
                <c:pt idx="1015">
                  <c:v>0.42244508147000004</c:v>
                </c:pt>
                <c:pt idx="1016">
                  <c:v>0.42257998294999999</c:v>
                </c:pt>
                <c:pt idx="1017">
                  <c:v>0.42269281067000003</c:v>
                </c:pt>
                <c:pt idx="1018">
                  <c:v>0.42280585851999997</c:v>
                </c:pt>
                <c:pt idx="1019">
                  <c:v>0.42291888744</c:v>
                </c:pt>
                <c:pt idx="1020">
                  <c:v>0.57303199555999995</c:v>
                </c:pt>
                <c:pt idx="1021">
                  <c:v>0.57316709677</c:v>
                </c:pt>
                <c:pt idx="1022">
                  <c:v>0.57328007264000003</c:v>
                </c:pt>
                <c:pt idx="1023">
                  <c:v>0.52039804521999999</c:v>
                </c:pt>
                <c:pt idx="1024">
                  <c:v>0.52039804521999999</c:v>
                </c:pt>
                <c:pt idx="1025">
                  <c:v>0.53739804522000001</c:v>
                </c:pt>
                <c:pt idx="1026">
                  <c:v>0.53739804522000001</c:v>
                </c:pt>
                <c:pt idx="1027">
                  <c:v>0.53739804522000001</c:v>
                </c:pt>
                <c:pt idx="1028">
                  <c:v>0.53739804522000001</c:v>
                </c:pt>
                <c:pt idx="1029">
                  <c:v>0.53739804522000001</c:v>
                </c:pt>
                <c:pt idx="1030">
                  <c:v>0.53739804522000001</c:v>
                </c:pt>
                <c:pt idx="1031">
                  <c:v>0.53739804522000001</c:v>
                </c:pt>
                <c:pt idx="1032">
                  <c:v>0.59145848388</c:v>
                </c:pt>
                <c:pt idx="1033">
                  <c:v>0.53739804522000001</c:v>
                </c:pt>
                <c:pt idx="1034">
                  <c:v>0.59168613025000005</c:v>
                </c:pt>
                <c:pt idx="1035">
                  <c:v>0.59179988246000004</c:v>
                </c:pt>
                <c:pt idx="1036">
                  <c:v>0.53739804522000001</c:v>
                </c:pt>
                <c:pt idx="1037">
                  <c:v>0.59207217455999994</c:v>
                </c:pt>
                <c:pt idx="1038">
                  <c:v>0.59218587623999996</c:v>
                </c:pt>
                <c:pt idx="1039">
                  <c:v>0.53739804522000001</c:v>
                </c:pt>
                <c:pt idx="1040">
                  <c:v>0.53739804522000001</c:v>
                </c:pt>
                <c:pt idx="1041">
                  <c:v>0.55749757664999999</c:v>
                </c:pt>
                <c:pt idx="1042">
                  <c:v>0.59266342495000002</c:v>
                </c:pt>
                <c:pt idx="1043">
                  <c:v>0.55749757664999999</c:v>
                </c:pt>
                <c:pt idx="1044">
                  <c:v>0.55749757664999999</c:v>
                </c:pt>
                <c:pt idx="1045">
                  <c:v>0.55749757664999999</c:v>
                </c:pt>
                <c:pt idx="1046">
                  <c:v>0.55749757664999999</c:v>
                </c:pt>
                <c:pt idx="1047">
                  <c:v>0.55749757664999999</c:v>
                </c:pt>
                <c:pt idx="1048">
                  <c:v>0.55749757664999999</c:v>
                </c:pt>
                <c:pt idx="1049">
                  <c:v>0.55749757664999999</c:v>
                </c:pt>
                <c:pt idx="1050">
                  <c:v>0.55749757664999999</c:v>
                </c:pt>
                <c:pt idx="1051">
                  <c:v>0.55749757664999999</c:v>
                </c:pt>
                <c:pt idx="1052">
                  <c:v>0.55749757664999999</c:v>
                </c:pt>
                <c:pt idx="1053">
                  <c:v>0.55749757664999999</c:v>
                </c:pt>
                <c:pt idx="1054">
                  <c:v>0.55749757664999999</c:v>
                </c:pt>
                <c:pt idx="1055">
                  <c:v>0.55749757664999999</c:v>
                </c:pt>
                <c:pt idx="1056">
                  <c:v>0.55749757664999999</c:v>
                </c:pt>
                <c:pt idx="1057">
                  <c:v>0.55749757664999999</c:v>
                </c:pt>
                <c:pt idx="1058">
                  <c:v>0.55749757664999999</c:v>
                </c:pt>
                <c:pt idx="1059">
                  <c:v>0.55749757664999999</c:v>
                </c:pt>
                <c:pt idx="1060">
                  <c:v>0.59481952341</c:v>
                </c:pt>
                <c:pt idx="1061">
                  <c:v>0.55749757664999999</c:v>
                </c:pt>
                <c:pt idx="1062">
                  <c:v>0.55749757664999999</c:v>
                </c:pt>
                <c:pt idx="1063">
                  <c:v>0.55749757664999999</c:v>
                </c:pt>
                <c:pt idx="1064">
                  <c:v>0.55749757664999999</c:v>
                </c:pt>
                <c:pt idx="1065">
                  <c:v>0.56107525627999999</c:v>
                </c:pt>
                <c:pt idx="1066">
                  <c:v>0.56107525627999999</c:v>
                </c:pt>
                <c:pt idx="1067">
                  <c:v>0.56107525627999999</c:v>
                </c:pt>
                <c:pt idx="1068">
                  <c:v>0.56107525627999999</c:v>
                </c:pt>
                <c:pt idx="1069">
                  <c:v>0.56107525627999999</c:v>
                </c:pt>
                <c:pt idx="1070">
                  <c:v>0.56107525627999999</c:v>
                </c:pt>
                <c:pt idx="1071">
                  <c:v>0.56107525627999999</c:v>
                </c:pt>
                <c:pt idx="1072">
                  <c:v>0.56107525627999999</c:v>
                </c:pt>
                <c:pt idx="1073">
                  <c:v>0.56107525627999999</c:v>
                </c:pt>
                <c:pt idx="1074">
                  <c:v>0.56107525627999999</c:v>
                </c:pt>
                <c:pt idx="1075">
                  <c:v>0.56107525627999999</c:v>
                </c:pt>
                <c:pt idx="1076">
                  <c:v>0.56107525627999999</c:v>
                </c:pt>
                <c:pt idx="1077">
                  <c:v>0.56107525627999999</c:v>
                </c:pt>
                <c:pt idx="1078">
                  <c:v>0.56107525627999999</c:v>
                </c:pt>
                <c:pt idx="1079">
                  <c:v>0.56107525627999999</c:v>
                </c:pt>
                <c:pt idx="1080">
                  <c:v>0.56107525627999999</c:v>
                </c:pt>
                <c:pt idx="1081">
                  <c:v>0.56107525627999999</c:v>
                </c:pt>
                <c:pt idx="1082">
                  <c:v>0.56107525627999999</c:v>
                </c:pt>
                <c:pt idx="1083">
                  <c:v>0.56107525627999999</c:v>
                </c:pt>
                <c:pt idx="1084">
                  <c:v>0.56107525627999999</c:v>
                </c:pt>
                <c:pt idx="1085">
                  <c:v>0.56107525627999999</c:v>
                </c:pt>
                <c:pt idx="1086">
                  <c:v>0.56107525627999999</c:v>
                </c:pt>
                <c:pt idx="1087">
                  <c:v>0.56107525627999999</c:v>
                </c:pt>
                <c:pt idx="1088">
                  <c:v>0.56107525627999999</c:v>
                </c:pt>
                <c:pt idx="1089">
                  <c:v>0.56107525627999999</c:v>
                </c:pt>
                <c:pt idx="1090">
                  <c:v>0.56107525627999999</c:v>
                </c:pt>
                <c:pt idx="1091">
                  <c:v>0.56107525627999999</c:v>
                </c:pt>
                <c:pt idx="1092">
                  <c:v>0.56107525627999999</c:v>
                </c:pt>
                <c:pt idx="1093">
                  <c:v>0.56107525627999999</c:v>
                </c:pt>
                <c:pt idx="1094">
                  <c:v>0.56107525627999999</c:v>
                </c:pt>
                <c:pt idx="1095">
                  <c:v>0.56107525627999999</c:v>
                </c:pt>
                <c:pt idx="1096">
                  <c:v>0.56107525627999999</c:v>
                </c:pt>
                <c:pt idx="1097">
                  <c:v>0.56107525627999999</c:v>
                </c:pt>
                <c:pt idx="1098">
                  <c:v>0.56107525627999999</c:v>
                </c:pt>
                <c:pt idx="1099">
                  <c:v>0.56107525627999999</c:v>
                </c:pt>
                <c:pt idx="1100">
                  <c:v>0.56107525627999999</c:v>
                </c:pt>
                <c:pt idx="1101">
                  <c:v>0.56107525627999999</c:v>
                </c:pt>
                <c:pt idx="1102">
                  <c:v>0.56107525627999999</c:v>
                </c:pt>
                <c:pt idx="1103">
                  <c:v>0.56107525627999999</c:v>
                </c:pt>
                <c:pt idx="1104">
                  <c:v>0.56107525627999999</c:v>
                </c:pt>
                <c:pt idx="1105">
                  <c:v>0.56107525627999999</c:v>
                </c:pt>
                <c:pt idx="1106">
                  <c:v>0.56107525627999999</c:v>
                </c:pt>
                <c:pt idx="1107">
                  <c:v>0.56107525627999999</c:v>
                </c:pt>
                <c:pt idx="1108">
                  <c:v>0.56107525627999999</c:v>
                </c:pt>
                <c:pt idx="1109">
                  <c:v>0.56107525627999999</c:v>
                </c:pt>
                <c:pt idx="1110">
                  <c:v>0.56022722455999996</c:v>
                </c:pt>
                <c:pt idx="1111">
                  <c:v>0.56022722455999996</c:v>
                </c:pt>
                <c:pt idx="1112">
                  <c:v>0.56022722455999996</c:v>
                </c:pt>
                <c:pt idx="1113">
                  <c:v>0.56022722455999996</c:v>
                </c:pt>
                <c:pt idx="1114">
                  <c:v>0.56022722455999996</c:v>
                </c:pt>
                <c:pt idx="1115">
                  <c:v>0.56022722455999996</c:v>
                </c:pt>
                <c:pt idx="1116">
                  <c:v>0.56022722455999996</c:v>
                </c:pt>
                <c:pt idx="1117">
                  <c:v>0.56022722455999996</c:v>
                </c:pt>
                <c:pt idx="1118">
                  <c:v>0.56022722455999996</c:v>
                </c:pt>
                <c:pt idx="1119">
                  <c:v>0.56022722455999996</c:v>
                </c:pt>
                <c:pt idx="1120">
                  <c:v>0.56022722455999996</c:v>
                </c:pt>
                <c:pt idx="1121">
                  <c:v>0.56022722455999996</c:v>
                </c:pt>
                <c:pt idx="1122">
                  <c:v>0.56022722455999996</c:v>
                </c:pt>
                <c:pt idx="1123">
                  <c:v>0.56022722455999996</c:v>
                </c:pt>
                <c:pt idx="1124">
                  <c:v>0.56022722455999996</c:v>
                </c:pt>
                <c:pt idx="1125">
                  <c:v>0.56022722455999996</c:v>
                </c:pt>
                <c:pt idx="1126">
                  <c:v>0.56022722455999996</c:v>
                </c:pt>
                <c:pt idx="1127">
                  <c:v>0.56022722455999996</c:v>
                </c:pt>
                <c:pt idx="1128">
                  <c:v>0.56022722455999996</c:v>
                </c:pt>
                <c:pt idx="1129">
                  <c:v>0.56022722455999996</c:v>
                </c:pt>
                <c:pt idx="1130">
                  <c:v>0.56022722455999996</c:v>
                </c:pt>
                <c:pt idx="1131">
                  <c:v>0.56022722455999996</c:v>
                </c:pt>
                <c:pt idx="1132">
                  <c:v>0.56022722455999996</c:v>
                </c:pt>
                <c:pt idx="1133">
                  <c:v>0.56022722455999996</c:v>
                </c:pt>
                <c:pt idx="1134">
                  <c:v>0.56022722455999996</c:v>
                </c:pt>
                <c:pt idx="1135">
                  <c:v>0.56022722455999996</c:v>
                </c:pt>
                <c:pt idx="1136">
                  <c:v>0.56022722455999996</c:v>
                </c:pt>
                <c:pt idx="1137">
                  <c:v>0.56022722455999996</c:v>
                </c:pt>
                <c:pt idx="1138">
                  <c:v>0.56022722455999996</c:v>
                </c:pt>
                <c:pt idx="1139">
                  <c:v>0.56022722455999996</c:v>
                </c:pt>
                <c:pt idx="1140">
                  <c:v>0.56022722455999996</c:v>
                </c:pt>
                <c:pt idx="1141">
                  <c:v>0.56022722455999996</c:v>
                </c:pt>
                <c:pt idx="1142">
                  <c:v>0.56022722455999996</c:v>
                </c:pt>
                <c:pt idx="1143">
                  <c:v>0.56022722455999996</c:v>
                </c:pt>
                <c:pt idx="1144">
                  <c:v>0.56022722455999996</c:v>
                </c:pt>
                <c:pt idx="1145">
                  <c:v>0.56022722455999996</c:v>
                </c:pt>
                <c:pt idx="1146">
                  <c:v>0.56022722455999996</c:v>
                </c:pt>
                <c:pt idx="1147">
                  <c:v>0.56022722455999996</c:v>
                </c:pt>
                <c:pt idx="1148">
                  <c:v>0.56022722455999996</c:v>
                </c:pt>
                <c:pt idx="1149">
                  <c:v>0.56022722455999996</c:v>
                </c:pt>
                <c:pt idx="1150">
                  <c:v>0.56022722455999996</c:v>
                </c:pt>
                <c:pt idx="1151">
                  <c:v>0.56022722455999996</c:v>
                </c:pt>
                <c:pt idx="1152">
                  <c:v>0.56022722455999996</c:v>
                </c:pt>
                <c:pt idx="1153">
                  <c:v>0.56022722455999996</c:v>
                </c:pt>
                <c:pt idx="1154">
                  <c:v>0.56022722455999996</c:v>
                </c:pt>
                <c:pt idx="1155">
                  <c:v>0.56022722455999996</c:v>
                </c:pt>
                <c:pt idx="1156">
                  <c:v>0.56022722455999996</c:v>
                </c:pt>
                <c:pt idx="1157">
                  <c:v>0.56022722455999996</c:v>
                </c:pt>
                <c:pt idx="1158">
                  <c:v>0.56022722455999996</c:v>
                </c:pt>
                <c:pt idx="1159">
                  <c:v>0.56022722455999996</c:v>
                </c:pt>
                <c:pt idx="1160">
                  <c:v>0.56022722455999996</c:v>
                </c:pt>
                <c:pt idx="1161">
                  <c:v>0.56022722455999996</c:v>
                </c:pt>
                <c:pt idx="1162">
                  <c:v>0.56022722455999996</c:v>
                </c:pt>
                <c:pt idx="1163">
                  <c:v>0.56022722455999996</c:v>
                </c:pt>
                <c:pt idx="1164">
                  <c:v>0.56022722455999996</c:v>
                </c:pt>
                <c:pt idx="1165">
                  <c:v>0.56022722455999996</c:v>
                </c:pt>
                <c:pt idx="1166">
                  <c:v>0.56022722455999996</c:v>
                </c:pt>
                <c:pt idx="1167">
                  <c:v>0.56022722455999996</c:v>
                </c:pt>
                <c:pt idx="1168">
                  <c:v>0.56022722455999996</c:v>
                </c:pt>
                <c:pt idx="1169">
                  <c:v>0.56022722455999996</c:v>
                </c:pt>
                <c:pt idx="1170">
                  <c:v>0.56022722455999996</c:v>
                </c:pt>
                <c:pt idx="1171">
                  <c:v>0.56022722455999996</c:v>
                </c:pt>
                <c:pt idx="1172">
                  <c:v>0.56022722455999996</c:v>
                </c:pt>
                <c:pt idx="1173">
                  <c:v>0.56022722455999996</c:v>
                </c:pt>
                <c:pt idx="1174">
                  <c:v>0.56022722455999996</c:v>
                </c:pt>
                <c:pt idx="1175">
                  <c:v>0.56022722455999996</c:v>
                </c:pt>
                <c:pt idx="1176">
                  <c:v>0.56022722455999996</c:v>
                </c:pt>
                <c:pt idx="1177">
                  <c:v>0.56022722455999996</c:v>
                </c:pt>
                <c:pt idx="1178">
                  <c:v>0.56022722455999996</c:v>
                </c:pt>
                <c:pt idx="1179">
                  <c:v>0.56022722455999996</c:v>
                </c:pt>
                <c:pt idx="1180">
                  <c:v>0.56022722455999996</c:v>
                </c:pt>
                <c:pt idx="1181">
                  <c:v>0.56022722455999996</c:v>
                </c:pt>
                <c:pt idx="1182">
                  <c:v>0.56022722455999996</c:v>
                </c:pt>
                <c:pt idx="1183">
                  <c:v>0.56022722455999996</c:v>
                </c:pt>
                <c:pt idx="1184">
                  <c:v>0.56022722455999996</c:v>
                </c:pt>
                <c:pt idx="1185">
                  <c:v>0.56022722455999996</c:v>
                </c:pt>
                <c:pt idx="1186">
                  <c:v>0.56022722455999996</c:v>
                </c:pt>
                <c:pt idx="1187">
                  <c:v>0.56022722455999996</c:v>
                </c:pt>
                <c:pt idx="1188">
                  <c:v>0.56022722455999996</c:v>
                </c:pt>
                <c:pt idx="1189">
                  <c:v>0.56022722455999996</c:v>
                </c:pt>
                <c:pt idx="1190">
                  <c:v>0.56022722455999996</c:v>
                </c:pt>
                <c:pt idx="1191">
                  <c:v>0.56022722455999996</c:v>
                </c:pt>
                <c:pt idx="1192">
                  <c:v>0.56022722455999996</c:v>
                </c:pt>
                <c:pt idx="1193">
                  <c:v>0.56022722455999996</c:v>
                </c:pt>
                <c:pt idx="1194">
                  <c:v>0.56022722455999996</c:v>
                </c:pt>
                <c:pt idx="1195">
                  <c:v>0.45022722456000003</c:v>
                </c:pt>
                <c:pt idx="1196">
                  <c:v>0.92912722455999996</c:v>
                </c:pt>
                <c:pt idx="1197">
                  <c:v>0.92912722455999996</c:v>
                </c:pt>
                <c:pt idx="1198">
                  <c:v>0.92912722455999996</c:v>
                </c:pt>
                <c:pt idx="1199">
                  <c:v>0.92912722455999996</c:v>
                </c:pt>
                <c:pt idx="1200">
                  <c:v>0.92912722455999996</c:v>
                </c:pt>
                <c:pt idx="1201">
                  <c:v>0.92912722455999996</c:v>
                </c:pt>
                <c:pt idx="1202">
                  <c:v>0.87912722455999992</c:v>
                </c:pt>
                <c:pt idx="1203">
                  <c:v>0.87912722455999992</c:v>
                </c:pt>
                <c:pt idx="1204">
                  <c:v>0.87073791167999992</c:v>
                </c:pt>
                <c:pt idx="1205">
                  <c:v>0.87073791167999992</c:v>
                </c:pt>
                <c:pt idx="1206">
                  <c:v>0.87073791167999992</c:v>
                </c:pt>
                <c:pt idx="1207">
                  <c:v>0.86773791167999992</c:v>
                </c:pt>
                <c:pt idx="1208">
                  <c:v>0.86773791167999992</c:v>
                </c:pt>
                <c:pt idx="1209">
                  <c:v>0.86773791167999992</c:v>
                </c:pt>
                <c:pt idx="1210">
                  <c:v>0.86773791167999992</c:v>
                </c:pt>
                <c:pt idx="1211">
                  <c:v>0.86773791167999992</c:v>
                </c:pt>
                <c:pt idx="1212">
                  <c:v>0.86773791167999992</c:v>
                </c:pt>
                <c:pt idx="1213">
                  <c:v>0.86773791167999992</c:v>
                </c:pt>
                <c:pt idx="1214">
                  <c:v>0.86773791167999992</c:v>
                </c:pt>
                <c:pt idx="1215">
                  <c:v>0.86773791167999992</c:v>
                </c:pt>
                <c:pt idx="1216">
                  <c:v>0.86773791167999992</c:v>
                </c:pt>
                <c:pt idx="1217">
                  <c:v>0.85174191167999991</c:v>
                </c:pt>
                <c:pt idx="1218">
                  <c:v>0.86446291168</c:v>
                </c:pt>
                <c:pt idx="1219">
                  <c:v>0.86446291168</c:v>
                </c:pt>
                <c:pt idx="1220">
                  <c:v>0.86446291168</c:v>
                </c:pt>
                <c:pt idx="1221">
                  <c:v>0.86446291168</c:v>
                </c:pt>
                <c:pt idx="1222">
                  <c:v>0.86446291168</c:v>
                </c:pt>
                <c:pt idx="1223">
                  <c:v>0.86446291168</c:v>
                </c:pt>
                <c:pt idx="1224">
                  <c:v>0.86446291168</c:v>
                </c:pt>
                <c:pt idx="1225">
                  <c:v>0.86446291168</c:v>
                </c:pt>
                <c:pt idx="1226">
                  <c:v>0.86446291168</c:v>
                </c:pt>
                <c:pt idx="1227">
                  <c:v>0.86352541167999997</c:v>
                </c:pt>
                <c:pt idx="1228">
                  <c:v>0.86352541167999997</c:v>
                </c:pt>
                <c:pt idx="1229">
                  <c:v>0.86352541167999997</c:v>
                </c:pt>
                <c:pt idx="1230">
                  <c:v>0.86352541167999997</c:v>
                </c:pt>
                <c:pt idx="1231">
                  <c:v>0.86352541167999997</c:v>
                </c:pt>
                <c:pt idx="1232">
                  <c:v>0.86352541167999997</c:v>
                </c:pt>
                <c:pt idx="1233">
                  <c:v>0.86352541167999997</c:v>
                </c:pt>
                <c:pt idx="1234">
                  <c:v>0.86352541167999997</c:v>
                </c:pt>
                <c:pt idx="1235">
                  <c:v>0.86352541167999997</c:v>
                </c:pt>
                <c:pt idx="1236">
                  <c:v>0.84528997167999997</c:v>
                </c:pt>
                <c:pt idx="1237">
                  <c:v>0.84528997167999997</c:v>
                </c:pt>
                <c:pt idx="1238">
                  <c:v>0.84528997167999997</c:v>
                </c:pt>
                <c:pt idx="1239">
                  <c:v>0.84528997167999997</c:v>
                </c:pt>
                <c:pt idx="1240">
                  <c:v>0.84528997167999997</c:v>
                </c:pt>
                <c:pt idx="1241">
                  <c:v>0.84528997167999997</c:v>
                </c:pt>
                <c:pt idx="1242">
                  <c:v>0.84528997167999997</c:v>
                </c:pt>
                <c:pt idx="1243">
                  <c:v>0.84528997167999997</c:v>
                </c:pt>
                <c:pt idx="1244">
                  <c:v>0.84435247167999994</c:v>
                </c:pt>
                <c:pt idx="1245">
                  <c:v>0.84435247167999994</c:v>
                </c:pt>
                <c:pt idx="1246">
                  <c:v>0.85577247167999992</c:v>
                </c:pt>
                <c:pt idx="1247">
                  <c:v>0.85577247167999992</c:v>
                </c:pt>
                <c:pt idx="1248">
                  <c:v>0.85577247167999992</c:v>
                </c:pt>
                <c:pt idx="1249">
                  <c:v>0.85577247167999992</c:v>
                </c:pt>
                <c:pt idx="1250">
                  <c:v>0.85577247167999992</c:v>
                </c:pt>
                <c:pt idx="1251">
                  <c:v>0.91922349120000002</c:v>
                </c:pt>
                <c:pt idx="1252">
                  <c:v>0.91925452679999997</c:v>
                </c:pt>
                <c:pt idx="1253">
                  <c:v>0.95178357844000006</c:v>
                </c:pt>
                <c:pt idx="1254">
                  <c:v>0.95181464612</c:v>
                </c:pt>
                <c:pt idx="1255">
                  <c:v>0.95184572987000005</c:v>
                </c:pt>
                <c:pt idx="1256">
                  <c:v>0.95187682970999998</c:v>
                </c:pt>
                <c:pt idx="1257">
                  <c:v>0.96881316597</c:v>
                </c:pt>
                <c:pt idx="1258">
                  <c:v>0.96885988348999996</c:v>
                </c:pt>
                <c:pt idx="1259">
                  <c:v>0.96890662383000004</c:v>
                </c:pt>
                <c:pt idx="1260">
                  <c:v>0.96895338705</c:v>
                </c:pt>
                <c:pt idx="1261">
                  <c:v>0.96900017309000008</c:v>
                </c:pt>
                <c:pt idx="1262">
                  <c:v>0.96904698199000006</c:v>
                </c:pt>
                <c:pt idx="1263">
                  <c:v>0.96909381378999992</c:v>
                </c:pt>
                <c:pt idx="1264">
                  <c:v>0.96914066839000002</c:v>
                </c:pt>
                <c:pt idx="1265">
                  <c:v>0.96918754600000001</c:v>
                </c:pt>
                <c:pt idx="1266">
                  <c:v>0.97922244645000001</c:v>
                </c:pt>
                <c:pt idx="1267">
                  <c:v>0.97926936982000001</c:v>
                </c:pt>
                <c:pt idx="1268">
                  <c:v>0.97931631615999992</c:v>
                </c:pt>
                <c:pt idx="1269">
                  <c:v>1.0493632853899999</c:v>
                </c:pt>
                <c:pt idx="1270">
                  <c:v>1.04941027754</c:v>
                </c:pt>
                <c:pt idx="1271">
                  <c:v>1.0494572927200001</c:v>
                </c:pt>
                <c:pt idx="1272">
                  <c:v>1.0495043308900001</c:v>
                </c:pt>
                <c:pt idx="1273">
                  <c:v>1.1353897372399999</c:v>
                </c:pt>
                <c:pt idx="1274">
                  <c:v>1.1354751837499999</c:v>
                </c:pt>
                <c:pt idx="1275">
                  <c:v>1.1355606703499999</c:v>
                </c:pt>
                <c:pt idx="1276">
                  <c:v>1.13564619721</c:v>
                </c:pt>
                <c:pt idx="1277">
                  <c:v>1.14342376422</c:v>
                </c:pt>
                <c:pt idx="1278">
                  <c:v>1.1236219383900001</c:v>
                </c:pt>
                <c:pt idx="1279">
                  <c:v>1.1237075857700001</c:v>
                </c:pt>
                <c:pt idx="1280">
                  <c:v>1.12379327349</c:v>
                </c:pt>
                <c:pt idx="1281">
                  <c:v>1.12387900152</c:v>
                </c:pt>
                <c:pt idx="1282">
                  <c:v>1.1239647698199999</c:v>
                </c:pt>
                <c:pt idx="1283">
                  <c:v>1.1240505784600001</c:v>
                </c:pt>
                <c:pt idx="1284">
                  <c:v>1.1647623573900001</c:v>
                </c:pt>
                <c:pt idx="1285">
                  <c:v>1.1648482467200001</c:v>
                </c:pt>
                <c:pt idx="1286">
                  <c:v>1.1649341762900001</c:v>
                </c:pt>
                <c:pt idx="1287">
                  <c:v>1.1650201463099998</c:v>
                </c:pt>
                <c:pt idx="1288">
                  <c:v>1.1651061568900001</c:v>
                </c:pt>
                <c:pt idx="1289">
                  <c:v>1.1651922077300001</c:v>
                </c:pt>
                <c:pt idx="1290">
                  <c:v>1.1751952991500001</c:v>
                </c:pt>
                <c:pt idx="1291">
                  <c:v>1.1815784309400001</c:v>
                </c:pt>
                <c:pt idx="1292">
                  <c:v>1.18166460324</c:v>
                </c:pt>
                <c:pt idx="1293">
                  <c:v>1.1817508161199999</c:v>
                </c:pt>
                <c:pt idx="1294">
                  <c:v>1.1831100693900001</c:v>
                </c:pt>
                <c:pt idx="1295">
                  <c:v>1.1875593633199999</c:v>
                </c:pt>
                <c:pt idx="1296">
                  <c:v>1.2291456977599999</c:v>
                </c:pt>
                <c:pt idx="1297">
                  <c:v>1.2292320727899999</c:v>
                </c:pt>
                <c:pt idx="1298">
                  <c:v>1.2293184884300001</c:v>
                </c:pt>
                <c:pt idx="1299">
                  <c:v>1.2094180329000002</c:v>
                </c:pt>
                <c:pt idx="1300">
                  <c:v>1.20950452982</c:v>
                </c:pt>
                <c:pt idx="1301">
                  <c:v>1.2095910673800001</c:v>
                </c:pt>
                <c:pt idx="1302">
                  <c:v>1.20967764571</c:v>
                </c:pt>
                <c:pt idx="1303">
                  <c:v>1.20976426471</c:v>
                </c:pt>
                <c:pt idx="1304">
                  <c:v>1.2098509243900002</c:v>
                </c:pt>
                <c:pt idx="1305">
                  <c:v>1.20993762484</c:v>
                </c:pt>
                <c:pt idx="1306">
                  <c:v>1.21559136604</c:v>
                </c:pt>
                <c:pt idx="1307">
                  <c:v>1.2156781481300001</c:v>
                </c:pt>
                <c:pt idx="1308">
                  <c:v>1.21576497097</c:v>
                </c:pt>
                <c:pt idx="1309">
                  <c:v>1.21585183464</c:v>
                </c:pt>
                <c:pt idx="1310">
                  <c:v>1.2159387390600001</c:v>
                </c:pt>
                <c:pt idx="1311">
                  <c:v>1.2160256843900001</c:v>
                </c:pt>
                <c:pt idx="1312">
                  <c:v>1.2161126706800001</c:v>
                </c:pt>
                <c:pt idx="1313">
                  <c:v>1.2161996978699998</c:v>
                </c:pt>
                <c:pt idx="1314">
                  <c:v>1.2162867658599998</c:v>
                </c:pt>
                <c:pt idx="1315">
                  <c:v>1.2163738748800001</c:v>
                </c:pt>
                <c:pt idx="1316">
                  <c:v>1.2164610249000001</c:v>
                </c:pt>
                <c:pt idx="1317">
                  <c:v>1.1953623897000001</c:v>
                </c:pt>
                <c:pt idx="1318">
                  <c:v>1.1954496216600001</c:v>
                </c:pt>
                <c:pt idx="1319">
                  <c:v>1.22904507525</c:v>
                </c:pt>
                <c:pt idx="1320">
                  <c:v>1.2291323892399999</c:v>
                </c:pt>
                <c:pt idx="1321">
                  <c:v>1.2292197443599999</c:v>
                </c:pt>
                <c:pt idx="1322">
                  <c:v>1.22930714048</c:v>
                </c:pt>
                <c:pt idx="1323">
                  <c:v>1.2293945777999999</c:v>
                </c:pt>
                <c:pt idx="1324">
                  <c:v>1.2289395011300002</c:v>
                </c:pt>
                <c:pt idx="1325">
                  <c:v>1.22902702063</c:v>
                </c:pt>
                <c:pt idx="1326">
                  <c:v>1.2250345814100001</c:v>
                </c:pt>
                <c:pt idx="1327">
                  <c:v>1.2251221832599999</c:v>
                </c:pt>
                <c:pt idx="1328">
                  <c:v>1.22520982635</c:v>
                </c:pt>
                <c:pt idx="1329">
                  <c:v>1.2252975107199999</c:v>
                </c:pt>
                <c:pt idx="1330">
                  <c:v>1.22538523625</c:v>
                </c:pt>
                <c:pt idx="1331">
                  <c:v>1.2254730031099998</c:v>
                </c:pt>
                <c:pt idx="1332">
                  <c:v>1.2255608112900001</c:v>
                </c:pt>
                <c:pt idx="1333">
                  <c:v>1.2256486606900001</c:v>
                </c:pt>
                <c:pt idx="1334">
                  <c:v>1.22573655138</c:v>
                </c:pt>
                <c:pt idx="1335">
                  <c:v>1.2258244835100001</c:v>
                </c:pt>
                <c:pt idx="1336">
                  <c:v>1.22591245698</c:v>
                </c:pt>
                <c:pt idx="1337">
                  <c:v>1.2642690080000001</c:v>
                </c:pt>
                <c:pt idx="1338">
                  <c:v>1.2683005174799999</c:v>
                </c:pt>
                <c:pt idx="1339">
                  <c:v>1.2683886150899999</c:v>
                </c:pt>
                <c:pt idx="1340">
                  <c:v>1.2684767541500002</c:v>
                </c:pt>
                <c:pt idx="1341">
                  <c:v>1.2685649348099999</c:v>
                </c:pt>
                <c:pt idx="1342">
                  <c:v>1.2686531568599999</c:v>
                </c:pt>
                <c:pt idx="1343">
                  <c:v>1.26874142043</c:v>
                </c:pt>
                <c:pt idx="1344">
                  <c:v>1.2688297255400001</c:v>
                </c:pt>
                <c:pt idx="1345">
                  <c:v>1.23539697178</c:v>
                </c:pt>
                <c:pt idx="1346">
                  <c:v>1.2354982798599998</c:v>
                </c:pt>
                <c:pt idx="1347">
                  <c:v>1.2355867095799999</c:v>
                </c:pt>
                <c:pt idx="1348">
                  <c:v>1.2182477549500002</c:v>
                </c:pt>
                <c:pt idx="1349">
                  <c:v>1.22808245719</c:v>
                </c:pt>
                <c:pt idx="1350">
                  <c:v>1.22816428351</c:v>
                </c:pt>
                <c:pt idx="1351">
                  <c:v>1.22824614877</c:v>
                </c:pt>
                <c:pt idx="1352">
                  <c:v>1.22832805291</c:v>
                </c:pt>
                <c:pt idx="1353">
                  <c:v>1.2284099959500001</c:v>
                </c:pt>
                <c:pt idx="1354">
                  <c:v>1.2284919779400001</c:v>
                </c:pt>
                <c:pt idx="1355">
                  <c:v>1.2350309988499999</c:v>
                </c:pt>
                <c:pt idx="1356">
                  <c:v>1.2351130587200001</c:v>
                </c:pt>
                <c:pt idx="1357">
                  <c:v>1.23519515767</c:v>
                </c:pt>
                <c:pt idx="1358">
                  <c:v>1.2150926962999999</c:v>
                </c:pt>
                <c:pt idx="1359">
                  <c:v>1.2151748732100001</c:v>
                </c:pt>
                <c:pt idx="1360">
                  <c:v>1.1770982787599999</c:v>
                </c:pt>
                <c:pt idx="1361">
                  <c:v>1.1771805337999999</c:v>
                </c:pt>
                <c:pt idx="1362">
                  <c:v>1.1772628279100001</c:v>
                </c:pt>
                <c:pt idx="1363">
                  <c:v>1.17605512745</c:v>
                </c:pt>
                <c:pt idx="1364">
                  <c:v>1.17613749979</c:v>
                </c:pt>
                <c:pt idx="1365">
                  <c:v>1.17621991121</c:v>
                </c:pt>
                <c:pt idx="1366">
                  <c:v>1.1763023618099999</c:v>
                </c:pt>
                <c:pt idx="1367">
                  <c:v>1.1763848516700002</c:v>
                </c:pt>
                <c:pt idx="1368">
                  <c:v>1.1764673806300001</c:v>
                </c:pt>
                <c:pt idx="1369">
                  <c:v>1.15449536676</c:v>
                </c:pt>
                <c:pt idx="1370">
                  <c:v>1.15456498906</c:v>
                </c:pt>
                <c:pt idx="1371">
                  <c:v>1.15463464518</c:v>
                </c:pt>
                <c:pt idx="1372">
                  <c:v>1.1547043352099999</c:v>
                </c:pt>
                <c:pt idx="1373">
                  <c:v>1.1547740591</c:v>
                </c:pt>
                <c:pt idx="1374">
                  <c:v>1.1632715312199999</c:v>
                </c:pt>
                <c:pt idx="1375">
                  <c:v>1.16334132294</c:v>
                </c:pt>
                <c:pt idx="1376">
                  <c:v>1.1634111487000001</c:v>
                </c:pt>
                <c:pt idx="1377">
                  <c:v>1.1274556419300001</c:v>
                </c:pt>
                <c:pt idx="1378">
                  <c:v>1.1300862923199999</c:v>
                </c:pt>
                <c:pt idx="1379">
                  <c:v>1.10979316088</c:v>
                </c:pt>
                <c:pt idx="1380">
                  <c:v>1.10983504947</c:v>
                </c:pt>
                <c:pt idx="1381">
                  <c:v>1.10987695973</c:v>
                </c:pt>
                <c:pt idx="1382">
                  <c:v>1.1168988917</c:v>
                </c:pt>
                <c:pt idx="1383">
                  <c:v>1.1169408453499998</c:v>
                </c:pt>
                <c:pt idx="1384">
                  <c:v>1.22698282072</c:v>
                </c:pt>
                <c:pt idx="1385">
                  <c:v>1.2270248178499998</c:v>
                </c:pt>
                <c:pt idx="1386">
                  <c:v>1.2270668367099999</c:v>
                </c:pt>
                <c:pt idx="1387">
                  <c:v>1.2271088773299998</c:v>
                </c:pt>
                <c:pt idx="1388">
                  <c:v>1.22621343975</c:v>
                </c:pt>
                <c:pt idx="1389">
                  <c:v>1.2262555238900001</c:v>
                </c:pt>
                <c:pt idx="1390">
                  <c:v>1.2262976298499999</c:v>
                </c:pt>
                <c:pt idx="1391">
                  <c:v>1.2299657575899998</c:v>
                </c:pt>
                <c:pt idx="1392">
                  <c:v>1.2300079071800001</c:v>
                </c:pt>
                <c:pt idx="1393">
                  <c:v>1.2300500786099999</c:v>
                </c:pt>
                <c:pt idx="1394">
                  <c:v>1.23009227183</c:v>
                </c:pt>
                <c:pt idx="1395">
                  <c:v>1.2301344869200002</c:v>
                </c:pt>
                <c:pt idx="1396">
                  <c:v>1.2301767238699999</c:v>
                </c:pt>
                <c:pt idx="1397">
                  <c:v>1.2302189826800001</c:v>
                </c:pt>
                <c:pt idx="1398">
                  <c:v>1.2302612633900001</c:v>
                </c:pt>
                <c:pt idx="1399">
                  <c:v>1.2303035660399999</c:v>
                </c:pt>
                <c:pt idx="1400">
                  <c:v>1.23034589054</c:v>
                </c:pt>
                <c:pt idx="1401">
                  <c:v>1.21019492292</c:v>
                </c:pt>
                <c:pt idx="1402">
                  <c:v>1.2088120680999999</c:v>
                </c:pt>
                <c:pt idx="1403">
                  <c:v>1.21106963872</c:v>
                </c:pt>
                <c:pt idx="1404">
                  <c:v>1.1994395966300002</c:v>
                </c:pt>
                <c:pt idx="1405">
                  <c:v>1.2176898309300002</c:v>
                </c:pt>
                <c:pt idx="1406">
                  <c:v>1.1836202895799999</c:v>
                </c:pt>
                <c:pt idx="1407">
                  <c:v>1.18818876779</c:v>
                </c:pt>
                <c:pt idx="1408">
                  <c:v>1.1850187864999999</c:v>
                </c:pt>
                <c:pt idx="1409">
                  <c:v>1.1866727240099999</c:v>
                </c:pt>
                <c:pt idx="1410">
                  <c:v>1.1857752620599999</c:v>
                </c:pt>
                <c:pt idx="1411">
                  <c:v>1.18581532101</c:v>
                </c:pt>
                <c:pt idx="1412">
                  <c:v>1.18585540093</c:v>
                </c:pt>
                <c:pt idx="1413">
                  <c:v>1.1858955017499999</c:v>
                </c:pt>
                <c:pt idx="1414">
                  <c:v>1.1840485512899999</c:v>
                </c:pt>
                <c:pt idx="1415">
                  <c:v>1.1840886940299999</c:v>
                </c:pt>
                <c:pt idx="1416">
                  <c:v>1.18412885779</c:v>
                </c:pt>
                <c:pt idx="1417">
                  <c:v>1.18416904251</c:v>
                </c:pt>
                <c:pt idx="1418">
                  <c:v>1.18420924822</c:v>
                </c:pt>
                <c:pt idx="1419">
                  <c:v>1.1763805464000001</c:v>
                </c:pt>
                <c:pt idx="1420">
                  <c:v>1.17642079416</c:v>
                </c:pt>
                <c:pt idx="1421">
                  <c:v>1.1764610629700001</c:v>
                </c:pt>
                <c:pt idx="1422">
                  <c:v>1.1556753149100001</c:v>
                </c:pt>
                <c:pt idx="1423">
                  <c:v>1.1557156257999999</c:v>
                </c:pt>
                <c:pt idx="1424">
                  <c:v>1.14756363452</c:v>
                </c:pt>
                <c:pt idx="1425">
                  <c:v>1.1491640606</c:v>
                </c:pt>
                <c:pt idx="1426">
                  <c:v>1.1485978324999999</c:v>
                </c:pt>
                <c:pt idx="1427">
                  <c:v>1.1745715322500001</c:v>
                </c:pt>
                <c:pt idx="1428">
                  <c:v>1.1746077503499999</c:v>
                </c:pt>
                <c:pt idx="1429">
                  <c:v>1.1681491368299999</c:v>
                </c:pt>
                <c:pt idx="1430">
                  <c:v>1.17155109097</c:v>
                </c:pt>
                <c:pt idx="1431">
                  <c:v>1.1572470911600001</c:v>
                </c:pt>
                <c:pt idx="1432">
                  <c:v>1.1572822835000001</c:v>
                </c:pt>
                <c:pt idx="1433">
                  <c:v>1.1573174937199999</c:v>
                </c:pt>
                <c:pt idx="1434">
                  <c:v>1.15069910327</c:v>
                </c:pt>
                <c:pt idx="1435">
                  <c:v>1.1507343491899999</c:v>
                </c:pt>
                <c:pt idx="1436">
                  <c:v>1.15076961301</c:v>
                </c:pt>
                <c:pt idx="1437">
                  <c:v>1.15080489466</c:v>
                </c:pt>
                <c:pt idx="1438">
                  <c:v>1.1508401942699999</c:v>
                </c:pt>
                <c:pt idx="1439">
                  <c:v>1.15135315801</c:v>
                </c:pt>
                <c:pt idx="1440">
                  <c:v>1.15138849342</c:v>
                </c:pt>
                <c:pt idx="1441">
                  <c:v>1.15441384669</c:v>
                </c:pt>
                <c:pt idx="1442">
                  <c:v>1.1544492179200001</c:v>
                </c:pt>
                <c:pt idx="1443">
                  <c:v>1.1477696911199999</c:v>
                </c:pt>
                <c:pt idx="1444">
                  <c:v>1.14711665495</c:v>
                </c:pt>
                <c:pt idx="1445">
                  <c:v>1.12538833957</c:v>
                </c:pt>
                <c:pt idx="1446">
                  <c:v>1.12048402356</c:v>
                </c:pt>
                <c:pt idx="1447">
                  <c:v>1.1032948140699999</c:v>
                </c:pt>
                <c:pt idx="1448">
                  <c:v>1.0921432898800001</c:v>
                </c:pt>
                <c:pt idx="1449">
                  <c:v>1.08766293026</c:v>
                </c:pt>
                <c:pt idx="1450">
                  <c:v>1.0876912130799998</c:v>
                </c:pt>
                <c:pt idx="1451">
                  <c:v>1.04970105155</c:v>
                </c:pt>
                <c:pt idx="1452">
                  <c:v>1.04760152829</c:v>
                </c:pt>
                <c:pt idx="1453">
                  <c:v>1.04667580507</c:v>
                </c:pt>
                <c:pt idx="1454">
                  <c:v>1.0466875876099999</c:v>
                </c:pt>
                <c:pt idx="1455">
                  <c:v>1.0466993759400001</c:v>
                </c:pt>
                <c:pt idx="1456">
                  <c:v>1.05711117003</c:v>
                </c:pt>
                <c:pt idx="1457">
                  <c:v>1.0552629699</c:v>
                </c:pt>
                <c:pt idx="1458">
                  <c:v>1.05527477556</c:v>
                </c:pt>
                <c:pt idx="1459">
                  <c:v>1.0637865870000001</c:v>
                </c:pt>
                <c:pt idx="1460">
                  <c:v>1.0637984042299999</c:v>
                </c:pt>
                <c:pt idx="1461">
                  <c:v>1.6351192272399999</c:v>
                </c:pt>
                <c:pt idx="1462">
                  <c:v>1.7365980560699998</c:v>
                </c:pt>
                <c:pt idx="1463">
                  <c:v>1.73660989066</c:v>
                </c:pt>
                <c:pt idx="1464">
                  <c:v>1.7366217310699998</c:v>
                </c:pt>
                <c:pt idx="1465">
                  <c:v>1.7366335772699999</c:v>
                </c:pt>
                <c:pt idx="1466">
                  <c:v>1.73664542928</c:v>
                </c:pt>
                <c:pt idx="1467">
                  <c:v>1.7167452245599999</c:v>
                </c:pt>
                <c:pt idx="1468">
                  <c:v>1.7167570881800001</c:v>
                </c:pt>
                <c:pt idx="1469">
                  <c:v>1.7122207648599999</c:v>
                </c:pt>
                <c:pt idx="1470">
                  <c:v>1.71199167625</c:v>
                </c:pt>
                <c:pt idx="1471">
                  <c:v>1.7120035573299999</c:v>
                </c:pt>
                <c:pt idx="1472">
                  <c:v>1.71201544423</c:v>
                </c:pt>
                <c:pt idx="1473">
                  <c:v>1.7120273369600001</c:v>
                </c:pt>
                <c:pt idx="1474">
                  <c:v>1.6972239958499999</c:v>
                </c:pt>
                <c:pt idx="1475">
                  <c:v>1.6839084155199999</c:v>
                </c:pt>
                <c:pt idx="1476">
                  <c:v>1.6780476748900002</c:v>
                </c:pt>
                <c:pt idx="1477">
                  <c:v>1.6696140433900002</c:v>
                </c:pt>
                <c:pt idx="1478">
                  <c:v>1.66961791366</c:v>
                </c:pt>
                <c:pt idx="1479">
                  <c:v>1.6696217857</c:v>
                </c:pt>
                <c:pt idx="1480">
                  <c:v>1.6768776595199999</c:v>
                </c:pt>
                <c:pt idx="1481">
                  <c:v>1.6768815350999999</c:v>
                </c:pt>
                <c:pt idx="1482">
                  <c:v>1.6768854124600001</c:v>
                </c:pt>
                <c:pt idx="1483">
                  <c:v>1.67688929158</c:v>
                </c:pt>
                <c:pt idx="1484">
                  <c:v>1.67689317249</c:v>
                </c:pt>
                <c:pt idx="1485">
                  <c:v>1.67689705519</c:v>
                </c:pt>
                <c:pt idx="1486">
                  <c:v>1.6769009396500001</c:v>
                </c:pt>
                <c:pt idx="1487">
                  <c:v>1.6837893716800001</c:v>
                </c:pt>
                <c:pt idx="1488">
                  <c:v>1.6613243975100001</c:v>
                </c:pt>
                <c:pt idx="1489">
                  <c:v>1.6613282873099999</c:v>
                </c:pt>
                <c:pt idx="1490">
                  <c:v>1.6568141065899999</c:v>
                </c:pt>
                <c:pt idx="1491">
                  <c:v>1.6568179999500001</c:v>
                </c:pt>
                <c:pt idx="1492">
                  <c:v>1.65682189508</c:v>
                </c:pt>
                <c:pt idx="1493">
                  <c:v>1.65682579201</c:v>
                </c:pt>
                <c:pt idx="1494">
                  <c:v>1.65682969072</c:v>
                </c:pt>
                <c:pt idx="1495">
                  <c:v>1.6619757193800002</c:v>
                </c:pt>
                <c:pt idx="1496">
                  <c:v>1.70196992752</c:v>
                </c:pt>
                <c:pt idx="1497">
                  <c:v>1.7059734108</c:v>
                </c:pt>
                <c:pt idx="1498">
                  <c:v>1.7095651868699999</c:v>
                </c:pt>
                <c:pt idx="1499">
                  <c:v>1.7095686731600002</c:v>
                </c:pt>
                <c:pt idx="1500">
                  <c:v>1.7095721609700001</c:v>
                </c:pt>
                <c:pt idx="1501">
                  <c:v>1.7095756502699999</c:v>
                </c:pt>
                <c:pt idx="1502">
                  <c:v>1.7150791410799999</c:v>
                </c:pt>
                <c:pt idx="1503">
                  <c:v>1.73698882165</c:v>
                </c:pt>
                <c:pt idx="1504">
                  <c:v>1.9574923154700001</c:v>
                </c:pt>
                <c:pt idx="1505">
                  <c:v>1.9621358108</c:v>
                </c:pt>
                <c:pt idx="1506">
                  <c:v>2.0564793076500001</c:v>
                </c:pt>
                <c:pt idx="1507">
                  <c:v>2.086982806</c:v>
                </c:pt>
                <c:pt idx="1508">
                  <c:v>2.08698630587</c:v>
                </c:pt>
                <c:pt idx="1509">
                  <c:v>2.0869898072500002</c:v>
                </c:pt>
                <c:pt idx="1510">
                  <c:v>2.0632901860899997</c:v>
                </c:pt>
                <c:pt idx="1511">
                  <c:v>2.0454052063399999</c:v>
                </c:pt>
                <c:pt idx="1512">
                  <c:v>2.0454052063399999</c:v>
                </c:pt>
                <c:pt idx="1513">
                  <c:v>2.0454052063399999</c:v>
                </c:pt>
                <c:pt idx="1514">
                  <c:v>2.0454052063399999</c:v>
                </c:pt>
                <c:pt idx="1515">
                  <c:v>2.0454052063399999</c:v>
                </c:pt>
                <c:pt idx="1516">
                  <c:v>2.0454052063399999</c:v>
                </c:pt>
                <c:pt idx="1517">
                  <c:v>2.0384796871400002</c:v>
                </c:pt>
                <c:pt idx="1518">
                  <c:v>2.1089796871400002</c:v>
                </c:pt>
                <c:pt idx="1519">
                  <c:v>2.1089796871400002</c:v>
                </c:pt>
                <c:pt idx="1520">
                  <c:v>2.1089796871400002</c:v>
                </c:pt>
                <c:pt idx="1521">
                  <c:v>2.1089796871400002</c:v>
                </c:pt>
                <c:pt idx="1522">
                  <c:v>2.1089796871400002</c:v>
                </c:pt>
                <c:pt idx="1523">
                  <c:v>2.1389390053399997</c:v>
                </c:pt>
                <c:pt idx="1524">
                  <c:v>2.1389390053399997</c:v>
                </c:pt>
                <c:pt idx="1525">
                  <c:v>2.1389390053399997</c:v>
                </c:pt>
                <c:pt idx="1526">
                  <c:v>2.1389390053399997</c:v>
                </c:pt>
                <c:pt idx="1527">
                  <c:v>2.1389390053399997</c:v>
                </c:pt>
                <c:pt idx="1528">
                  <c:v>2.1529390053399999</c:v>
                </c:pt>
                <c:pt idx="1529">
                  <c:v>2.17443900534</c:v>
                </c:pt>
                <c:pt idx="1530">
                  <c:v>2.15177077817</c:v>
                </c:pt>
                <c:pt idx="1531">
                  <c:v>2.15177077817</c:v>
                </c:pt>
                <c:pt idx="1532">
                  <c:v>2.15177077817</c:v>
                </c:pt>
                <c:pt idx="1533">
                  <c:v>2.16798377817</c:v>
                </c:pt>
                <c:pt idx="1534">
                  <c:v>2.16798377817</c:v>
                </c:pt>
                <c:pt idx="1535">
                  <c:v>2.16798377817</c:v>
                </c:pt>
                <c:pt idx="1536">
                  <c:v>2.16798377817</c:v>
                </c:pt>
                <c:pt idx="1537">
                  <c:v>2.16798377817</c:v>
                </c:pt>
                <c:pt idx="1538">
                  <c:v>2.1854837781700001</c:v>
                </c:pt>
                <c:pt idx="1539">
                  <c:v>2.1854837781700001</c:v>
                </c:pt>
                <c:pt idx="1540">
                  <c:v>2.1852946259499997</c:v>
                </c:pt>
                <c:pt idx="1541">
                  <c:v>2.2593921435100004</c:v>
                </c:pt>
                <c:pt idx="1542">
                  <c:v>2.2594271779600001</c:v>
                </c:pt>
                <c:pt idx="1543">
                  <c:v>2.2648252286299999</c:v>
                </c:pt>
                <c:pt idx="1544">
                  <c:v>2.26483825085</c:v>
                </c:pt>
                <c:pt idx="1545">
                  <c:v>2.2648733345500003</c:v>
                </c:pt>
                <c:pt idx="1546">
                  <c:v>2.2694084352099999</c:v>
                </c:pt>
                <c:pt idx="1547">
                  <c:v>2.2694435520199998</c:v>
                </c:pt>
                <c:pt idx="1548">
                  <c:v>2.2747914949099997</c:v>
                </c:pt>
                <c:pt idx="1549">
                  <c:v>2.2748266455700001</c:v>
                </c:pt>
                <c:pt idx="1550">
                  <c:v>2.25164552212</c:v>
                </c:pt>
                <c:pt idx="1551">
                  <c:v>2.2639290803900001</c:v>
                </c:pt>
                <c:pt idx="1552">
                  <c:v>2.2639642802899997</c:v>
                </c:pt>
                <c:pt idx="1553">
                  <c:v>2.2639994972299999</c:v>
                </c:pt>
                <c:pt idx="1554">
                  <c:v>2.2640347309899997</c:v>
                </c:pt>
                <c:pt idx="1555">
                  <c:v>2.2639877365599999</c:v>
                </c:pt>
                <c:pt idx="1556">
                  <c:v>2.2835243480999998</c:v>
                </c:pt>
                <c:pt idx="1557">
                  <c:v>2.2835609781500001</c:v>
                </c:pt>
                <c:pt idx="1558">
                  <c:v>2.31909762517</c:v>
                </c:pt>
                <c:pt idx="1559">
                  <c:v>2.3191342906999997</c:v>
                </c:pt>
                <c:pt idx="1560">
                  <c:v>2.31917097459</c:v>
                </c:pt>
                <c:pt idx="1561">
                  <c:v>2.3192076755300004</c:v>
                </c:pt>
                <c:pt idx="1562">
                  <c:v>2.3191846980399999</c:v>
                </c:pt>
                <c:pt idx="1563">
                  <c:v>2.3192214351100002</c:v>
                </c:pt>
                <c:pt idx="1564">
                  <c:v>2.3192581906999998</c:v>
                </c:pt>
                <c:pt idx="1565">
                  <c:v>2.3307949639899999</c:v>
                </c:pt>
                <c:pt idx="1566">
                  <c:v>2.3556957558000002</c:v>
                </c:pt>
                <c:pt idx="1567">
                  <c:v>2.3637325918899998</c:v>
                </c:pt>
                <c:pt idx="1568">
                  <c:v>2.6637694458400003</c:v>
                </c:pt>
                <c:pt idx="1569">
                  <c:v>2.6638063182199998</c:v>
                </c:pt>
                <c:pt idx="1570">
                  <c:v>2.6398619340799998</c:v>
                </c:pt>
                <c:pt idx="1571">
                  <c:v>2.6398988426799996</c:v>
                </c:pt>
                <c:pt idx="1572">
                  <c:v>2.6496327423200001</c:v>
                </c:pt>
                <c:pt idx="1573">
                  <c:v>2.6496696604799999</c:v>
                </c:pt>
                <c:pt idx="1574">
                  <c:v>2.65170659708</c:v>
                </c:pt>
                <c:pt idx="1575">
                  <c:v>2.6517435514499996</c:v>
                </c:pt>
                <c:pt idx="1576">
                  <c:v>2.6517805242699999</c:v>
                </c:pt>
                <c:pt idx="1577">
                  <c:v>2.6514850174000002</c:v>
                </c:pt>
                <c:pt idx="1578">
                  <c:v>2.6515220264299999</c:v>
                </c:pt>
                <c:pt idx="1579">
                  <c:v>2.65642995871</c:v>
                </c:pt>
                <c:pt idx="1580">
                  <c:v>2.65646700403</c:v>
                </c:pt>
                <c:pt idx="1581">
                  <c:v>2.6565040677199998</c:v>
                </c:pt>
                <c:pt idx="1582">
                  <c:v>2.6323479071399998</c:v>
                </c:pt>
                <c:pt idx="1583">
                  <c:v>2.6291257840200002</c:v>
                </c:pt>
                <c:pt idx="1584">
                  <c:v>2.6154213456799997</c:v>
                </c:pt>
                <c:pt idx="1585">
                  <c:v>2.66165848261</c:v>
                </c:pt>
                <c:pt idx="1586">
                  <c:v>2.6518896856799996</c:v>
                </c:pt>
                <c:pt idx="1587">
                  <c:v>2.65192685891</c:v>
                </c:pt>
                <c:pt idx="1588">
                  <c:v>2.6519640498400001</c:v>
                </c:pt>
                <c:pt idx="1589">
                  <c:v>2.6520012592800004</c:v>
                </c:pt>
                <c:pt idx="1590">
                  <c:v>2.6520385131699999</c:v>
                </c:pt>
                <c:pt idx="1591">
                  <c:v>2.6520758122300001</c:v>
                </c:pt>
                <c:pt idx="1592">
                  <c:v>2.65033617446</c:v>
                </c:pt>
                <c:pt idx="1593">
                  <c:v>2.6503748198300001</c:v>
                </c:pt>
                <c:pt idx="1594">
                  <c:v>2.65041348453</c:v>
                </c:pt>
                <c:pt idx="1595">
                  <c:v>2.6504522226199998</c:v>
                </c:pt>
                <c:pt idx="1596">
                  <c:v>2.6504909800500003</c:v>
                </c:pt>
                <c:pt idx="1597">
                  <c:v>2.62223467455</c:v>
                </c:pt>
                <c:pt idx="1598">
                  <c:v>2.6181995993</c:v>
                </c:pt>
                <c:pt idx="1599">
                  <c:v>2.61816619358</c:v>
                </c:pt>
                <c:pt idx="1600">
                  <c:v>2.6182050296599999</c:v>
                </c:pt>
                <c:pt idx="1601">
                  <c:v>2.6182438865500002</c:v>
                </c:pt>
                <c:pt idx="1602">
                  <c:v>2.6182827619600002</c:v>
                </c:pt>
                <c:pt idx="1603">
                  <c:v>2.6180698945800001</c:v>
                </c:pt>
                <c:pt idx="1604">
                  <c:v>2.6154415828399999</c:v>
                </c:pt>
                <c:pt idx="1605">
                  <c:v>2.6154805184499996</c:v>
                </c:pt>
                <c:pt idx="1606">
                  <c:v>2.6155194740000001</c:v>
                </c:pt>
                <c:pt idx="1607">
                  <c:v>2.6155584490199999</c:v>
                </c:pt>
                <c:pt idx="1608">
                  <c:v>2.6155974440300001</c:v>
                </c:pt>
                <c:pt idx="1609">
                  <c:v>2.6202016425100001</c:v>
                </c:pt>
                <c:pt idx="1610">
                  <c:v>2.62024067759</c:v>
                </c:pt>
                <c:pt idx="1611">
                  <c:v>2.6202797320799998</c:v>
                </c:pt>
                <c:pt idx="1612">
                  <c:v>2.5861339461999999</c:v>
                </c:pt>
                <c:pt idx="1613">
                  <c:v>2.5861730407600003</c:v>
                </c:pt>
                <c:pt idx="1614">
                  <c:v>2.5835490372199996</c:v>
                </c:pt>
                <c:pt idx="1615">
                  <c:v>2.5408983902800002</c:v>
                </c:pt>
                <c:pt idx="1616">
                  <c:v>2.5409375442300002</c:v>
                </c:pt>
                <c:pt idx="1617">
                  <c:v>2.5405776682300001</c:v>
                </c:pt>
                <c:pt idx="1618">
                  <c:v>2.5406182368499999</c:v>
                </c:pt>
                <c:pt idx="1619">
                  <c:v>2.5245670789699997</c:v>
                </c:pt>
                <c:pt idx="1620">
                  <c:v>2.5246076908400004</c:v>
                </c:pt>
                <c:pt idx="1621">
                  <c:v>2.5318193242699998</c:v>
                </c:pt>
                <c:pt idx="1622">
                  <c:v>2.5123931964899997</c:v>
                </c:pt>
                <c:pt idx="1623">
                  <c:v>2.5082588981199998</c:v>
                </c:pt>
                <c:pt idx="1624">
                  <c:v>3.10806867865</c:v>
                </c:pt>
                <c:pt idx="1625">
                  <c:v>3.1081093977699998</c:v>
                </c:pt>
                <c:pt idx="1626">
                  <c:v>3.10815013777</c:v>
                </c:pt>
                <c:pt idx="1627">
                  <c:v>3.1081909002199999</c:v>
                </c:pt>
                <c:pt idx="1628">
                  <c:v>3.1082316834000001</c:v>
                </c:pt>
                <c:pt idx="1629">
                  <c:v>3.0592391334699998</c:v>
                </c:pt>
                <c:pt idx="1630">
                  <c:v>3.0605620297299998</c:v>
                </c:pt>
                <c:pt idx="1631">
                  <c:v>3.0605779278800003</c:v>
                </c:pt>
                <c:pt idx="1632">
                  <c:v>3.0605938340700001</c:v>
                </c:pt>
                <c:pt idx="1633">
                  <c:v>3.72787974902</c:v>
                </c:pt>
                <c:pt idx="1634">
                  <c:v>3.7278956720799998</c:v>
                </c:pt>
                <c:pt idx="1635">
                  <c:v>3.72791160387</c:v>
                </c:pt>
                <c:pt idx="1636">
                  <c:v>3.7279275437499999</c:v>
                </c:pt>
                <c:pt idx="1637">
                  <c:v>3.7275434920900001</c:v>
                </c:pt>
                <c:pt idx="1638">
                  <c:v>3.7272064460199998</c:v>
                </c:pt>
                <c:pt idx="1639">
                  <c:v>3.7272224111599996</c:v>
                </c:pt>
                <c:pt idx="1640">
                  <c:v>3.72622866191</c:v>
                </c:pt>
                <c:pt idx="1641">
                  <c:v>3.7262446441699999</c:v>
                </c:pt>
                <c:pt idx="1642">
                  <c:v>3.74626063459</c:v>
                </c:pt>
                <c:pt idx="1643">
                  <c:v>3.7462766334299999</c:v>
                </c:pt>
                <c:pt idx="1644">
                  <c:v>3.7058082582899998</c:v>
                </c:pt>
                <c:pt idx="1645">
                  <c:v>3.7058242739600002</c:v>
                </c:pt>
                <c:pt idx="1646">
                  <c:v>3.7056331795300004</c:v>
                </c:pt>
                <c:pt idx="1647">
                  <c:v>3.70564921235</c:v>
                </c:pt>
                <c:pt idx="1648">
                  <c:v>3.7056652535599999</c:v>
                </c:pt>
                <c:pt idx="1649">
                  <c:v>3.7056813029</c:v>
                </c:pt>
                <c:pt idx="1650">
                  <c:v>3.7056973612600004</c:v>
                </c:pt>
                <c:pt idx="1651">
                  <c:v>3.7057134277500001</c:v>
                </c:pt>
                <c:pt idx="1652">
                  <c:v>3.7057295026799997</c:v>
                </c:pt>
                <c:pt idx="1653">
                  <c:v>3.7057455862899999</c:v>
                </c:pt>
                <c:pt idx="1654">
                  <c:v>3.70576167835</c:v>
                </c:pt>
                <c:pt idx="1655">
                  <c:v>3.7012597065100001</c:v>
                </c:pt>
                <c:pt idx="1656">
                  <c:v>3.7060923371899999</c:v>
                </c:pt>
                <c:pt idx="1657">
                  <c:v>3.7059689768999999</c:v>
                </c:pt>
                <c:pt idx="1658">
                  <c:v>3.7309856256300002</c:v>
                </c:pt>
                <c:pt idx="1659">
                  <c:v>3.7310022836900001</c:v>
                </c:pt>
                <c:pt idx="1660">
                  <c:v>3.7310189507499998</c:v>
                </c:pt>
                <c:pt idx="1661">
                  <c:v>3.73067985013</c:v>
                </c:pt>
                <c:pt idx="1662">
                  <c:v>3.7297590352899999</c:v>
                </c:pt>
                <c:pt idx="1663">
                  <c:v>3.73506950759</c:v>
                </c:pt>
                <c:pt idx="1664">
                  <c:v>3.73508621076</c:v>
                </c:pt>
                <c:pt idx="1665">
                  <c:v>3.7351029232800004</c:v>
                </c:pt>
                <c:pt idx="1666">
                  <c:v>3.7351196447900001</c:v>
                </c:pt>
                <c:pt idx="1667">
                  <c:v>3.7343705587600002</c:v>
                </c:pt>
                <c:pt idx="1668">
                  <c:v>3.7343872983699997</c:v>
                </c:pt>
                <c:pt idx="1669">
                  <c:v>3.73440404727</c:v>
                </c:pt>
                <c:pt idx="1670">
                  <c:v>3.72072501761</c:v>
                </c:pt>
                <c:pt idx="1671">
                  <c:v>3.7207417846099999</c:v>
                </c:pt>
                <c:pt idx="1672">
                  <c:v>3.7207585608899998</c:v>
                </c:pt>
                <c:pt idx="1673">
                  <c:v>3.7199312786199998</c:v>
                </c:pt>
                <c:pt idx="1674">
                  <c:v>3.7199480729999999</c:v>
                </c:pt>
                <c:pt idx="1675">
                  <c:v>3.7199648766900002</c:v>
                </c:pt>
                <c:pt idx="1676">
                  <c:v>3.71998168943</c:v>
                </c:pt>
                <c:pt idx="1677">
                  <c:v>3.7151786213099998</c:v>
                </c:pt>
                <c:pt idx="1678">
                  <c:v>3.7151954524200002</c:v>
                </c:pt>
                <c:pt idx="1679">
                  <c:v>3.7152122928</c:v>
                </c:pt>
                <c:pt idx="1680">
                  <c:v>3.7152291419800001</c:v>
                </c:pt>
                <c:pt idx="1681">
                  <c:v>3.7152460007600001</c:v>
                </c:pt>
                <c:pt idx="1682">
                  <c:v>3.7149008933499998</c:v>
                </c:pt>
                <c:pt idx="1683">
                  <c:v>3.71398027052</c:v>
                </c:pt>
                <c:pt idx="1684">
                  <c:v>3.7139249347600001</c:v>
                </c:pt>
                <c:pt idx="1685">
                  <c:v>3.71394183026</c:v>
                </c:pt>
                <c:pt idx="1686">
                  <c:v>3.7139587348099998</c:v>
                </c:pt>
                <c:pt idx="1687">
                  <c:v>3.7218386484099999</c:v>
                </c:pt>
                <c:pt idx="1688">
                  <c:v>3.7218555713200003</c:v>
                </c:pt>
                <c:pt idx="1689">
                  <c:v>3.7211061301799999</c:v>
                </c:pt>
                <c:pt idx="1690">
                  <c:v>3.7211230714800001</c:v>
                </c:pt>
                <c:pt idx="1691">
                  <c:v>3.7211400220900002</c:v>
                </c:pt>
                <c:pt idx="1692">
                  <c:v>3.7211569817600001</c:v>
                </c:pt>
                <c:pt idx="1693">
                  <c:v>3.7211739507899999</c:v>
                </c:pt>
                <c:pt idx="1694">
                  <c:v>3.7211328794799998</c:v>
                </c:pt>
                <c:pt idx="1695">
                  <c:v>3.7211498671300003</c:v>
                </c:pt>
                <c:pt idx="1696">
                  <c:v>3.8228748638600001</c:v>
                </c:pt>
                <c:pt idx="1697">
                  <c:v>3.8238918699099997</c:v>
                </c:pt>
                <c:pt idx="1698">
                  <c:v>4.78703840931</c:v>
                </c:pt>
                <c:pt idx="1699">
                  <c:v>4.78703840931</c:v>
                </c:pt>
                <c:pt idx="1700">
                  <c:v>4.78703840931</c:v>
                </c:pt>
                <c:pt idx="1701">
                  <c:v>4.7867671839099994</c:v>
                </c:pt>
                <c:pt idx="1702">
                  <c:v>4.7867671839099994</c:v>
                </c:pt>
                <c:pt idx="1703">
                  <c:v>4.78639293205</c:v>
                </c:pt>
                <c:pt idx="1704">
                  <c:v>4.7853710449700007</c:v>
                </c:pt>
                <c:pt idx="1705">
                  <c:v>4.7843613239899998</c:v>
                </c:pt>
                <c:pt idx="1706">
                  <c:v>4.9344471197899997</c:v>
                </c:pt>
                <c:pt idx="1707">
                  <c:v>4.93916596524</c:v>
                </c:pt>
                <c:pt idx="1708">
                  <c:v>4.9258544026199997</c:v>
                </c:pt>
                <c:pt idx="1709">
                  <c:v>4.9237203446700004</c:v>
                </c:pt>
                <c:pt idx="1710">
                  <c:v>4.9234191243900005</c:v>
                </c:pt>
                <c:pt idx="1711">
                  <c:v>4.9227172040399996</c:v>
                </c:pt>
                <c:pt idx="1712">
                  <c:v>4.9973456863000001</c:v>
                </c:pt>
                <c:pt idx="1713">
                  <c:v>5.0508318261999996</c:v>
                </c:pt>
                <c:pt idx="1714">
                  <c:v>5.0680180683999998</c:v>
                </c:pt>
                <c:pt idx="1715">
                  <c:v>5.2445803605500005</c:v>
                </c:pt>
                <c:pt idx="1716">
                  <c:v>5.7457117010000003</c:v>
                </c:pt>
                <c:pt idx="1717">
                  <c:v>5.76869808975</c:v>
                </c:pt>
                <c:pt idx="1718">
                  <c:v>5.7930845299499998</c:v>
                </c:pt>
                <c:pt idx="1719">
                  <c:v>5.8167585150000001</c:v>
                </c:pt>
                <c:pt idx="1720">
                  <c:v>5.8295357001899992</c:v>
                </c:pt>
                <c:pt idx="1721">
                  <c:v>5.8383222884399997</c:v>
                </c:pt>
                <c:pt idx="1722">
                  <c:v>5.8735089251400003</c:v>
                </c:pt>
                <c:pt idx="1723">
                  <c:v>5.8969956132899997</c:v>
                </c:pt>
                <c:pt idx="1724">
                  <c:v>5.9341660748500002</c:v>
                </c:pt>
                <c:pt idx="1725">
                  <c:v>5.9441528611000001</c:v>
                </c:pt>
                <c:pt idx="1726">
                  <c:v>5.9478674740200006</c:v>
                </c:pt>
                <c:pt idx="1727">
                  <c:v>5.9576543588199993</c:v>
                </c:pt>
                <c:pt idx="1728">
                  <c:v>5.9637412950699993</c:v>
                </c:pt>
                <c:pt idx="1729">
                  <c:v>5.9710282796199996</c:v>
                </c:pt>
                <c:pt idx="1730">
                  <c:v>5.9885978447200001</c:v>
                </c:pt>
                <c:pt idx="1731">
                  <c:v>5.9946349293200001</c:v>
                </c:pt>
                <c:pt idx="1732">
                  <c:v>5.9977220652200005</c:v>
                </c:pt>
                <c:pt idx="1733">
                  <c:v>5.9978092497200004</c:v>
                </c:pt>
                <c:pt idx="1734">
                  <c:v>5.99789648417</c:v>
                </c:pt>
                <c:pt idx="1735">
                  <c:v>6.0011837685699998</c:v>
                </c:pt>
                <c:pt idx="1736">
                  <c:v>6.0041711015699999</c:v>
                </c:pt>
                <c:pt idx="1737">
                  <c:v>6.0042584858700003</c:v>
                </c:pt>
                <c:pt idx="1738">
                  <c:v>6.0043459201199996</c:v>
                </c:pt>
                <c:pt idx="1739">
                  <c:v>5.9999153323199996</c:v>
                </c:pt>
                <c:pt idx="1740">
                  <c:v>6.00000286662</c:v>
                </c:pt>
                <c:pt idx="1741">
                  <c:v>6.0000904510200002</c:v>
                </c:pt>
                <c:pt idx="1742">
                  <c:v>6.0031780855200001</c:v>
                </c:pt>
                <c:pt idx="1743">
                  <c:v>6.0027214874899997</c:v>
                </c:pt>
                <c:pt idx="1744">
                  <c:v>6.0028092719899995</c:v>
                </c:pt>
                <c:pt idx="1745">
                  <c:v>6.00282488661</c:v>
                </c:pt>
                <c:pt idx="1746">
                  <c:v>6.0019752728100002</c:v>
                </c:pt>
                <c:pt idx="1747">
                  <c:v>6.00206320731</c:v>
                </c:pt>
                <c:pt idx="1748">
                  <c:v>6.0020511937099998</c:v>
                </c:pt>
                <c:pt idx="1749">
                  <c:v>6.0021392315600002</c:v>
                </c:pt>
                <c:pt idx="1750">
                  <c:v>6.0022273180100001</c:v>
                </c:pt>
                <c:pt idx="1751">
                  <c:v>6.0014846126599997</c:v>
                </c:pt>
                <c:pt idx="1752">
                  <c:v>6.00763579916</c:v>
                </c:pt>
                <c:pt idx="1753">
                  <c:v>6.3922515912700009</c:v>
                </c:pt>
                <c:pt idx="1754">
                  <c:v>6.3116066411899991</c:v>
                </c:pt>
                <c:pt idx="1755">
                  <c:v>6.3855984557100003</c:v>
                </c:pt>
                <c:pt idx="1756">
                  <c:v>6.3859164558800003</c:v>
                </c:pt>
                <c:pt idx="1757">
                  <c:v>6.3862346463199993</c:v>
                </c:pt>
                <c:pt idx="1758">
                  <c:v>6.3865530217500002</c:v>
                </c:pt>
                <c:pt idx="1759">
                  <c:v>6.3868715866199999</c:v>
                </c:pt>
                <c:pt idx="1760">
                  <c:v>6.3871903385</c:v>
                </c:pt>
                <c:pt idx="1761">
                  <c:v>6.3860800388500003</c:v>
                </c:pt>
                <c:pt idx="1762">
                  <c:v>6.3863991675699996</c:v>
                </c:pt>
                <c:pt idx="1763">
                  <c:v>6.3867184835200002</c:v>
                </c:pt>
                <c:pt idx="1764">
                  <c:v>6.3870379892600004</c:v>
                </c:pt>
                <c:pt idx="1765">
                  <c:v>6.3865432531899993</c:v>
                </c:pt>
                <c:pt idx="1766">
                  <c:v>6.3868631356099996</c:v>
                </c:pt>
                <c:pt idx="1767">
                  <c:v>6.3871109848100005</c:v>
                </c:pt>
                <c:pt idx="1768">
                  <c:v>6.3874312451499993</c:v>
                </c:pt>
                <c:pt idx="1769">
                  <c:v>6.3877516932799994</c:v>
                </c:pt>
                <c:pt idx="1770">
                  <c:v>6.38807233021</c:v>
                </c:pt>
                <c:pt idx="1771">
                  <c:v>6.3875142148400004</c:v>
                </c:pt>
                <c:pt idx="1772">
                  <c:v>6.3878352310600004</c:v>
                </c:pt>
                <c:pt idx="1773">
                  <c:v>6.3881564361100001</c:v>
                </c:pt>
                <c:pt idx="1774">
                  <c:v>6.3884778310000003</c:v>
                </c:pt>
                <c:pt idx="1775">
                  <c:v>6.3887993564899999</c:v>
                </c:pt>
                <c:pt idx="1776">
                  <c:v>6.3891210708599999</c:v>
                </c:pt>
                <c:pt idx="1777">
                  <c:v>6.3894429768999998</c:v>
                </c:pt>
                <c:pt idx="1778">
                  <c:v>6.3610749326300002</c:v>
                </c:pt>
                <c:pt idx="1779">
                  <c:v>6.3613800592500001</c:v>
                </c:pt>
                <c:pt idx="1780">
                  <c:v>6.3488706597100002</c:v>
                </c:pt>
                <c:pt idx="1781">
                  <c:v>6.3491761470299997</c:v>
                </c:pt>
                <c:pt idx="1782">
                  <c:v>6.3494818135500006</c:v>
                </c:pt>
                <c:pt idx="1783">
                  <c:v>6.3497876604899997</c:v>
                </c:pt>
                <c:pt idx="1784">
                  <c:v>6.3500936868599993</c:v>
                </c:pt>
                <c:pt idx="1785">
                  <c:v>6.3500322266099998</c:v>
                </c:pt>
                <c:pt idx="1786">
                  <c:v>6.3366920331099994</c:v>
                </c:pt>
                <c:pt idx="1787">
                  <c:v>6.3369263804399996</c:v>
                </c:pt>
                <c:pt idx="1788">
                  <c:v>6.3372003433300002</c:v>
                </c:pt>
                <c:pt idx="1789">
                  <c:v>6.3372993962799997</c:v>
                </c:pt>
                <c:pt idx="1790">
                  <c:v>6.3376069704399995</c:v>
                </c:pt>
                <c:pt idx="1791">
                  <c:v>6.3408166242700004</c:v>
                </c:pt>
                <c:pt idx="1792">
                  <c:v>6.3411245604199999</c:v>
                </c:pt>
                <c:pt idx="1793">
                  <c:v>6.3414326785799995</c:v>
                </c:pt>
                <c:pt idx="1794">
                  <c:v>6.3417409781800007</c:v>
                </c:pt>
                <c:pt idx="1795">
                  <c:v>6.33600142413</c:v>
                </c:pt>
                <c:pt idx="1796">
                  <c:v>6.33632738829</c:v>
                </c:pt>
                <c:pt idx="1797">
                  <c:v>6.3366335312500004</c:v>
                </c:pt>
                <c:pt idx="1798">
                  <c:v>6.3369398564699999</c:v>
                </c:pt>
                <c:pt idx="1799">
                  <c:v>6.33724636065</c:v>
                </c:pt>
                <c:pt idx="1800">
                  <c:v>6.3375530471600001</c:v>
                </c:pt>
                <c:pt idx="1801">
                  <c:v>6.2187603815500001</c:v>
                </c:pt>
                <c:pt idx="1802">
                  <c:v>6.2190674278500007</c:v>
                </c:pt>
                <c:pt idx="1803">
                  <c:v>6.3384667379300001</c:v>
                </c:pt>
                <c:pt idx="1804">
                  <c:v>6.3384474549599998</c:v>
                </c:pt>
                <c:pt idx="1805">
                  <c:v>6.3387550447800001</c:v>
                </c:pt>
                <c:pt idx="1806">
                  <c:v>6.3389905929600001</c:v>
                </c:pt>
                <c:pt idx="1807">
                  <c:v>6.3383610455700001</c:v>
                </c:pt>
                <c:pt idx="1808">
                  <c:v>6.3386691789799992</c:v>
                </c:pt>
                <c:pt idx="1809">
                  <c:v>6.3381696438900006</c:v>
                </c:pt>
                <c:pt idx="1810">
                  <c:v>6.3384781405800004</c:v>
                </c:pt>
                <c:pt idx="1811">
                  <c:v>6.3387868189200001</c:v>
                </c:pt>
                <c:pt idx="1812">
                  <c:v>6.3381852651099999</c:v>
                </c:pt>
                <c:pt idx="1813">
                  <c:v>6.3384943070600004</c:v>
                </c:pt>
                <c:pt idx="1814">
                  <c:v>6.3388035324799992</c:v>
                </c:pt>
                <c:pt idx="1815">
                  <c:v>6.3391129396800006</c:v>
                </c:pt>
                <c:pt idx="1816">
                  <c:v>6.4411768376999996</c:v>
                </c:pt>
                <c:pt idx="1817">
                  <c:v>6.4330994022499999</c:v>
                </c:pt>
                <c:pt idx="1818">
                  <c:v>6.4245181335200003</c:v>
                </c:pt>
                <c:pt idx="1819">
                  <c:v>6.4248189605799997</c:v>
                </c:pt>
                <c:pt idx="1820">
                  <c:v>6.4251199660100005</c:v>
                </c:pt>
                <c:pt idx="1821">
                  <c:v>6.4365319893699997</c:v>
                </c:pt>
                <c:pt idx="1822">
                  <c:v>6.4368801904100001</c:v>
                </c:pt>
                <c:pt idx="1823">
                  <c:v>7.0574502178500005</c:v>
                </c:pt>
                <c:pt idx="1824">
                  <c:v>7.05200731509</c:v>
                </c:pt>
                <c:pt idx="1825">
                  <c:v>7.1023059689599997</c:v>
                </c:pt>
                <c:pt idx="1826">
                  <c:v>7.1817157188900005</c:v>
                </c:pt>
                <c:pt idx="1827">
                  <c:v>7.1820147253999993</c:v>
                </c:pt>
                <c:pt idx="1828">
                  <c:v>7.18224168353</c:v>
                </c:pt>
                <c:pt idx="1829">
                  <c:v>7.1785463873100008</c:v>
                </c:pt>
                <c:pt idx="1830">
                  <c:v>7.1780356700799999</c:v>
                </c:pt>
                <c:pt idx="1831">
                  <c:v>7.7767599901199995</c:v>
                </c:pt>
                <c:pt idx="1832">
                  <c:v>7.7770574848000003</c:v>
                </c:pt>
                <c:pt idx="1833">
                  <c:v>7.7770119161600002</c:v>
                </c:pt>
                <c:pt idx="1834">
                  <c:v>7.7773097627999999</c:v>
                </c:pt>
                <c:pt idx="1835">
                  <c:v>8.7704557840900002</c:v>
                </c:pt>
                <c:pt idx="1836">
                  <c:v>8.7713539804500016</c:v>
                </c:pt>
                <c:pt idx="1837">
                  <c:v>8.7716523526499994</c:v>
                </c:pt>
                <c:pt idx="1838">
                  <c:v>9.0395022581800006</c:v>
                </c:pt>
                <c:pt idx="1839">
                  <c:v>9.015633707180001</c:v>
                </c:pt>
                <c:pt idx="1840">
                  <c:v>9.0158255261900013</c:v>
                </c:pt>
                <c:pt idx="1841">
                  <c:v>9.0276975290700001</c:v>
                </c:pt>
                <c:pt idx="1842">
                  <c:v>9.0416251557900011</c:v>
                </c:pt>
                <c:pt idx="1843">
                  <c:v>9.0247071054300001</c:v>
                </c:pt>
                <c:pt idx="1844">
                  <c:v>9.0248902717199986</c:v>
                </c:pt>
                <c:pt idx="1845">
                  <c:v>9.0250735472999999</c:v>
                </c:pt>
                <c:pt idx="1846">
                  <c:v>9.5389788433999989</c:v>
                </c:pt>
                <c:pt idx="1847">
                  <c:v>9.5391623375400005</c:v>
                </c:pt>
                <c:pt idx="1848">
                  <c:v>9.5058385648600012</c:v>
                </c:pt>
                <c:pt idx="1849">
                  <c:v>9.5040022825600001</c:v>
                </c:pt>
                <c:pt idx="1850">
                  <c:v>9.5033582544699993</c:v>
                </c:pt>
                <c:pt idx="1851">
                  <c:v>9.503522166989999</c:v>
                </c:pt>
                <c:pt idx="1852">
                  <c:v>9.5036861774899997</c:v>
                </c:pt>
                <c:pt idx="1853">
                  <c:v>9.4188763832000006</c:v>
                </c:pt>
                <c:pt idx="1854">
                  <c:v>9.4189987959800003</c:v>
                </c:pt>
                <c:pt idx="1855">
                  <c:v>9.4191212819200008</c:v>
                </c:pt>
                <c:pt idx="1856">
                  <c:v>9.4192438405699992</c:v>
                </c:pt>
                <c:pt idx="1857">
                  <c:v>9.4193664723600001</c:v>
                </c:pt>
                <c:pt idx="1858">
                  <c:v>9.3996329047199989</c:v>
                </c:pt>
                <c:pt idx="1859">
                  <c:v>9.3997433900599994</c:v>
                </c:pt>
                <c:pt idx="1860">
                  <c:v>9.39985394124</c:v>
                </c:pt>
                <c:pt idx="1861">
                  <c:v>9.37700685095</c:v>
                </c:pt>
                <c:pt idx="1862">
                  <c:v>9.3245331462099994</c:v>
                </c:pt>
                <c:pt idx="1863">
                  <c:v>9.322493906590001</c:v>
                </c:pt>
                <c:pt idx="1864">
                  <c:v>9.3225987304500002</c:v>
                </c:pt>
                <c:pt idx="1865">
                  <c:v>9.322703616850001</c:v>
                </c:pt>
                <c:pt idx="1866">
                  <c:v>9.3228085653899999</c:v>
                </c:pt>
                <c:pt idx="1867">
                  <c:v>9.3035279651600007</c:v>
                </c:pt>
                <c:pt idx="1868">
                  <c:v>9.3036216690499991</c:v>
                </c:pt>
                <c:pt idx="1869">
                  <c:v>9.3036432065600003</c:v>
                </c:pt>
                <c:pt idx="1870">
                  <c:v>9.3037370218299991</c:v>
                </c:pt>
                <c:pt idx="1871">
                  <c:v>9.3038308929799989</c:v>
                </c:pt>
                <c:pt idx="1872">
                  <c:v>9.2597117902600008</c:v>
                </c:pt>
                <c:pt idx="1873">
                  <c:v>9.1605352152500004</c:v>
                </c:pt>
                <c:pt idx="1874">
                  <c:v>9.1577876361499992</c:v>
                </c:pt>
                <c:pt idx="1875">
                  <c:v>9.16060296703</c:v>
                </c:pt>
                <c:pt idx="1876">
                  <c:v>9.1680711129199999</c:v>
                </c:pt>
                <c:pt idx="1877">
                  <c:v>9.1681392991599999</c:v>
                </c:pt>
                <c:pt idx="1878">
                  <c:v>9.1695305259799991</c:v>
                </c:pt>
                <c:pt idx="1879">
                  <c:v>9.1497741147199996</c:v>
                </c:pt>
                <c:pt idx="1880">
                  <c:v>10.16247756656</c:v>
                </c:pt>
                <c:pt idx="1881">
                  <c:v>10.16253405166</c:v>
                </c:pt>
                <c:pt idx="1882">
                  <c:v>10.162590570180001</c:v>
                </c:pt>
                <c:pt idx="1883">
                  <c:v>10.446754756459999</c:v>
                </c:pt>
                <c:pt idx="1884">
                  <c:v>10.450029691100001</c:v>
                </c:pt>
                <c:pt idx="1885">
                  <c:v>10.598647081020001</c:v>
                </c:pt>
                <c:pt idx="1886">
                  <c:v>10.598694217850001</c:v>
                </c:pt>
                <c:pt idx="1887">
                  <c:v>10.59874138254</c:v>
                </c:pt>
                <c:pt idx="1888">
                  <c:v>10.593419939049999</c:v>
                </c:pt>
                <c:pt idx="1889">
                  <c:v>10.59346394882</c:v>
                </c:pt>
                <c:pt idx="1890">
                  <c:v>10.593218782919999</c:v>
                </c:pt>
                <c:pt idx="1891">
                  <c:v>10.5931906225</c:v>
                </c:pt>
                <c:pt idx="1892">
                  <c:v>10.5919691804</c:v>
                </c:pt>
                <c:pt idx="1893">
                  <c:v>10.591205439239999</c:v>
                </c:pt>
                <c:pt idx="1894">
                  <c:v>10.591249578879999</c:v>
                </c:pt>
                <c:pt idx="1895">
                  <c:v>10.591293744410001</c:v>
                </c:pt>
                <c:pt idx="1896">
                  <c:v>10.579470907040001</c:v>
                </c:pt>
                <c:pt idx="1897">
                  <c:v>10.58050124927</c:v>
                </c:pt>
                <c:pt idx="1898">
                  <c:v>10.58054028332</c:v>
                </c:pt>
                <c:pt idx="1899">
                  <c:v>10.72201234013</c:v>
                </c:pt>
                <c:pt idx="1900">
                  <c:v>10.722050419629999</c:v>
                </c:pt>
                <c:pt idx="1901">
                  <c:v>10.722088521809999</c:v>
                </c:pt>
                <c:pt idx="1902">
                  <c:v>10.728458778770001</c:v>
                </c:pt>
                <c:pt idx="1903">
                  <c:v>10.728496926450001</c:v>
                </c:pt>
                <c:pt idx="1904">
                  <c:v>11.078461740469999</c:v>
                </c:pt>
                <c:pt idx="1905">
                  <c:v>11.078681675139999</c:v>
                </c:pt>
                <c:pt idx="1906">
                  <c:v>11.067907420879999</c:v>
                </c:pt>
                <c:pt idx="1907">
                  <c:v>11.06812758659</c:v>
                </c:pt>
                <c:pt idx="1908">
                  <c:v>11.068347873</c:v>
                </c:pt>
                <c:pt idx="1909">
                  <c:v>11.06856827316</c:v>
                </c:pt>
                <c:pt idx="1910">
                  <c:v>11.068482358659999</c:v>
                </c:pt>
                <c:pt idx="1911">
                  <c:v>11.06933599341</c:v>
                </c:pt>
                <c:pt idx="1912">
                  <c:v>11.06948452622</c:v>
                </c:pt>
                <c:pt idx="1913">
                  <c:v>11.07786039558</c:v>
                </c:pt>
                <c:pt idx="1914">
                  <c:v>11.078081385760001</c:v>
                </c:pt>
                <c:pt idx="1915">
                  <c:v>11.07749464352</c:v>
                </c:pt>
                <c:pt idx="1916">
                  <c:v>11.016327044840001</c:v>
                </c:pt>
                <c:pt idx="1917">
                  <c:v>11.391860674669999</c:v>
                </c:pt>
                <c:pt idx="1918">
                  <c:v>11.3910533263</c:v>
                </c:pt>
                <c:pt idx="1919">
                  <c:v>11.39123815049</c:v>
                </c:pt>
                <c:pt idx="1920">
                  <c:v>11.392016070110001</c:v>
                </c:pt>
                <c:pt idx="1921">
                  <c:v>11.46220108164</c:v>
                </c:pt>
                <c:pt idx="1922">
                  <c:v>11.462386195610001</c:v>
                </c:pt>
                <c:pt idx="1923">
                  <c:v>11.46307640152</c:v>
                </c:pt>
                <c:pt idx="1924">
                  <c:v>11.463261702860001</c:v>
                </c:pt>
                <c:pt idx="1925">
                  <c:v>11.46344710312</c:v>
                </c:pt>
                <c:pt idx="1926">
                  <c:v>11.46363259882</c:v>
                </c:pt>
                <c:pt idx="1927">
                  <c:v>11.473707193459999</c:v>
                </c:pt>
                <c:pt idx="1928">
                  <c:v>11.472965802700001</c:v>
                </c:pt>
                <c:pt idx="1929">
                  <c:v>11.79468202078</c:v>
                </c:pt>
                <c:pt idx="1930">
                  <c:v>11.79486790172</c:v>
                </c:pt>
                <c:pt idx="1931">
                  <c:v>11.793813875729999</c:v>
                </c:pt>
                <c:pt idx="1932">
                  <c:v>11.793999275959999</c:v>
                </c:pt>
                <c:pt idx="1933">
                  <c:v>11.793885468139999</c:v>
                </c:pt>
                <c:pt idx="1934">
                  <c:v>11.79407106201</c:v>
                </c:pt>
                <c:pt idx="1935">
                  <c:v>11.79418452893</c:v>
                </c:pt>
                <c:pt idx="1936">
                  <c:v>11.79437031644</c:v>
                </c:pt>
                <c:pt idx="1937">
                  <c:v>11.79056870883</c:v>
                </c:pt>
                <c:pt idx="1938">
                  <c:v>11.790797520209999</c:v>
                </c:pt>
                <c:pt idx="1939">
                  <c:v>11.790982744879999</c:v>
                </c:pt>
                <c:pt idx="1940">
                  <c:v>11.72884666162</c:v>
                </c:pt>
                <c:pt idx="1941">
                  <c:v>11.729032078940001</c:v>
                </c:pt>
                <c:pt idx="1942">
                  <c:v>11.72921759085</c:v>
                </c:pt>
                <c:pt idx="1943">
                  <c:v>11.72940320082</c:v>
                </c:pt>
                <c:pt idx="1944">
                  <c:v>11.729162490509999</c:v>
                </c:pt>
                <c:pt idx="1945">
                  <c:v>11.739237044219999</c:v>
                </c:pt>
                <c:pt idx="1946">
                  <c:v>11.739422692370001</c:v>
                </c:pt>
                <c:pt idx="1947">
                  <c:v>11.74760843844</c:v>
                </c:pt>
                <c:pt idx="1948">
                  <c:v>11.747794282440001</c:v>
                </c:pt>
                <c:pt idx="1949">
                  <c:v>11.74861945458</c:v>
                </c:pt>
                <c:pt idx="1950">
                  <c:v>11.794149598260001</c:v>
                </c:pt>
                <c:pt idx="1951">
                  <c:v>11.794335729049999</c:v>
                </c:pt>
                <c:pt idx="1952">
                  <c:v>11.178233957770001</c:v>
                </c:pt>
                <c:pt idx="1953">
                  <c:v>11.17842028442</c:v>
                </c:pt>
                <c:pt idx="1954">
                  <c:v>11.178292986420001</c:v>
                </c:pt>
                <c:pt idx="1955">
                  <c:v>11.189050921030001</c:v>
                </c:pt>
                <c:pt idx="1956">
                  <c:v>11.190485315169999</c:v>
                </c:pt>
                <c:pt idx="1957">
                  <c:v>11.18986419464</c:v>
                </c:pt>
                <c:pt idx="1958">
                  <c:v>11.190051007440001</c:v>
                </c:pt>
                <c:pt idx="1959">
                  <c:v>11.190237914659999</c:v>
                </c:pt>
                <c:pt idx="1960">
                  <c:v>11.18936203372</c:v>
                </c:pt>
                <c:pt idx="1961">
                  <c:v>11.189549136799998</c:v>
                </c:pt>
                <c:pt idx="1962">
                  <c:v>11.189736334319999</c:v>
                </c:pt>
                <c:pt idx="1963">
                  <c:v>11.39361452402</c:v>
                </c:pt>
                <c:pt idx="1964">
                  <c:v>11.39379880816</c:v>
                </c:pt>
                <c:pt idx="1965">
                  <c:v>11.37898318673</c:v>
                </c:pt>
                <c:pt idx="1966">
                  <c:v>11.379167656229999</c:v>
                </c:pt>
                <c:pt idx="1967">
                  <c:v>11.381562139270001</c:v>
                </c:pt>
                <c:pt idx="1968">
                  <c:v>11.391746801129999</c:v>
                </c:pt>
                <c:pt idx="1969">
                  <c:v>11.38966522042</c:v>
                </c:pt>
                <c:pt idx="1970">
                  <c:v>11.398367522209998</c:v>
                </c:pt>
                <c:pt idx="1971">
                  <c:v>11.398552463870001</c:v>
                </c:pt>
                <c:pt idx="1972">
                  <c:v>11.400237503450001</c:v>
                </c:pt>
                <c:pt idx="1973">
                  <c:v>11.715422633979999</c:v>
                </c:pt>
                <c:pt idx="1974">
                  <c:v>11.71529077798</c:v>
                </c:pt>
                <c:pt idx="1975">
                  <c:v>11.715476100870001</c:v>
                </c:pt>
                <c:pt idx="1976">
                  <c:v>11.71558929357</c:v>
                </c:pt>
                <c:pt idx="1977">
                  <c:v>11.71577480531</c:v>
                </c:pt>
                <c:pt idx="1978">
                  <c:v>11.718383553739999</c:v>
                </c:pt>
                <c:pt idx="1979">
                  <c:v>11.71856925434</c:v>
                </c:pt>
                <c:pt idx="1980">
                  <c:v>11.718755049379999</c:v>
                </c:pt>
                <c:pt idx="1981">
                  <c:v>11.684015225650001</c:v>
                </c:pt>
                <c:pt idx="1982">
                  <c:v>11.684201213040001</c:v>
                </c:pt>
                <c:pt idx="1983">
                  <c:v>11.667801433120001</c:v>
                </c:pt>
                <c:pt idx="1984">
                  <c:v>11.667987609379999</c:v>
                </c:pt>
                <c:pt idx="1985">
                  <c:v>11.66817388007</c:v>
                </c:pt>
                <c:pt idx="1986">
                  <c:v>11.67336024519</c:v>
                </c:pt>
                <c:pt idx="1987">
                  <c:v>12.67354670474</c:v>
                </c:pt>
                <c:pt idx="1988">
                  <c:v>12.67873326222</c:v>
                </c:pt>
                <c:pt idx="1989">
                  <c:v>12.69374757484</c:v>
                </c:pt>
                <c:pt idx="1990">
                  <c:v>12.67832172292</c:v>
                </c:pt>
                <c:pt idx="1991">
                  <c:v>12.689739402000001</c:v>
                </c:pt>
                <c:pt idx="1992">
                  <c:v>12.68992317551</c:v>
                </c:pt>
                <c:pt idx="1993">
                  <c:v>12.71210703995</c:v>
                </c:pt>
                <c:pt idx="1994">
                  <c:v>12.715282359069999</c:v>
                </c:pt>
                <c:pt idx="1995">
                  <c:v>12.715466408879999</c:v>
                </c:pt>
                <c:pt idx="1996">
                  <c:v>12.715578330450001</c:v>
                </c:pt>
                <c:pt idx="1997">
                  <c:v>12.719262562120001</c:v>
                </c:pt>
                <c:pt idx="1998">
                  <c:v>12.72444689173</c:v>
                </c:pt>
                <c:pt idx="1999">
                  <c:v>13.08744752</c:v>
                </c:pt>
                <c:pt idx="2000">
                  <c:v>13.09263203147</c:v>
                </c:pt>
                <c:pt idx="2001">
                  <c:v>13.350934637370001</c:v>
                </c:pt>
                <c:pt idx="2002">
                  <c:v>14.256991582209999</c:v>
                </c:pt>
                <c:pt idx="2003">
                  <c:v>14.445515197479999</c:v>
                </c:pt>
                <c:pt idx="2004">
                  <c:v>15.57355875575</c:v>
                </c:pt>
                <c:pt idx="2005">
                  <c:v>16.273743732379998</c:v>
                </c:pt>
                <c:pt idx="2006">
                  <c:v>16.354372799949999</c:v>
                </c:pt>
                <c:pt idx="2007">
                  <c:v>16.48375696195</c:v>
                </c:pt>
                <c:pt idx="2008">
                  <c:v>16.485304214879999</c:v>
                </c:pt>
                <c:pt idx="2009">
                  <c:v>16.485489562240002</c:v>
                </c:pt>
                <c:pt idx="2010">
                  <c:v>16.484860190040003</c:v>
                </c:pt>
                <c:pt idx="2011">
                  <c:v>17.467660601759999</c:v>
                </c:pt>
                <c:pt idx="2012">
                  <c:v>17.464314580169997</c:v>
                </c:pt>
                <c:pt idx="2013">
                  <c:v>17.464500301759998</c:v>
                </c:pt>
                <c:pt idx="2014">
                  <c:v>17.46468611429</c:v>
                </c:pt>
                <c:pt idx="2015">
                  <c:v>17.467472021240003</c:v>
                </c:pt>
                <c:pt idx="2016">
                  <c:v>17.467335520950002</c:v>
                </c:pt>
                <c:pt idx="2017">
                  <c:v>17.46752161677</c:v>
                </c:pt>
                <c:pt idx="2018">
                  <c:v>17.467635581370001</c:v>
                </c:pt>
                <c:pt idx="2019">
                  <c:v>17.467821859049998</c:v>
                </c:pt>
                <c:pt idx="2020">
                  <c:v>17.466998420849997</c:v>
                </c:pt>
                <c:pt idx="2021">
                  <c:v>17.503975220439997</c:v>
                </c:pt>
                <c:pt idx="2022">
                  <c:v>17.543952107470002</c:v>
                </c:pt>
                <c:pt idx="2023">
                  <c:v>17.57629265504</c:v>
                </c:pt>
                <c:pt idx="2024">
                  <c:v>17.579069709950002</c:v>
                </c:pt>
                <c:pt idx="2025">
                  <c:v>17.5862468453</c:v>
                </c:pt>
                <c:pt idx="2026">
                  <c:v>17.587201071580001</c:v>
                </c:pt>
                <c:pt idx="2027">
                  <c:v>17.592078378310003</c:v>
                </c:pt>
                <c:pt idx="2028">
                  <c:v>17.594455768970001</c:v>
                </c:pt>
                <c:pt idx="2029">
                  <c:v>17.611633243580002</c:v>
                </c:pt>
                <c:pt idx="2030">
                  <c:v>17.611810805619999</c:v>
                </c:pt>
                <c:pt idx="2031">
                  <c:v>17.611988451590001</c:v>
                </c:pt>
                <c:pt idx="2032">
                  <c:v>17.593415183929999</c:v>
                </c:pt>
                <c:pt idx="2033">
                  <c:v>17.591757770930002</c:v>
                </c:pt>
                <c:pt idx="2034">
                  <c:v>17.60294213453</c:v>
                </c:pt>
                <c:pt idx="2035">
                  <c:v>17.603108798509997</c:v>
                </c:pt>
                <c:pt idx="2036">
                  <c:v>17.60959254294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216183168"/>
        <c:axId val="216184704"/>
      </c:areaChart>
      <c:dateAx>
        <c:axId val="216183168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1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pt-BR"/>
          </a:p>
        </c:txPr>
        <c:crossAx val="216184704"/>
        <c:crosses val="autoZero"/>
        <c:auto val="1"/>
        <c:lblOffset val="100"/>
        <c:baseTimeUnit val="days"/>
        <c:majorUnit val="6"/>
        <c:majorTimeUnit val="months"/>
      </c:dateAx>
      <c:valAx>
        <c:axId val="216184704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pt-BR"/>
          </a:p>
        </c:txPr>
        <c:crossAx val="216183168"/>
        <c:crosses val="autoZero"/>
        <c:crossBetween val="midCat"/>
      </c:valAx>
      <c:spPr>
        <a:noFill/>
        <a:ln>
          <a:noFill/>
        </a:ln>
        <a:effectLst/>
      </c:spPr>
    </c:plotArea>
    <c:plotVisOnly val="1"/>
    <c:dispBlanksAs val="zero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pt-BR"/>
    </a:p>
  </c:txPr>
  <c:externalData r:id="rId1">
    <c:autoUpdate val="0"/>
  </c:externalData>
</c:chartSpace>
</file>

<file path=ppt/charts/chart2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areaChart>
        <c:grouping val="standard"/>
        <c:varyColors val="0"/>
        <c:ser>
          <c:idx val="0"/>
          <c:order val="0"/>
          <c:tx>
            <c:strRef>
              <c:f>Plan1!$B$1</c:f>
              <c:strCache>
                <c:ptCount val="1"/>
                <c:pt idx="0">
                  <c:v>CRI</c:v>
                </c:pt>
              </c:strCache>
            </c:strRef>
          </c:tx>
          <c:spPr>
            <a:solidFill>
              <a:srgbClr val="FF00FF"/>
            </a:solidFill>
            <a:ln>
              <a:noFill/>
            </a:ln>
            <a:effectLst/>
          </c:spPr>
          <c:cat>
            <c:numRef>
              <c:f>Plan1!$A$2:$A$4295</c:f>
              <c:numCache>
                <c:formatCode>m/d/yyyy</c:formatCode>
                <c:ptCount val="4294"/>
                <c:pt idx="0">
                  <c:v>36528</c:v>
                </c:pt>
                <c:pt idx="1">
                  <c:v>36529</c:v>
                </c:pt>
                <c:pt idx="2">
                  <c:v>36530</c:v>
                </c:pt>
                <c:pt idx="3">
                  <c:v>36531</c:v>
                </c:pt>
                <c:pt idx="4">
                  <c:v>36532</c:v>
                </c:pt>
                <c:pt idx="5">
                  <c:v>36535</c:v>
                </c:pt>
                <c:pt idx="6">
                  <c:v>36536</c:v>
                </c:pt>
                <c:pt idx="7">
                  <c:v>36537</c:v>
                </c:pt>
                <c:pt idx="8">
                  <c:v>36538</c:v>
                </c:pt>
                <c:pt idx="9">
                  <c:v>36539</c:v>
                </c:pt>
                <c:pt idx="10">
                  <c:v>36542</c:v>
                </c:pt>
                <c:pt idx="11">
                  <c:v>36543</c:v>
                </c:pt>
                <c:pt idx="12">
                  <c:v>36544</c:v>
                </c:pt>
                <c:pt idx="13">
                  <c:v>36545</c:v>
                </c:pt>
                <c:pt idx="14">
                  <c:v>36546</c:v>
                </c:pt>
                <c:pt idx="15">
                  <c:v>36549</c:v>
                </c:pt>
                <c:pt idx="16">
                  <c:v>36550</c:v>
                </c:pt>
                <c:pt idx="17">
                  <c:v>36551</c:v>
                </c:pt>
                <c:pt idx="18">
                  <c:v>36552</c:v>
                </c:pt>
                <c:pt idx="19">
                  <c:v>36553</c:v>
                </c:pt>
                <c:pt idx="20">
                  <c:v>36556</c:v>
                </c:pt>
                <c:pt idx="21">
                  <c:v>36557</c:v>
                </c:pt>
                <c:pt idx="22">
                  <c:v>36558</c:v>
                </c:pt>
                <c:pt idx="23">
                  <c:v>36559</c:v>
                </c:pt>
                <c:pt idx="24">
                  <c:v>36560</c:v>
                </c:pt>
                <c:pt idx="25">
                  <c:v>36563</c:v>
                </c:pt>
                <c:pt idx="26">
                  <c:v>36564</c:v>
                </c:pt>
                <c:pt idx="27">
                  <c:v>36565</c:v>
                </c:pt>
                <c:pt idx="28">
                  <c:v>36566</c:v>
                </c:pt>
                <c:pt idx="29">
                  <c:v>36567</c:v>
                </c:pt>
                <c:pt idx="30">
                  <c:v>36570</c:v>
                </c:pt>
                <c:pt idx="31">
                  <c:v>36571</c:v>
                </c:pt>
                <c:pt idx="32">
                  <c:v>36572</c:v>
                </c:pt>
                <c:pt idx="33">
                  <c:v>36573</c:v>
                </c:pt>
                <c:pt idx="34">
                  <c:v>36574</c:v>
                </c:pt>
                <c:pt idx="35">
                  <c:v>36577</c:v>
                </c:pt>
                <c:pt idx="36">
                  <c:v>36578</c:v>
                </c:pt>
                <c:pt idx="37">
                  <c:v>36579</c:v>
                </c:pt>
                <c:pt idx="38">
                  <c:v>36580</c:v>
                </c:pt>
                <c:pt idx="39">
                  <c:v>36581</c:v>
                </c:pt>
                <c:pt idx="40">
                  <c:v>36584</c:v>
                </c:pt>
                <c:pt idx="41">
                  <c:v>36585</c:v>
                </c:pt>
                <c:pt idx="42">
                  <c:v>36586</c:v>
                </c:pt>
                <c:pt idx="43">
                  <c:v>36587</c:v>
                </c:pt>
                <c:pt idx="44">
                  <c:v>36588</c:v>
                </c:pt>
                <c:pt idx="45">
                  <c:v>36593</c:v>
                </c:pt>
                <c:pt idx="46">
                  <c:v>36594</c:v>
                </c:pt>
                <c:pt idx="47">
                  <c:v>36595</c:v>
                </c:pt>
                <c:pt idx="48">
                  <c:v>36598</c:v>
                </c:pt>
                <c:pt idx="49">
                  <c:v>36599</c:v>
                </c:pt>
                <c:pt idx="50">
                  <c:v>36600</c:v>
                </c:pt>
                <c:pt idx="51">
                  <c:v>36601</c:v>
                </c:pt>
                <c:pt idx="52">
                  <c:v>36602</c:v>
                </c:pt>
                <c:pt idx="53">
                  <c:v>36605</c:v>
                </c:pt>
                <c:pt idx="54">
                  <c:v>36606</c:v>
                </c:pt>
                <c:pt idx="55">
                  <c:v>36607</c:v>
                </c:pt>
                <c:pt idx="56">
                  <c:v>36608</c:v>
                </c:pt>
                <c:pt idx="57">
                  <c:v>36609</c:v>
                </c:pt>
                <c:pt idx="58">
                  <c:v>36612</c:v>
                </c:pt>
                <c:pt idx="59">
                  <c:v>36613</c:v>
                </c:pt>
                <c:pt idx="60">
                  <c:v>36614</c:v>
                </c:pt>
                <c:pt idx="61">
                  <c:v>36615</c:v>
                </c:pt>
                <c:pt idx="62">
                  <c:v>36616</c:v>
                </c:pt>
                <c:pt idx="63">
                  <c:v>36619</c:v>
                </c:pt>
                <c:pt idx="64">
                  <c:v>36620</c:v>
                </c:pt>
                <c:pt idx="65">
                  <c:v>36621</c:v>
                </c:pt>
                <c:pt idx="66">
                  <c:v>36622</c:v>
                </c:pt>
                <c:pt idx="67">
                  <c:v>36623</c:v>
                </c:pt>
                <c:pt idx="68">
                  <c:v>36626</c:v>
                </c:pt>
                <c:pt idx="69">
                  <c:v>36627</c:v>
                </c:pt>
                <c:pt idx="70">
                  <c:v>36628</c:v>
                </c:pt>
                <c:pt idx="71">
                  <c:v>36629</c:v>
                </c:pt>
                <c:pt idx="72">
                  <c:v>36630</c:v>
                </c:pt>
                <c:pt idx="73">
                  <c:v>36633</c:v>
                </c:pt>
                <c:pt idx="74">
                  <c:v>36634</c:v>
                </c:pt>
                <c:pt idx="75">
                  <c:v>36635</c:v>
                </c:pt>
                <c:pt idx="76">
                  <c:v>36636</c:v>
                </c:pt>
                <c:pt idx="77">
                  <c:v>36640</c:v>
                </c:pt>
                <c:pt idx="78">
                  <c:v>36641</c:v>
                </c:pt>
                <c:pt idx="79">
                  <c:v>36642</c:v>
                </c:pt>
                <c:pt idx="80">
                  <c:v>36643</c:v>
                </c:pt>
                <c:pt idx="81">
                  <c:v>36644</c:v>
                </c:pt>
                <c:pt idx="82">
                  <c:v>36648</c:v>
                </c:pt>
                <c:pt idx="83">
                  <c:v>36649</c:v>
                </c:pt>
                <c:pt idx="84">
                  <c:v>36650</c:v>
                </c:pt>
                <c:pt idx="85">
                  <c:v>36651</c:v>
                </c:pt>
                <c:pt idx="86">
                  <c:v>36654</c:v>
                </c:pt>
                <c:pt idx="87">
                  <c:v>36655</c:v>
                </c:pt>
                <c:pt idx="88">
                  <c:v>36656</c:v>
                </c:pt>
                <c:pt idx="89">
                  <c:v>36657</c:v>
                </c:pt>
                <c:pt idx="90">
                  <c:v>36658</c:v>
                </c:pt>
                <c:pt idx="91">
                  <c:v>36661</c:v>
                </c:pt>
                <c:pt idx="92">
                  <c:v>36662</c:v>
                </c:pt>
                <c:pt idx="93">
                  <c:v>36663</c:v>
                </c:pt>
                <c:pt idx="94">
                  <c:v>36664</c:v>
                </c:pt>
                <c:pt idx="95">
                  <c:v>36665</c:v>
                </c:pt>
                <c:pt idx="96">
                  <c:v>36668</c:v>
                </c:pt>
                <c:pt idx="97">
                  <c:v>36669</c:v>
                </c:pt>
                <c:pt idx="98">
                  <c:v>36670</c:v>
                </c:pt>
                <c:pt idx="99">
                  <c:v>36671</c:v>
                </c:pt>
                <c:pt idx="100">
                  <c:v>36672</c:v>
                </c:pt>
                <c:pt idx="101">
                  <c:v>36675</c:v>
                </c:pt>
                <c:pt idx="102">
                  <c:v>36676</c:v>
                </c:pt>
                <c:pt idx="103">
                  <c:v>36677</c:v>
                </c:pt>
                <c:pt idx="104">
                  <c:v>36678</c:v>
                </c:pt>
                <c:pt idx="105">
                  <c:v>36679</c:v>
                </c:pt>
                <c:pt idx="106">
                  <c:v>36682</c:v>
                </c:pt>
                <c:pt idx="107">
                  <c:v>36683</c:v>
                </c:pt>
                <c:pt idx="108">
                  <c:v>36684</c:v>
                </c:pt>
                <c:pt idx="109">
                  <c:v>36685</c:v>
                </c:pt>
                <c:pt idx="110">
                  <c:v>36686</c:v>
                </c:pt>
                <c:pt idx="111">
                  <c:v>36689</c:v>
                </c:pt>
                <c:pt idx="112">
                  <c:v>36690</c:v>
                </c:pt>
                <c:pt idx="113">
                  <c:v>36691</c:v>
                </c:pt>
                <c:pt idx="114">
                  <c:v>36692</c:v>
                </c:pt>
                <c:pt idx="115">
                  <c:v>36693</c:v>
                </c:pt>
                <c:pt idx="116">
                  <c:v>36696</c:v>
                </c:pt>
                <c:pt idx="117">
                  <c:v>36697</c:v>
                </c:pt>
                <c:pt idx="118">
                  <c:v>36698</c:v>
                </c:pt>
                <c:pt idx="119">
                  <c:v>36700</c:v>
                </c:pt>
                <c:pt idx="120">
                  <c:v>36703</c:v>
                </c:pt>
                <c:pt idx="121">
                  <c:v>36704</c:v>
                </c:pt>
                <c:pt idx="122">
                  <c:v>36705</c:v>
                </c:pt>
                <c:pt idx="123">
                  <c:v>36706</c:v>
                </c:pt>
                <c:pt idx="124">
                  <c:v>36707</c:v>
                </c:pt>
                <c:pt idx="125">
                  <c:v>36710</c:v>
                </c:pt>
                <c:pt idx="126">
                  <c:v>36711</c:v>
                </c:pt>
                <c:pt idx="127">
                  <c:v>36712</c:v>
                </c:pt>
                <c:pt idx="128">
                  <c:v>36713</c:v>
                </c:pt>
                <c:pt idx="129">
                  <c:v>36714</c:v>
                </c:pt>
                <c:pt idx="130">
                  <c:v>36717</c:v>
                </c:pt>
                <c:pt idx="131">
                  <c:v>36718</c:v>
                </c:pt>
                <c:pt idx="132">
                  <c:v>36719</c:v>
                </c:pt>
                <c:pt idx="133">
                  <c:v>36720</c:v>
                </c:pt>
                <c:pt idx="134">
                  <c:v>36721</c:v>
                </c:pt>
                <c:pt idx="135">
                  <c:v>36724</c:v>
                </c:pt>
                <c:pt idx="136">
                  <c:v>36725</c:v>
                </c:pt>
                <c:pt idx="137">
                  <c:v>36726</c:v>
                </c:pt>
                <c:pt idx="138">
                  <c:v>36727</c:v>
                </c:pt>
                <c:pt idx="139">
                  <c:v>36728</c:v>
                </c:pt>
                <c:pt idx="140">
                  <c:v>36731</c:v>
                </c:pt>
                <c:pt idx="141">
                  <c:v>36732</c:v>
                </c:pt>
                <c:pt idx="142">
                  <c:v>36733</c:v>
                </c:pt>
                <c:pt idx="143">
                  <c:v>36734</c:v>
                </c:pt>
                <c:pt idx="144">
                  <c:v>36735</c:v>
                </c:pt>
                <c:pt idx="145">
                  <c:v>36738</c:v>
                </c:pt>
                <c:pt idx="146">
                  <c:v>36739</c:v>
                </c:pt>
                <c:pt idx="147">
                  <c:v>36740</c:v>
                </c:pt>
                <c:pt idx="148">
                  <c:v>36741</c:v>
                </c:pt>
                <c:pt idx="149">
                  <c:v>36742</c:v>
                </c:pt>
                <c:pt idx="150">
                  <c:v>36745</c:v>
                </c:pt>
                <c:pt idx="151">
                  <c:v>36746</c:v>
                </c:pt>
                <c:pt idx="152">
                  <c:v>36747</c:v>
                </c:pt>
                <c:pt idx="153">
                  <c:v>36748</c:v>
                </c:pt>
                <c:pt idx="154">
                  <c:v>36749</c:v>
                </c:pt>
                <c:pt idx="155">
                  <c:v>36752</c:v>
                </c:pt>
                <c:pt idx="156">
                  <c:v>36753</c:v>
                </c:pt>
                <c:pt idx="157">
                  <c:v>36754</c:v>
                </c:pt>
                <c:pt idx="158">
                  <c:v>36755</c:v>
                </c:pt>
                <c:pt idx="159">
                  <c:v>36756</c:v>
                </c:pt>
                <c:pt idx="160">
                  <c:v>36759</c:v>
                </c:pt>
                <c:pt idx="161">
                  <c:v>36760</c:v>
                </c:pt>
                <c:pt idx="162">
                  <c:v>36761</c:v>
                </c:pt>
                <c:pt idx="163">
                  <c:v>36762</c:v>
                </c:pt>
                <c:pt idx="164">
                  <c:v>36763</c:v>
                </c:pt>
                <c:pt idx="165">
                  <c:v>36766</c:v>
                </c:pt>
                <c:pt idx="166">
                  <c:v>36767</c:v>
                </c:pt>
                <c:pt idx="167">
                  <c:v>36768</c:v>
                </c:pt>
                <c:pt idx="168">
                  <c:v>36769</c:v>
                </c:pt>
                <c:pt idx="169">
                  <c:v>36770</c:v>
                </c:pt>
                <c:pt idx="170">
                  <c:v>36773</c:v>
                </c:pt>
                <c:pt idx="171">
                  <c:v>36774</c:v>
                </c:pt>
                <c:pt idx="172">
                  <c:v>36775</c:v>
                </c:pt>
                <c:pt idx="173">
                  <c:v>36777</c:v>
                </c:pt>
                <c:pt idx="174">
                  <c:v>36780</c:v>
                </c:pt>
                <c:pt idx="175">
                  <c:v>36781</c:v>
                </c:pt>
                <c:pt idx="176">
                  <c:v>36782</c:v>
                </c:pt>
                <c:pt idx="177">
                  <c:v>36783</c:v>
                </c:pt>
                <c:pt idx="178">
                  <c:v>36784</c:v>
                </c:pt>
                <c:pt idx="179">
                  <c:v>36787</c:v>
                </c:pt>
                <c:pt idx="180">
                  <c:v>36788</c:v>
                </c:pt>
                <c:pt idx="181">
                  <c:v>36789</c:v>
                </c:pt>
                <c:pt idx="182">
                  <c:v>36790</c:v>
                </c:pt>
                <c:pt idx="183">
                  <c:v>36791</c:v>
                </c:pt>
                <c:pt idx="184">
                  <c:v>36794</c:v>
                </c:pt>
                <c:pt idx="185">
                  <c:v>36795</c:v>
                </c:pt>
                <c:pt idx="186">
                  <c:v>36796</c:v>
                </c:pt>
                <c:pt idx="187">
                  <c:v>36797</c:v>
                </c:pt>
                <c:pt idx="188">
                  <c:v>36798</c:v>
                </c:pt>
                <c:pt idx="189">
                  <c:v>36801</c:v>
                </c:pt>
                <c:pt idx="190">
                  <c:v>36802</c:v>
                </c:pt>
                <c:pt idx="191">
                  <c:v>36803</c:v>
                </c:pt>
                <c:pt idx="192">
                  <c:v>36804</c:v>
                </c:pt>
                <c:pt idx="193">
                  <c:v>36805</c:v>
                </c:pt>
                <c:pt idx="194">
                  <c:v>36808</c:v>
                </c:pt>
                <c:pt idx="195">
                  <c:v>36809</c:v>
                </c:pt>
                <c:pt idx="196">
                  <c:v>36810</c:v>
                </c:pt>
                <c:pt idx="197">
                  <c:v>36812</c:v>
                </c:pt>
                <c:pt idx="198">
                  <c:v>36815</c:v>
                </c:pt>
                <c:pt idx="199">
                  <c:v>36816</c:v>
                </c:pt>
                <c:pt idx="200">
                  <c:v>36817</c:v>
                </c:pt>
                <c:pt idx="201">
                  <c:v>36818</c:v>
                </c:pt>
                <c:pt idx="202">
                  <c:v>36819</c:v>
                </c:pt>
                <c:pt idx="203">
                  <c:v>36822</c:v>
                </c:pt>
                <c:pt idx="204">
                  <c:v>36823</c:v>
                </c:pt>
                <c:pt idx="205">
                  <c:v>36824</c:v>
                </c:pt>
                <c:pt idx="206">
                  <c:v>36825</c:v>
                </c:pt>
                <c:pt idx="207">
                  <c:v>36826</c:v>
                </c:pt>
                <c:pt idx="208">
                  <c:v>36829</c:v>
                </c:pt>
                <c:pt idx="209">
                  <c:v>36830</c:v>
                </c:pt>
                <c:pt idx="210">
                  <c:v>36831</c:v>
                </c:pt>
                <c:pt idx="211">
                  <c:v>36833</c:v>
                </c:pt>
                <c:pt idx="212">
                  <c:v>36836</c:v>
                </c:pt>
                <c:pt idx="213">
                  <c:v>36837</c:v>
                </c:pt>
                <c:pt idx="214">
                  <c:v>36838</c:v>
                </c:pt>
                <c:pt idx="215">
                  <c:v>36839</c:v>
                </c:pt>
                <c:pt idx="216">
                  <c:v>36840</c:v>
                </c:pt>
                <c:pt idx="217">
                  <c:v>36843</c:v>
                </c:pt>
                <c:pt idx="218">
                  <c:v>36844</c:v>
                </c:pt>
                <c:pt idx="219">
                  <c:v>36846</c:v>
                </c:pt>
                <c:pt idx="220">
                  <c:v>36847</c:v>
                </c:pt>
                <c:pt idx="221">
                  <c:v>36850</c:v>
                </c:pt>
                <c:pt idx="222">
                  <c:v>36851</c:v>
                </c:pt>
                <c:pt idx="223">
                  <c:v>36852</c:v>
                </c:pt>
                <c:pt idx="224">
                  <c:v>36853</c:v>
                </c:pt>
                <c:pt idx="225">
                  <c:v>36854</c:v>
                </c:pt>
                <c:pt idx="226">
                  <c:v>36857</c:v>
                </c:pt>
                <c:pt idx="227">
                  <c:v>36858</c:v>
                </c:pt>
                <c:pt idx="228">
                  <c:v>36859</c:v>
                </c:pt>
                <c:pt idx="229">
                  <c:v>36860</c:v>
                </c:pt>
                <c:pt idx="230">
                  <c:v>36861</c:v>
                </c:pt>
                <c:pt idx="231">
                  <c:v>36864</c:v>
                </c:pt>
                <c:pt idx="232">
                  <c:v>36865</c:v>
                </c:pt>
                <c:pt idx="233">
                  <c:v>36866</c:v>
                </c:pt>
                <c:pt idx="234">
                  <c:v>36867</c:v>
                </c:pt>
                <c:pt idx="235">
                  <c:v>36868</c:v>
                </c:pt>
                <c:pt idx="236">
                  <c:v>36871</c:v>
                </c:pt>
                <c:pt idx="237">
                  <c:v>36872</c:v>
                </c:pt>
                <c:pt idx="238">
                  <c:v>36873</c:v>
                </c:pt>
                <c:pt idx="239">
                  <c:v>36874</c:v>
                </c:pt>
                <c:pt idx="240">
                  <c:v>36875</c:v>
                </c:pt>
                <c:pt idx="241">
                  <c:v>36878</c:v>
                </c:pt>
                <c:pt idx="242">
                  <c:v>36879</c:v>
                </c:pt>
                <c:pt idx="243">
                  <c:v>36880</c:v>
                </c:pt>
                <c:pt idx="244">
                  <c:v>36881</c:v>
                </c:pt>
                <c:pt idx="245">
                  <c:v>36882</c:v>
                </c:pt>
                <c:pt idx="246">
                  <c:v>36886</c:v>
                </c:pt>
                <c:pt idx="247">
                  <c:v>36887</c:v>
                </c:pt>
                <c:pt idx="248">
                  <c:v>36888</c:v>
                </c:pt>
                <c:pt idx="249">
                  <c:v>36889</c:v>
                </c:pt>
                <c:pt idx="250">
                  <c:v>36893</c:v>
                </c:pt>
                <c:pt idx="251">
                  <c:v>36894</c:v>
                </c:pt>
                <c:pt idx="252">
                  <c:v>36895</c:v>
                </c:pt>
                <c:pt idx="253">
                  <c:v>36896</c:v>
                </c:pt>
                <c:pt idx="254">
                  <c:v>36899</c:v>
                </c:pt>
                <c:pt idx="255">
                  <c:v>36900</c:v>
                </c:pt>
                <c:pt idx="256">
                  <c:v>36901</c:v>
                </c:pt>
                <c:pt idx="257">
                  <c:v>36902</c:v>
                </c:pt>
                <c:pt idx="258">
                  <c:v>36903</c:v>
                </c:pt>
                <c:pt idx="259">
                  <c:v>36906</c:v>
                </c:pt>
                <c:pt idx="260">
                  <c:v>36907</c:v>
                </c:pt>
                <c:pt idx="261">
                  <c:v>36908</c:v>
                </c:pt>
                <c:pt idx="262">
                  <c:v>36909</c:v>
                </c:pt>
                <c:pt idx="263">
                  <c:v>36910</c:v>
                </c:pt>
                <c:pt idx="264">
                  <c:v>36913</c:v>
                </c:pt>
                <c:pt idx="265">
                  <c:v>36914</c:v>
                </c:pt>
                <c:pt idx="266">
                  <c:v>36915</c:v>
                </c:pt>
                <c:pt idx="267">
                  <c:v>36916</c:v>
                </c:pt>
                <c:pt idx="268">
                  <c:v>36917</c:v>
                </c:pt>
                <c:pt idx="269">
                  <c:v>36920</c:v>
                </c:pt>
                <c:pt idx="270">
                  <c:v>36921</c:v>
                </c:pt>
                <c:pt idx="271">
                  <c:v>36922</c:v>
                </c:pt>
                <c:pt idx="272">
                  <c:v>36923</c:v>
                </c:pt>
                <c:pt idx="273">
                  <c:v>36924</c:v>
                </c:pt>
                <c:pt idx="274">
                  <c:v>36927</c:v>
                </c:pt>
                <c:pt idx="275">
                  <c:v>36928</c:v>
                </c:pt>
                <c:pt idx="276">
                  <c:v>36929</c:v>
                </c:pt>
                <c:pt idx="277">
                  <c:v>36930</c:v>
                </c:pt>
                <c:pt idx="278">
                  <c:v>36931</c:v>
                </c:pt>
                <c:pt idx="279">
                  <c:v>36934</c:v>
                </c:pt>
                <c:pt idx="280">
                  <c:v>36935</c:v>
                </c:pt>
                <c:pt idx="281">
                  <c:v>36936</c:v>
                </c:pt>
                <c:pt idx="282">
                  <c:v>36937</c:v>
                </c:pt>
                <c:pt idx="283">
                  <c:v>36938</c:v>
                </c:pt>
                <c:pt idx="284">
                  <c:v>36941</c:v>
                </c:pt>
                <c:pt idx="285">
                  <c:v>36942</c:v>
                </c:pt>
                <c:pt idx="286">
                  <c:v>36943</c:v>
                </c:pt>
                <c:pt idx="287">
                  <c:v>36944</c:v>
                </c:pt>
                <c:pt idx="288">
                  <c:v>36945</c:v>
                </c:pt>
                <c:pt idx="289">
                  <c:v>36950</c:v>
                </c:pt>
                <c:pt idx="290">
                  <c:v>36951</c:v>
                </c:pt>
                <c:pt idx="291">
                  <c:v>36952</c:v>
                </c:pt>
                <c:pt idx="292">
                  <c:v>36955</c:v>
                </c:pt>
                <c:pt idx="293">
                  <c:v>36956</c:v>
                </c:pt>
                <c:pt idx="294">
                  <c:v>36957</c:v>
                </c:pt>
                <c:pt idx="295">
                  <c:v>36958</c:v>
                </c:pt>
                <c:pt idx="296">
                  <c:v>36959</c:v>
                </c:pt>
                <c:pt idx="297">
                  <c:v>36962</c:v>
                </c:pt>
                <c:pt idx="298">
                  <c:v>36963</c:v>
                </c:pt>
                <c:pt idx="299">
                  <c:v>36964</c:v>
                </c:pt>
                <c:pt idx="300">
                  <c:v>36965</c:v>
                </c:pt>
                <c:pt idx="301">
                  <c:v>36966</c:v>
                </c:pt>
                <c:pt idx="302">
                  <c:v>36969</c:v>
                </c:pt>
                <c:pt idx="303">
                  <c:v>36970</c:v>
                </c:pt>
                <c:pt idx="304">
                  <c:v>36971</c:v>
                </c:pt>
                <c:pt idx="305">
                  <c:v>36972</c:v>
                </c:pt>
                <c:pt idx="306">
                  <c:v>36973</c:v>
                </c:pt>
                <c:pt idx="307">
                  <c:v>36976</c:v>
                </c:pt>
                <c:pt idx="308">
                  <c:v>36977</c:v>
                </c:pt>
                <c:pt idx="309">
                  <c:v>36978</c:v>
                </c:pt>
                <c:pt idx="310">
                  <c:v>36979</c:v>
                </c:pt>
                <c:pt idx="311">
                  <c:v>36980</c:v>
                </c:pt>
                <c:pt idx="312">
                  <c:v>36983</c:v>
                </c:pt>
                <c:pt idx="313">
                  <c:v>36984</c:v>
                </c:pt>
                <c:pt idx="314">
                  <c:v>36985</c:v>
                </c:pt>
                <c:pt idx="315">
                  <c:v>36986</c:v>
                </c:pt>
                <c:pt idx="316">
                  <c:v>36987</c:v>
                </c:pt>
                <c:pt idx="317">
                  <c:v>36990</c:v>
                </c:pt>
                <c:pt idx="318">
                  <c:v>36991</c:v>
                </c:pt>
                <c:pt idx="319">
                  <c:v>36992</c:v>
                </c:pt>
                <c:pt idx="320">
                  <c:v>36993</c:v>
                </c:pt>
                <c:pt idx="321">
                  <c:v>36997</c:v>
                </c:pt>
                <c:pt idx="322">
                  <c:v>36998</c:v>
                </c:pt>
                <c:pt idx="323">
                  <c:v>36999</c:v>
                </c:pt>
                <c:pt idx="324">
                  <c:v>37000</c:v>
                </c:pt>
                <c:pt idx="325">
                  <c:v>37001</c:v>
                </c:pt>
                <c:pt idx="326">
                  <c:v>37004</c:v>
                </c:pt>
                <c:pt idx="327">
                  <c:v>37005</c:v>
                </c:pt>
                <c:pt idx="328">
                  <c:v>37006</c:v>
                </c:pt>
                <c:pt idx="329">
                  <c:v>37007</c:v>
                </c:pt>
                <c:pt idx="330">
                  <c:v>37008</c:v>
                </c:pt>
                <c:pt idx="331">
                  <c:v>37011</c:v>
                </c:pt>
                <c:pt idx="332">
                  <c:v>37013</c:v>
                </c:pt>
                <c:pt idx="333">
                  <c:v>37014</c:v>
                </c:pt>
                <c:pt idx="334">
                  <c:v>37015</c:v>
                </c:pt>
                <c:pt idx="335">
                  <c:v>37018</c:v>
                </c:pt>
                <c:pt idx="336">
                  <c:v>37019</c:v>
                </c:pt>
                <c:pt idx="337">
                  <c:v>37020</c:v>
                </c:pt>
                <c:pt idx="338">
                  <c:v>37021</c:v>
                </c:pt>
                <c:pt idx="339">
                  <c:v>37022</c:v>
                </c:pt>
                <c:pt idx="340">
                  <c:v>37025</c:v>
                </c:pt>
                <c:pt idx="341">
                  <c:v>37026</c:v>
                </c:pt>
                <c:pt idx="342">
                  <c:v>37027</c:v>
                </c:pt>
                <c:pt idx="343">
                  <c:v>37028</c:v>
                </c:pt>
                <c:pt idx="344">
                  <c:v>37029</c:v>
                </c:pt>
                <c:pt idx="345">
                  <c:v>37032</c:v>
                </c:pt>
                <c:pt idx="346">
                  <c:v>37033</c:v>
                </c:pt>
                <c:pt idx="347">
                  <c:v>37034</c:v>
                </c:pt>
                <c:pt idx="348">
                  <c:v>37035</c:v>
                </c:pt>
                <c:pt idx="349">
                  <c:v>37036</c:v>
                </c:pt>
                <c:pt idx="350">
                  <c:v>37039</c:v>
                </c:pt>
                <c:pt idx="351">
                  <c:v>37040</c:v>
                </c:pt>
                <c:pt idx="352">
                  <c:v>37041</c:v>
                </c:pt>
                <c:pt idx="353">
                  <c:v>37042</c:v>
                </c:pt>
                <c:pt idx="354">
                  <c:v>37043</c:v>
                </c:pt>
                <c:pt idx="355">
                  <c:v>37046</c:v>
                </c:pt>
                <c:pt idx="356">
                  <c:v>37047</c:v>
                </c:pt>
                <c:pt idx="357">
                  <c:v>37048</c:v>
                </c:pt>
                <c:pt idx="358">
                  <c:v>37049</c:v>
                </c:pt>
                <c:pt idx="359">
                  <c:v>37050</c:v>
                </c:pt>
                <c:pt idx="360">
                  <c:v>37053</c:v>
                </c:pt>
                <c:pt idx="361">
                  <c:v>37054</c:v>
                </c:pt>
                <c:pt idx="362">
                  <c:v>37055</c:v>
                </c:pt>
                <c:pt idx="363">
                  <c:v>37057</c:v>
                </c:pt>
                <c:pt idx="364">
                  <c:v>37060</c:v>
                </c:pt>
                <c:pt idx="365">
                  <c:v>37061</c:v>
                </c:pt>
                <c:pt idx="366">
                  <c:v>37062</c:v>
                </c:pt>
                <c:pt idx="367">
                  <c:v>37063</c:v>
                </c:pt>
                <c:pt idx="368">
                  <c:v>37064</c:v>
                </c:pt>
                <c:pt idx="369">
                  <c:v>37067</c:v>
                </c:pt>
                <c:pt idx="370">
                  <c:v>37068</c:v>
                </c:pt>
                <c:pt idx="371">
                  <c:v>37069</c:v>
                </c:pt>
                <c:pt idx="372">
                  <c:v>37070</c:v>
                </c:pt>
                <c:pt idx="373">
                  <c:v>37071</c:v>
                </c:pt>
                <c:pt idx="374">
                  <c:v>37074</c:v>
                </c:pt>
                <c:pt idx="375">
                  <c:v>37075</c:v>
                </c:pt>
                <c:pt idx="376">
                  <c:v>37076</c:v>
                </c:pt>
                <c:pt idx="377">
                  <c:v>37077</c:v>
                </c:pt>
                <c:pt idx="378">
                  <c:v>37078</c:v>
                </c:pt>
                <c:pt idx="379">
                  <c:v>37081</c:v>
                </c:pt>
                <c:pt idx="380">
                  <c:v>37082</c:v>
                </c:pt>
                <c:pt idx="381">
                  <c:v>37083</c:v>
                </c:pt>
                <c:pt idx="382">
                  <c:v>37084</c:v>
                </c:pt>
                <c:pt idx="383">
                  <c:v>37085</c:v>
                </c:pt>
                <c:pt idx="384">
                  <c:v>37088</c:v>
                </c:pt>
                <c:pt idx="385">
                  <c:v>37089</c:v>
                </c:pt>
                <c:pt idx="386">
                  <c:v>37090</c:v>
                </c:pt>
                <c:pt idx="387">
                  <c:v>37091</c:v>
                </c:pt>
                <c:pt idx="388">
                  <c:v>37092</c:v>
                </c:pt>
                <c:pt idx="389">
                  <c:v>37095</c:v>
                </c:pt>
                <c:pt idx="390">
                  <c:v>37096</c:v>
                </c:pt>
                <c:pt idx="391">
                  <c:v>37097</c:v>
                </c:pt>
                <c:pt idx="392">
                  <c:v>37098</c:v>
                </c:pt>
                <c:pt idx="393">
                  <c:v>37099</c:v>
                </c:pt>
                <c:pt idx="394">
                  <c:v>37102</c:v>
                </c:pt>
                <c:pt idx="395">
                  <c:v>37103</c:v>
                </c:pt>
                <c:pt idx="396">
                  <c:v>37104</c:v>
                </c:pt>
                <c:pt idx="397">
                  <c:v>37105</c:v>
                </c:pt>
                <c:pt idx="398">
                  <c:v>37106</c:v>
                </c:pt>
                <c:pt idx="399">
                  <c:v>37109</c:v>
                </c:pt>
                <c:pt idx="400">
                  <c:v>37110</c:v>
                </c:pt>
                <c:pt idx="401">
                  <c:v>37111</c:v>
                </c:pt>
                <c:pt idx="402">
                  <c:v>37112</c:v>
                </c:pt>
                <c:pt idx="403">
                  <c:v>37113</c:v>
                </c:pt>
                <c:pt idx="404">
                  <c:v>37116</c:v>
                </c:pt>
                <c:pt idx="405">
                  <c:v>37117</c:v>
                </c:pt>
                <c:pt idx="406">
                  <c:v>37118</c:v>
                </c:pt>
                <c:pt idx="407">
                  <c:v>37119</c:v>
                </c:pt>
                <c:pt idx="408">
                  <c:v>37120</c:v>
                </c:pt>
                <c:pt idx="409">
                  <c:v>37123</c:v>
                </c:pt>
                <c:pt idx="410">
                  <c:v>37124</c:v>
                </c:pt>
                <c:pt idx="411">
                  <c:v>37125</c:v>
                </c:pt>
                <c:pt idx="412">
                  <c:v>37126</c:v>
                </c:pt>
                <c:pt idx="413">
                  <c:v>37127</c:v>
                </c:pt>
                <c:pt idx="414">
                  <c:v>37130</c:v>
                </c:pt>
                <c:pt idx="415">
                  <c:v>37131</c:v>
                </c:pt>
                <c:pt idx="416">
                  <c:v>37132</c:v>
                </c:pt>
                <c:pt idx="417">
                  <c:v>37133</c:v>
                </c:pt>
                <c:pt idx="418">
                  <c:v>37134</c:v>
                </c:pt>
                <c:pt idx="419">
                  <c:v>37137</c:v>
                </c:pt>
                <c:pt idx="420">
                  <c:v>37138</c:v>
                </c:pt>
                <c:pt idx="421">
                  <c:v>37139</c:v>
                </c:pt>
                <c:pt idx="422">
                  <c:v>37140</c:v>
                </c:pt>
                <c:pt idx="423">
                  <c:v>37144</c:v>
                </c:pt>
                <c:pt idx="424">
                  <c:v>37145</c:v>
                </c:pt>
                <c:pt idx="425">
                  <c:v>37146</c:v>
                </c:pt>
                <c:pt idx="426">
                  <c:v>37147</c:v>
                </c:pt>
                <c:pt idx="427">
                  <c:v>37148</c:v>
                </c:pt>
                <c:pt idx="428">
                  <c:v>37151</c:v>
                </c:pt>
                <c:pt idx="429">
                  <c:v>37152</c:v>
                </c:pt>
                <c:pt idx="430">
                  <c:v>37153</c:v>
                </c:pt>
                <c:pt idx="431">
                  <c:v>37154</c:v>
                </c:pt>
                <c:pt idx="432">
                  <c:v>37155</c:v>
                </c:pt>
                <c:pt idx="433">
                  <c:v>37158</c:v>
                </c:pt>
                <c:pt idx="434">
                  <c:v>37159</c:v>
                </c:pt>
                <c:pt idx="435">
                  <c:v>37160</c:v>
                </c:pt>
                <c:pt idx="436">
                  <c:v>37161</c:v>
                </c:pt>
                <c:pt idx="437">
                  <c:v>37162</c:v>
                </c:pt>
                <c:pt idx="438">
                  <c:v>37165</c:v>
                </c:pt>
                <c:pt idx="439">
                  <c:v>37166</c:v>
                </c:pt>
                <c:pt idx="440">
                  <c:v>37167</c:v>
                </c:pt>
                <c:pt idx="441">
                  <c:v>37168</c:v>
                </c:pt>
                <c:pt idx="442">
                  <c:v>37169</c:v>
                </c:pt>
                <c:pt idx="443">
                  <c:v>37172</c:v>
                </c:pt>
                <c:pt idx="444">
                  <c:v>37173</c:v>
                </c:pt>
                <c:pt idx="445">
                  <c:v>37174</c:v>
                </c:pt>
                <c:pt idx="446">
                  <c:v>37175</c:v>
                </c:pt>
                <c:pt idx="447">
                  <c:v>37179</c:v>
                </c:pt>
                <c:pt idx="448">
                  <c:v>37180</c:v>
                </c:pt>
                <c:pt idx="449">
                  <c:v>37181</c:v>
                </c:pt>
                <c:pt idx="450">
                  <c:v>37182</c:v>
                </c:pt>
                <c:pt idx="451">
                  <c:v>37183</c:v>
                </c:pt>
                <c:pt idx="452">
                  <c:v>37186</c:v>
                </c:pt>
                <c:pt idx="453">
                  <c:v>37187</c:v>
                </c:pt>
                <c:pt idx="454">
                  <c:v>37188</c:v>
                </c:pt>
                <c:pt idx="455">
                  <c:v>37189</c:v>
                </c:pt>
                <c:pt idx="456">
                  <c:v>37190</c:v>
                </c:pt>
                <c:pt idx="457">
                  <c:v>37193</c:v>
                </c:pt>
                <c:pt idx="458">
                  <c:v>37194</c:v>
                </c:pt>
                <c:pt idx="459">
                  <c:v>37195</c:v>
                </c:pt>
                <c:pt idx="460">
                  <c:v>37196</c:v>
                </c:pt>
                <c:pt idx="461">
                  <c:v>37200</c:v>
                </c:pt>
                <c:pt idx="462">
                  <c:v>37201</c:v>
                </c:pt>
                <c:pt idx="463">
                  <c:v>37202</c:v>
                </c:pt>
                <c:pt idx="464">
                  <c:v>37203</c:v>
                </c:pt>
                <c:pt idx="465">
                  <c:v>37204</c:v>
                </c:pt>
                <c:pt idx="466">
                  <c:v>37207</c:v>
                </c:pt>
                <c:pt idx="467">
                  <c:v>37208</c:v>
                </c:pt>
                <c:pt idx="468">
                  <c:v>37209</c:v>
                </c:pt>
                <c:pt idx="469">
                  <c:v>37211</c:v>
                </c:pt>
                <c:pt idx="470">
                  <c:v>37214</c:v>
                </c:pt>
                <c:pt idx="471">
                  <c:v>37215</c:v>
                </c:pt>
                <c:pt idx="472">
                  <c:v>37216</c:v>
                </c:pt>
                <c:pt idx="473">
                  <c:v>37217</c:v>
                </c:pt>
                <c:pt idx="474">
                  <c:v>37218</c:v>
                </c:pt>
                <c:pt idx="475">
                  <c:v>37221</c:v>
                </c:pt>
                <c:pt idx="476">
                  <c:v>37222</c:v>
                </c:pt>
                <c:pt idx="477">
                  <c:v>37223</c:v>
                </c:pt>
                <c:pt idx="478">
                  <c:v>37224</c:v>
                </c:pt>
                <c:pt idx="479">
                  <c:v>37225</c:v>
                </c:pt>
                <c:pt idx="480">
                  <c:v>37228</c:v>
                </c:pt>
                <c:pt idx="481">
                  <c:v>37229</c:v>
                </c:pt>
                <c:pt idx="482">
                  <c:v>37230</c:v>
                </c:pt>
                <c:pt idx="483">
                  <c:v>37231</c:v>
                </c:pt>
                <c:pt idx="484">
                  <c:v>37232</c:v>
                </c:pt>
                <c:pt idx="485">
                  <c:v>37235</c:v>
                </c:pt>
                <c:pt idx="486">
                  <c:v>37236</c:v>
                </c:pt>
                <c:pt idx="487">
                  <c:v>37237</c:v>
                </c:pt>
                <c:pt idx="488">
                  <c:v>37238</c:v>
                </c:pt>
                <c:pt idx="489">
                  <c:v>37239</c:v>
                </c:pt>
                <c:pt idx="490">
                  <c:v>37242</c:v>
                </c:pt>
                <c:pt idx="491">
                  <c:v>37243</c:v>
                </c:pt>
                <c:pt idx="492">
                  <c:v>37244</c:v>
                </c:pt>
                <c:pt idx="493">
                  <c:v>37245</c:v>
                </c:pt>
                <c:pt idx="494">
                  <c:v>37246</c:v>
                </c:pt>
                <c:pt idx="495">
                  <c:v>37249</c:v>
                </c:pt>
                <c:pt idx="496">
                  <c:v>37251</c:v>
                </c:pt>
                <c:pt idx="497">
                  <c:v>37252</c:v>
                </c:pt>
                <c:pt idx="498">
                  <c:v>37253</c:v>
                </c:pt>
                <c:pt idx="499">
                  <c:v>37256</c:v>
                </c:pt>
                <c:pt idx="500">
                  <c:v>37258</c:v>
                </c:pt>
                <c:pt idx="501">
                  <c:v>37259</c:v>
                </c:pt>
                <c:pt idx="502">
                  <c:v>37260</c:v>
                </c:pt>
                <c:pt idx="503">
                  <c:v>37263</c:v>
                </c:pt>
                <c:pt idx="504">
                  <c:v>37264</c:v>
                </c:pt>
                <c:pt idx="505">
                  <c:v>37265</c:v>
                </c:pt>
                <c:pt idx="506">
                  <c:v>37266</c:v>
                </c:pt>
                <c:pt idx="507">
                  <c:v>37267</c:v>
                </c:pt>
                <c:pt idx="508">
                  <c:v>37270</c:v>
                </c:pt>
                <c:pt idx="509">
                  <c:v>37271</c:v>
                </c:pt>
                <c:pt idx="510">
                  <c:v>37272</c:v>
                </c:pt>
                <c:pt idx="511">
                  <c:v>37273</c:v>
                </c:pt>
                <c:pt idx="512">
                  <c:v>37274</c:v>
                </c:pt>
                <c:pt idx="513">
                  <c:v>37277</c:v>
                </c:pt>
                <c:pt idx="514">
                  <c:v>37278</c:v>
                </c:pt>
                <c:pt idx="515">
                  <c:v>37279</c:v>
                </c:pt>
                <c:pt idx="516">
                  <c:v>37280</c:v>
                </c:pt>
                <c:pt idx="517">
                  <c:v>37281</c:v>
                </c:pt>
                <c:pt idx="518">
                  <c:v>37284</c:v>
                </c:pt>
                <c:pt idx="519">
                  <c:v>37285</c:v>
                </c:pt>
                <c:pt idx="520">
                  <c:v>37286</c:v>
                </c:pt>
                <c:pt idx="521">
                  <c:v>37287</c:v>
                </c:pt>
                <c:pt idx="522">
                  <c:v>37288</c:v>
                </c:pt>
                <c:pt idx="523">
                  <c:v>37291</c:v>
                </c:pt>
                <c:pt idx="524">
                  <c:v>37292</c:v>
                </c:pt>
                <c:pt idx="525">
                  <c:v>37293</c:v>
                </c:pt>
                <c:pt idx="526">
                  <c:v>37294</c:v>
                </c:pt>
                <c:pt idx="527">
                  <c:v>37295</c:v>
                </c:pt>
                <c:pt idx="528">
                  <c:v>37300</c:v>
                </c:pt>
                <c:pt idx="529">
                  <c:v>37301</c:v>
                </c:pt>
                <c:pt idx="530">
                  <c:v>37302</c:v>
                </c:pt>
                <c:pt idx="531">
                  <c:v>37305</c:v>
                </c:pt>
                <c:pt idx="532">
                  <c:v>37306</c:v>
                </c:pt>
                <c:pt idx="533">
                  <c:v>37307</c:v>
                </c:pt>
                <c:pt idx="534">
                  <c:v>37308</c:v>
                </c:pt>
                <c:pt idx="535">
                  <c:v>37309</c:v>
                </c:pt>
                <c:pt idx="536">
                  <c:v>37312</c:v>
                </c:pt>
                <c:pt idx="537">
                  <c:v>37313</c:v>
                </c:pt>
                <c:pt idx="538">
                  <c:v>37314</c:v>
                </c:pt>
                <c:pt idx="539">
                  <c:v>37315</c:v>
                </c:pt>
                <c:pt idx="540">
                  <c:v>37316</c:v>
                </c:pt>
                <c:pt idx="541">
                  <c:v>37319</c:v>
                </c:pt>
                <c:pt idx="542">
                  <c:v>37320</c:v>
                </c:pt>
                <c:pt idx="543">
                  <c:v>37321</c:v>
                </c:pt>
                <c:pt idx="544">
                  <c:v>37322</c:v>
                </c:pt>
                <c:pt idx="545">
                  <c:v>37323</c:v>
                </c:pt>
                <c:pt idx="546">
                  <c:v>37326</c:v>
                </c:pt>
                <c:pt idx="547">
                  <c:v>37327</c:v>
                </c:pt>
                <c:pt idx="548">
                  <c:v>37328</c:v>
                </c:pt>
                <c:pt idx="549">
                  <c:v>37329</c:v>
                </c:pt>
                <c:pt idx="550">
                  <c:v>37330</c:v>
                </c:pt>
                <c:pt idx="551">
                  <c:v>37333</c:v>
                </c:pt>
                <c:pt idx="552">
                  <c:v>37334</c:v>
                </c:pt>
                <c:pt idx="553">
                  <c:v>37335</c:v>
                </c:pt>
                <c:pt idx="554">
                  <c:v>37336</c:v>
                </c:pt>
                <c:pt idx="555">
                  <c:v>37337</c:v>
                </c:pt>
                <c:pt idx="556">
                  <c:v>37340</c:v>
                </c:pt>
                <c:pt idx="557">
                  <c:v>37341</c:v>
                </c:pt>
                <c:pt idx="558">
                  <c:v>37342</c:v>
                </c:pt>
                <c:pt idx="559">
                  <c:v>37343</c:v>
                </c:pt>
                <c:pt idx="560">
                  <c:v>37347</c:v>
                </c:pt>
                <c:pt idx="561">
                  <c:v>37348</c:v>
                </c:pt>
                <c:pt idx="562">
                  <c:v>37349</c:v>
                </c:pt>
                <c:pt idx="563">
                  <c:v>37350</c:v>
                </c:pt>
                <c:pt idx="564">
                  <c:v>37351</c:v>
                </c:pt>
                <c:pt idx="565">
                  <c:v>37354</c:v>
                </c:pt>
                <c:pt idx="566">
                  <c:v>37355</c:v>
                </c:pt>
                <c:pt idx="567">
                  <c:v>37356</c:v>
                </c:pt>
                <c:pt idx="568">
                  <c:v>37357</c:v>
                </c:pt>
                <c:pt idx="569">
                  <c:v>37358</c:v>
                </c:pt>
                <c:pt idx="570">
                  <c:v>37361</c:v>
                </c:pt>
                <c:pt idx="571">
                  <c:v>37362</c:v>
                </c:pt>
                <c:pt idx="572">
                  <c:v>37363</c:v>
                </c:pt>
                <c:pt idx="573">
                  <c:v>37364</c:v>
                </c:pt>
                <c:pt idx="574">
                  <c:v>37365</c:v>
                </c:pt>
                <c:pt idx="575">
                  <c:v>37368</c:v>
                </c:pt>
                <c:pt idx="576">
                  <c:v>37369</c:v>
                </c:pt>
                <c:pt idx="577">
                  <c:v>37370</c:v>
                </c:pt>
                <c:pt idx="578">
                  <c:v>37371</c:v>
                </c:pt>
                <c:pt idx="579">
                  <c:v>37372</c:v>
                </c:pt>
                <c:pt idx="580">
                  <c:v>37375</c:v>
                </c:pt>
                <c:pt idx="581">
                  <c:v>37376</c:v>
                </c:pt>
                <c:pt idx="582">
                  <c:v>37378</c:v>
                </c:pt>
                <c:pt idx="583">
                  <c:v>37379</c:v>
                </c:pt>
                <c:pt idx="584">
                  <c:v>37382</c:v>
                </c:pt>
                <c:pt idx="585">
                  <c:v>37383</c:v>
                </c:pt>
                <c:pt idx="586">
                  <c:v>37384</c:v>
                </c:pt>
                <c:pt idx="587">
                  <c:v>37385</c:v>
                </c:pt>
                <c:pt idx="588">
                  <c:v>37386</c:v>
                </c:pt>
                <c:pt idx="589">
                  <c:v>37389</c:v>
                </c:pt>
                <c:pt idx="590">
                  <c:v>37390</c:v>
                </c:pt>
                <c:pt idx="591">
                  <c:v>37391</c:v>
                </c:pt>
                <c:pt idx="592">
                  <c:v>37392</c:v>
                </c:pt>
                <c:pt idx="593">
                  <c:v>37393</c:v>
                </c:pt>
                <c:pt idx="594">
                  <c:v>37396</c:v>
                </c:pt>
                <c:pt idx="595">
                  <c:v>37397</c:v>
                </c:pt>
                <c:pt idx="596">
                  <c:v>37398</c:v>
                </c:pt>
                <c:pt idx="597">
                  <c:v>37399</c:v>
                </c:pt>
                <c:pt idx="598">
                  <c:v>37400</c:v>
                </c:pt>
                <c:pt idx="599">
                  <c:v>37403</c:v>
                </c:pt>
                <c:pt idx="600">
                  <c:v>37404</c:v>
                </c:pt>
                <c:pt idx="601">
                  <c:v>37405</c:v>
                </c:pt>
                <c:pt idx="602">
                  <c:v>37407</c:v>
                </c:pt>
                <c:pt idx="603">
                  <c:v>37410</c:v>
                </c:pt>
                <c:pt idx="604">
                  <c:v>37411</c:v>
                </c:pt>
                <c:pt idx="605">
                  <c:v>37412</c:v>
                </c:pt>
                <c:pt idx="606">
                  <c:v>37413</c:v>
                </c:pt>
                <c:pt idx="607">
                  <c:v>37414</c:v>
                </c:pt>
                <c:pt idx="608">
                  <c:v>37417</c:v>
                </c:pt>
                <c:pt idx="609">
                  <c:v>37418</c:v>
                </c:pt>
                <c:pt idx="610">
                  <c:v>37419</c:v>
                </c:pt>
                <c:pt idx="611">
                  <c:v>37420</c:v>
                </c:pt>
                <c:pt idx="612">
                  <c:v>37421</c:v>
                </c:pt>
                <c:pt idx="613">
                  <c:v>37424</c:v>
                </c:pt>
                <c:pt idx="614">
                  <c:v>37425</c:v>
                </c:pt>
                <c:pt idx="615">
                  <c:v>37426</c:v>
                </c:pt>
                <c:pt idx="616">
                  <c:v>37427</c:v>
                </c:pt>
                <c:pt idx="617">
                  <c:v>37428</c:v>
                </c:pt>
                <c:pt idx="618">
                  <c:v>37431</c:v>
                </c:pt>
                <c:pt idx="619">
                  <c:v>37432</c:v>
                </c:pt>
                <c:pt idx="620">
                  <c:v>37433</c:v>
                </c:pt>
                <c:pt idx="621">
                  <c:v>37434</c:v>
                </c:pt>
                <c:pt idx="622">
                  <c:v>37435</c:v>
                </c:pt>
                <c:pt idx="623">
                  <c:v>37438</c:v>
                </c:pt>
                <c:pt idx="624">
                  <c:v>37439</c:v>
                </c:pt>
                <c:pt idx="625">
                  <c:v>37440</c:v>
                </c:pt>
                <c:pt idx="626">
                  <c:v>37441</c:v>
                </c:pt>
                <c:pt idx="627">
                  <c:v>37442</c:v>
                </c:pt>
                <c:pt idx="628">
                  <c:v>37445</c:v>
                </c:pt>
                <c:pt idx="629">
                  <c:v>37446</c:v>
                </c:pt>
                <c:pt idx="630">
                  <c:v>37447</c:v>
                </c:pt>
                <c:pt idx="631">
                  <c:v>37448</c:v>
                </c:pt>
                <c:pt idx="632">
                  <c:v>37449</c:v>
                </c:pt>
                <c:pt idx="633">
                  <c:v>37452</c:v>
                </c:pt>
                <c:pt idx="634">
                  <c:v>37453</c:v>
                </c:pt>
                <c:pt idx="635">
                  <c:v>37454</c:v>
                </c:pt>
                <c:pt idx="636">
                  <c:v>37455</c:v>
                </c:pt>
                <c:pt idx="637">
                  <c:v>37456</c:v>
                </c:pt>
                <c:pt idx="638">
                  <c:v>37459</c:v>
                </c:pt>
                <c:pt idx="639">
                  <c:v>37460</c:v>
                </c:pt>
                <c:pt idx="640">
                  <c:v>37461</c:v>
                </c:pt>
                <c:pt idx="641">
                  <c:v>37462</c:v>
                </c:pt>
                <c:pt idx="642">
                  <c:v>37463</c:v>
                </c:pt>
                <c:pt idx="643">
                  <c:v>37466</c:v>
                </c:pt>
                <c:pt idx="644">
                  <c:v>37467</c:v>
                </c:pt>
                <c:pt idx="645">
                  <c:v>37468</c:v>
                </c:pt>
                <c:pt idx="646">
                  <c:v>37469</c:v>
                </c:pt>
                <c:pt idx="647">
                  <c:v>37470</c:v>
                </c:pt>
                <c:pt idx="648">
                  <c:v>37473</c:v>
                </c:pt>
                <c:pt idx="649">
                  <c:v>37474</c:v>
                </c:pt>
                <c:pt idx="650">
                  <c:v>37475</c:v>
                </c:pt>
                <c:pt idx="651">
                  <c:v>37476</c:v>
                </c:pt>
                <c:pt idx="652">
                  <c:v>37477</c:v>
                </c:pt>
                <c:pt idx="653">
                  <c:v>37480</c:v>
                </c:pt>
                <c:pt idx="654">
                  <c:v>37481</c:v>
                </c:pt>
                <c:pt idx="655">
                  <c:v>37482</c:v>
                </c:pt>
                <c:pt idx="656">
                  <c:v>37483</c:v>
                </c:pt>
                <c:pt idx="657">
                  <c:v>37484</c:v>
                </c:pt>
                <c:pt idx="658">
                  <c:v>37487</c:v>
                </c:pt>
                <c:pt idx="659">
                  <c:v>37488</c:v>
                </c:pt>
                <c:pt idx="660">
                  <c:v>37489</c:v>
                </c:pt>
                <c:pt idx="661">
                  <c:v>37490</c:v>
                </c:pt>
                <c:pt idx="662">
                  <c:v>37491</c:v>
                </c:pt>
                <c:pt idx="663">
                  <c:v>37494</c:v>
                </c:pt>
                <c:pt idx="664">
                  <c:v>37495</c:v>
                </c:pt>
                <c:pt idx="665">
                  <c:v>37496</c:v>
                </c:pt>
                <c:pt idx="666">
                  <c:v>37497</c:v>
                </c:pt>
                <c:pt idx="667">
                  <c:v>37498</c:v>
                </c:pt>
                <c:pt idx="668">
                  <c:v>37501</c:v>
                </c:pt>
                <c:pt idx="669">
                  <c:v>37502</c:v>
                </c:pt>
                <c:pt idx="670">
                  <c:v>37503</c:v>
                </c:pt>
                <c:pt idx="671">
                  <c:v>37504</c:v>
                </c:pt>
                <c:pt idx="672">
                  <c:v>37505</c:v>
                </c:pt>
                <c:pt idx="673">
                  <c:v>37508</c:v>
                </c:pt>
                <c:pt idx="674">
                  <c:v>37509</c:v>
                </c:pt>
                <c:pt idx="675">
                  <c:v>37510</c:v>
                </c:pt>
                <c:pt idx="676">
                  <c:v>37511</c:v>
                </c:pt>
                <c:pt idx="677">
                  <c:v>37512</c:v>
                </c:pt>
                <c:pt idx="678">
                  <c:v>37515</c:v>
                </c:pt>
                <c:pt idx="679">
                  <c:v>37516</c:v>
                </c:pt>
                <c:pt idx="680">
                  <c:v>37517</c:v>
                </c:pt>
                <c:pt idx="681">
                  <c:v>37518</c:v>
                </c:pt>
                <c:pt idx="682">
                  <c:v>37519</c:v>
                </c:pt>
                <c:pt idx="683">
                  <c:v>37522</c:v>
                </c:pt>
                <c:pt idx="684">
                  <c:v>37523</c:v>
                </c:pt>
                <c:pt idx="685">
                  <c:v>37524</c:v>
                </c:pt>
                <c:pt idx="686">
                  <c:v>37525</c:v>
                </c:pt>
                <c:pt idx="687">
                  <c:v>37526</c:v>
                </c:pt>
                <c:pt idx="688">
                  <c:v>37529</c:v>
                </c:pt>
                <c:pt idx="689">
                  <c:v>37530</c:v>
                </c:pt>
                <c:pt idx="690">
                  <c:v>37531</c:v>
                </c:pt>
                <c:pt idx="691">
                  <c:v>37532</c:v>
                </c:pt>
                <c:pt idx="692">
                  <c:v>37533</c:v>
                </c:pt>
                <c:pt idx="693">
                  <c:v>37536</c:v>
                </c:pt>
                <c:pt idx="694">
                  <c:v>37537</c:v>
                </c:pt>
                <c:pt idx="695">
                  <c:v>37538</c:v>
                </c:pt>
                <c:pt idx="696">
                  <c:v>37539</c:v>
                </c:pt>
                <c:pt idx="697">
                  <c:v>37540</c:v>
                </c:pt>
                <c:pt idx="698">
                  <c:v>37543</c:v>
                </c:pt>
                <c:pt idx="699">
                  <c:v>37544</c:v>
                </c:pt>
                <c:pt idx="700">
                  <c:v>37545</c:v>
                </c:pt>
                <c:pt idx="701">
                  <c:v>37546</c:v>
                </c:pt>
                <c:pt idx="702">
                  <c:v>37547</c:v>
                </c:pt>
                <c:pt idx="703">
                  <c:v>37550</c:v>
                </c:pt>
                <c:pt idx="704">
                  <c:v>37551</c:v>
                </c:pt>
                <c:pt idx="705">
                  <c:v>37552</c:v>
                </c:pt>
                <c:pt idx="706">
                  <c:v>37553</c:v>
                </c:pt>
                <c:pt idx="707">
                  <c:v>37554</c:v>
                </c:pt>
                <c:pt idx="708">
                  <c:v>37557</c:v>
                </c:pt>
                <c:pt idx="709">
                  <c:v>37558</c:v>
                </c:pt>
                <c:pt idx="710">
                  <c:v>37559</c:v>
                </c:pt>
                <c:pt idx="711">
                  <c:v>37560</c:v>
                </c:pt>
                <c:pt idx="712">
                  <c:v>37561</c:v>
                </c:pt>
                <c:pt idx="713">
                  <c:v>37564</c:v>
                </c:pt>
                <c:pt idx="714">
                  <c:v>37565</c:v>
                </c:pt>
                <c:pt idx="715">
                  <c:v>37566</c:v>
                </c:pt>
                <c:pt idx="716">
                  <c:v>37567</c:v>
                </c:pt>
                <c:pt idx="717">
                  <c:v>37568</c:v>
                </c:pt>
                <c:pt idx="718">
                  <c:v>37571</c:v>
                </c:pt>
                <c:pt idx="719">
                  <c:v>37572</c:v>
                </c:pt>
                <c:pt idx="720">
                  <c:v>37573</c:v>
                </c:pt>
                <c:pt idx="721">
                  <c:v>37574</c:v>
                </c:pt>
                <c:pt idx="722">
                  <c:v>37578</c:v>
                </c:pt>
                <c:pt idx="723">
                  <c:v>37579</c:v>
                </c:pt>
                <c:pt idx="724">
                  <c:v>37580</c:v>
                </c:pt>
                <c:pt idx="725">
                  <c:v>37581</c:v>
                </c:pt>
                <c:pt idx="726">
                  <c:v>37582</c:v>
                </c:pt>
                <c:pt idx="727">
                  <c:v>37585</c:v>
                </c:pt>
                <c:pt idx="728">
                  <c:v>37586</c:v>
                </c:pt>
                <c:pt idx="729">
                  <c:v>37587</c:v>
                </c:pt>
                <c:pt idx="730">
                  <c:v>37588</c:v>
                </c:pt>
                <c:pt idx="731">
                  <c:v>37589</c:v>
                </c:pt>
                <c:pt idx="732">
                  <c:v>37592</c:v>
                </c:pt>
                <c:pt idx="733">
                  <c:v>37593</c:v>
                </c:pt>
                <c:pt idx="734">
                  <c:v>37594</c:v>
                </c:pt>
                <c:pt idx="735">
                  <c:v>37595</c:v>
                </c:pt>
                <c:pt idx="736">
                  <c:v>37596</c:v>
                </c:pt>
                <c:pt idx="737">
                  <c:v>37599</c:v>
                </c:pt>
                <c:pt idx="738">
                  <c:v>37600</c:v>
                </c:pt>
                <c:pt idx="739">
                  <c:v>37601</c:v>
                </c:pt>
                <c:pt idx="740">
                  <c:v>37602</c:v>
                </c:pt>
                <c:pt idx="741">
                  <c:v>37603</c:v>
                </c:pt>
                <c:pt idx="742">
                  <c:v>37606</c:v>
                </c:pt>
                <c:pt idx="743">
                  <c:v>37607</c:v>
                </c:pt>
                <c:pt idx="744">
                  <c:v>37608</c:v>
                </c:pt>
                <c:pt idx="745">
                  <c:v>37609</c:v>
                </c:pt>
                <c:pt idx="746">
                  <c:v>37610</c:v>
                </c:pt>
                <c:pt idx="747">
                  <c:v>37613</c:v>
                </c:pt>
                <c:pt idx="748">
                  <c:v>37614</c:v>
                </c:pt>
                <c:pt idx="749">
                  <c:v>37616</c:v>
                </c:pt>
                <c:pt idx="750">
                  <c:v>37617</c:v>
                </c:pt>
                <c:pt idx="751">
                  <c:v>37620</c:v>
                </c:pt>
                <c:pt idx="752">
                  <c:v>37621</c:v>
                </c:pt>
                <c:pt idx="753">
                  <c:v>37623</c:v>
                </c:pt>
                <c:pt idx="754">
                  <c:v>37624</c:v>
                </c:pt>
                <c:pt idx="755">
                  <c:v>37627</c:v>
                </c:pt>
                <c:pt idx="756">
                  <c:v>37628</c:v>
                </c:pt>
                <c:pt idx="757">
                  <c:v>37629</c:v>
                </c:pt>
                <c:pt idx="758">
                  <c:v>37630</c:v>
                </c:pt>
                <c:pt idx="759">
                  <c:v>37631</c:v>
                </c:pt>
                <c:pt idx="760">
                  <c:v>37634</c:v>
                </c:pt>
                <c:pt idx="761">
                  <c:v>37635</c:v>
                </c:pt>
                <c:pt idx="762">
                  <c:v>37636</c:v>
                </c:pt>
                <c:pt idx="763">
                  <c:v>37637</c:v>
                </c:pt>
                <c:pt idx="764">
                  <c:v>37638</c:v>
                </c:pt>
                <c:pt idx="765">
                  <c:v>37641</c:v>
                </c:pt>
                <c:pt idx="766">
                  <c:v>37642</c:v>
                </c:pt>
                <c:pt idx="767">
                  <c:v>37643</c:v>
                </c:pt>
                <c:pt idx="768">
                  <c:v>37644</c:v>
                </c:pt>
                <c:pt idx="769">
                  <c:v>37645</c:v>
                </c:pt>
                <c:pt idx="770">
                  <c:v>37648</c:v>
                </c:pt>
                <c:pt idx="771">
                  <c:v>37649</c:v>
                </c:pt>
                <c:pt idx="772">
                  <c:v>37650</c:v>
                </c:pt>
                <c:pt idx="773">
                  <c:v>37651</c:v>
                </c:pt>
                <c:pt idx="774">
                  <c:v>37652</c:v>
                </c:pt>
                <c:pt idx="775">
                  <c:v>37655</c:v>
                </c:pt>
                <c:pt idx="776">
                  <c:v>37656</c:v>
                </c:pt>
                <c:pt idx="777">
                  <c:v>37657</c:v>
                </c:pt>
                <c:pt idx="778">
                  <c:v>37658</c:v>
                </c:pt>
                <c:pt idx="779">
                  <c:v>37659</c:v>
                </c:pt>
                <c:pt idx="780">
                  <c:v>37662</c:v>
                </c:pt>
                <c:pt idx="781">
                  <c:v>37663</c:v>
                </c:pt>
                <c:pt idx="782">
                  <c:v>37664</c:v>
                </c:pt>
                <c:pt idx="783">
                  <c:v>37665</c:v>
                </c:pt>
                <c:pt idx="784">
                  <c:v>37666</c:v>
                </c:pt>
                <c:pt idx="785">
                  <c:v>37669</c:v>
                </c:pt>
                <c:pt idx="786">
                  <c:v>37670</c:v>
                </c:pt>
                <c:pt idx="787">
                  <c:v>37671</c:v>
                </c:pt>
                <c:pt idx="788">
                  <c:v>37672</c:v>
                </c:pt>
                <c:pt idx="789">
                  <c:v>37673</c:v>
                </c:pt>
                <c:pt idx="790">
                  <c:v>37676</c:v>
                </c:pt>
                <c:pt idx="791">
                  <c:v>37677</c:v>
                </c:pt>
                <c:pt idx="792">
                  <c:v>37678</c:v>
                </c:pt>
                <c:pt idx="793">
                  <c:v>37679</c:v>
                </c:pt>
                <c:pt idx="794">
                  <c:v>37680</c:v>
                </c:pt>
                <c:pt idx="795">
                  <c:v>37685</c:v>
                </c:pt>
                <c:pt idx="796">
                  <c:v>37686</c:v>
                </c:pt>
                <c:pt idx="797">
                  <c:v>37687</c:v>
                </c:pt>
                <c:pt idx="798">
                  <c:v>37690</c:v>
                </c:pt>
                <c:pt idx="799">
                  <c:v>37691</c:v>
                </c:pt>
                <c:pt idx="800">
                  <c:v>37692</c:v>
                </c:pt>
                <c:pt idx="801">
                  <c:v>37693</c:v>
                </c:pt>
                <c:pt idx="802">
                  <c:v>37694</c:v>
                </c:pt>
                <c:pt idx="803">
                  <c:v>37697</c:v>
                </c:pt>
                <c:pt idx="804">
                  <c:v>37698</c:v>
                </c:pt>
                <c:pt idx="805">
                  <c:v>37699</c:v>
                </c:pt>
                <c:pt idx="806">
                  <c:v>37700</c:v>
                </c:pt>
                <c:pt idx="807">
                  <c:v>37701</c:v>
                </c:pt>
                <c:pt idx="808">
                  <c:v>37704</c:v>
                </c:pt>
                <c:pt idx="809">
                  <c:v>37705</c:v>
                </c:pt>
                <c:pt idx="810">
                  <c:v>37706</c:v>
                </c:pt>
                <c:pt idx="811">
                  <c:v>37707</c:v>
                </c:pt>
                <c:pt idx="812">
                  <c:v>37708</c:v>
                </c:pt>
                <c:pt idx="813">
                  <c:v>37711</c:v>
                </c:pt>
                <c:pt idx="814">
                  <c:v>37712</c:v>
                </c:pt>
                <c:pt idx="815">
                  <c:v>37713</c:v>
                </c:pt>
                <c:pt idx="816">
                  <c:v>37714</c:v>
                </c:pt>
                <c:pt idx="817">
                  <c:v>37715</c:v>
                </c:pt>
                <c:pt idx="818">
                  <c:v>37718</c:v>
                </c:pt>
                <c:pt idx="819">
                  <c:v>37719</c:v>
                </c:pt>
                <c:pt idx="820">
                  <c:v>37720</c:v>
                </c:pt>
                <c:pt idx="821">
                  <c:v>37721</c:v>
                </c:pt>
                <c:pt idx="822">
                  <c:v>37722</c:v>
                </c:pt>
                <c:pt idx="823">
                  <c:v>37725</c:v>
                </c:pt>
                <c:pt idx="824">
                  <c:v>37726</c:v>
                </c:pt>
                <c:pt idx="825">
                  <c:v>37727</c:v>
                </c:pt>
                <c:pt idx="826">
                  <c:v>37728</c:v>
                </c:pt>
                <c:pt idx="827">
                  <c:v>37733</c:v>
                </c:pt>
                <c:pt idx="828">
                  <c:v>37734</c:v>
                </c:pt>
                <c:pt idx="829">
                  <c:v>37735</c:v>
                </c:pt>
                <c:pt idx="830">
                  <c:v>37736</c:v>
                </c:pt>
                <c:pt idx="831">
                  <c:v>37739</c:v>
                </c:pt>
                <c:pt idx="832">
                  <c:v>37740</c:v>
                </c:pt>
                <c:pt idx="833">
                  <c:v>37741</c:v>
                </c:pt>
                <c:pt idx="834">
                  <c:v>37743</c:v>
                </c:pt>
                <c:pt idx="835">
                  <c:v>37746</c:v>
                </c:pt>
                <c:pt idx="836">
                  <c:v>37747</c:v>
                </c:pt>
                <c:pt idx="837">
                  <c:v>37748</c:v>
                </c:pt>
                <c:pt idx="838">
                  <c:v>37749</c:v>
                </c:pt>
                <c:pt idx="839">
                  <c:v>37750</c:v>
                </c:pt>
                <c:pt idx="840">
                  <c:v>37753</c:v>
                </c:pt>
                <c:pt idx="841">
                  <c:v>37754</c:v>
                </c:pt>
                <c:pt idx="842">
                  <c:v>37755</c:v>
                </c:pt>
                <c:pt idx="843">
                  <c:v>37756</c:v>
                </c:pt>
                <c:pt idx="844">
                  <c:v>37757</c:v>
                </c:pt>
                <c:pt idx="845">
                  <c:v>37760</c:v>
                </c:pt>
                <c:pt idx="846">
                  <c:v>37761</c:v>
                </c:pt>
                <c:pt idx="847">
                  <c:v>37762</c:v>
                </c:pt>
                <c:pt idx="848">
                  <c:v>37763</c:v>
                </c:pt>
                <c:pt idx="849">
                  <c:v>37764</c:v>
                </c:pt>
                <c:pt idx="850">
                  <c:v>37767</c:v>
                </c:pt>
                <c:pt idx="851">
                  <c:v>37768</c:v>
                </c:pt>
                <c:pt idx="852">
                  <c:v>37769</c:v>
                </c:pt>
                <c:pt idx="853">
                  <c:v>37770</c:v>
                </c:pt>
                <c:pt idx="854">
                  <c:v>37771</c:v>
                </c:pt>
                <c:pt idx="855">
                  <c:v>37774</c:v>
                </c:pt>
                <c:pt idx="856">
                  <c:v>37775</c:v>
                </c:pt>
                <c:pt idx="857">
                  <c:v>37776</c:v>
                </c:pt>
                <c:pt idx="858">
                  <c:v>37777</c:v>
                </c:pt>
                <c:pt idx="859">
                  <c:v>37778</c:v>
                </c:pt>
                <c:pt idx="860">
                  <c:v>37781</c:v>
                </c:pt>
                <c:pt idx="861">
                  <c:v>37782</c:v>
                </c:pt>
                <c:pt idx="862">
                  <c:v>37783</c:v>
                </c:pt>
                <c:pt idx="863">
                  <c:v>37784</c:v>
                </c:pt>
                <c:pt idx="864">
                  <c:v>37785</c:v>
                </c:pt>
                <c:pt idx="865">
                  <c:v>37788</c:v>
                </c:pt>
                <c:pt idx="866">
                  <c:v>37789</c:v>
                </c:pt>
                <c:pt idx="867">
                  <c:v>37790</c:v>
                </c:pt>
                <c:pt idx="868">
                  <c:v>37792</c:v>
                </c:pt>
                <c:pt idx="869">
                  <c:v>37795</c:v>
                </c:pt>
                <c:pt idx="870">
                  <c:v>37796</c:v>
                </c:pt>
                <c:pt idx="871">
                  <c:v>37797</c:v>
                </c:pt>
                <c:pt idx="872">
                  <c:v>37798</c:v>
                </c:pt>
                <c:pt idx="873">
                  <c:v>37799</c:v>
                </c:pt>
                <c:pt idx="874">
                  <c:v>37802</c:v>
                </c:pt>
                <c:pt idx="875">
                  <c:v>37803</c:v>
                </c:pt>
                <c:pt idx="876">
                  <c:v>37804</c:v>
                </c:pt>
                <c:pt idx="877">
                  <c:v>37805</c:v>
                </c:pt>
                <c:pt idx="878">
                  <c:v>37806</c:v>
                </c:pt>
                <c:pt idx="879">
                  <c:v>37809</c:v>
                </c:pt>
                <c:pt idx="880">
                  <c:v>37810</c:v>
                </c:pt>
                <c:pt idx="881">
                  <c:v>37811</c:v>
                </c:pt>
                <c:pt idx="882">
                  <c:v>37812</c:v>
                </c:pt>
                <c:pt idx="883">
                  <c:v>37813</c:v>
                </c:pt>
                <c:pt idx="884">
                  <c:v>37816</c:v>
                </c:pt>
                <c:pt idx="885">
                  <c:v>37817</c:v>
                </c:pt>
                <c:pt idx="886">
                  <c:v>37818</c:v>
                </c:pt>
                <c:pt idx="887">
                  <c:v>37819</c:v>
                </c:pt>
                <c:pt idx="888">
                  <c:v>37820</c:v>
                </c:pt>
                <c:pt idx="889">
                  <c:v>37823</c:v>
                </c:pt>
                <c:pt idx="890">
                  <c:v>37824</c:v>
                </c:pt>
                <c:pt idx="891">
                  <c:v>37825</c:v>
                </c:pt>
                <c:pt idx="892">
                  <c:v>37826</c:v>
                </c:pt>
                <c:pt idx="893">
                  <c:v>37827</c:v>
                </c:pt>
                <c:pt idx="894">
                  <c:v>37830</c:v>
                </c:pt>
                <c:pt idx="895">
                  <c:v>37831</c:v>
                </c:pt>
                <c:pt idx="896">
                  <c:v>37832</c:v>
                </c:pt>
                <c:pt idx="897">
                  <c:v>37833</c:v>
                </c:pt>
                <c:pt idx="898">
                  <c:v>37834</c:v>
                </c:pt>
                <c:pt idx="899">
                  <c:v>37837</c:v>
                </c:pt>
                <c:pt idx="900">
                  <c:v>37838</c:v>
                </c:pt>
                <c:pt idx="901">
                  <c:v>37839</c:v>
                </c:pt>
                <c:pt idx="902">
                  <c:v>37840</c:v>
                </c:pt>
                <c:pt idx="903">
                  <c:v>37841</c:v>
                </c:pt>
                <c:pt idx="904">
                  <c:v>37844</c:v>
                </c:pt>
                <c:pt idx="905">
                  <c:v>37845</c:v>
                </c:pt>
                <c:pt idx="906">
                  <c:v>37846</c:v>
                </c:pt>
                <c:pt idx="907">
                  <c:v>37847</c:v>
                </c:pt>
                <c:pt idx="908">
                  <c:v>37848</c:v>
                </c:pt>
                <c:pt idx="909">
                  <c:v>37851</c:v>
                </c:pt>
                <c:pt idx="910">
                  <c:v>37852</c:v>
                </c:pt>
                <c:pt idx="911">
                  <c:v>37853</c:v>
                </c:pt>
                <c:pt idx="912">
                  <c:v>37854</c:v>
                </c:pt>
                <c:pt idx="913">
                  <c:v>37855</c:v>
                </c:pt>
                <c:pt idx="914">
                  <c:v>37858</c:v>
                </c:pt>
                <c:pt idx="915">
                  <c:v>37859</c:v>
                </c:pt>
                <c:pt idx="916">
                  <c:v>37860</c:v>
                </c:pt>
                <c:pt idx="917">
                  <c:v>37861</c:v>
                </c:pt>
                <c:pt idx="918">
                  <c:v>37862</c:v>
                </c:pt>
                <c:pt idx="919">
                  <c:v>37865</c:v>
                </c:pt>
                <c:pt idx="920">
                  <c:v>37866</c:v>
                </c:pt>
                <c:pt idx="921">
                  <c:v>37867</c:v>
                </c:pt>
                <c:pt idx="922">
                  <c:v>37868</c:v>
                </c:pt>
                <c:pt idx="923">
                  <c:v>37869</c:v>
                </c:pt>
                <c:pt idx="924">
                  <c:v>37872</c:v>
                </c:pt>
                <c:pt idx="925">
                  <c:v>37873</c:v>
                </c:pt>
                <c:pt idx="926">
                  <c:v>37874</c:v>
                </c:pt>
                <c:pt idx="927">
                  <c:v>37875</c:v>
                </c:pt>
                <c:pt idx="928">
                  <c:v>37876</c:v>
                </c:pt>
                <c:pt idx="929">
                  <c:v>37879</c:v>
                </c:pt>
                <c:pt idx="930">
                  <c:v>37880</c:v>
                </c:pt>
                <c:pt idx="931">
                  <c:v>37881</c:v>
                </c:pt>
                <c:pt idx="932">
                  <c:v>37882</c:v>
                </c:pt>
                <c:pt idx="933">
                  <c:v>37883</c:v>
                </c:pt>
                <c:pt idx="934">
                  <c:v>37886</c:v>
                </c:pt>
                <c:pt idx="935">
                  <c:v>37887</c:v>
                </c:pt>
                <c:pt idx="936">
                  <c:v>37888</c:v>
                </c:pt>
                <c:pt idx="937">
                  <c:v>37889</c:v>
                </c:pt>
                <c:pt idx="938">
                  <c:v>37890</c:v>
                </c:pt>
                <c:pt idx="939">
                  <c:v>37893</c:v>
                </c:pt>
                <c:pt idx="940">
                  <c:v>37894</c:v>
                </c:pt>
                <c:pt idx="941">
                  <c:v>37895</c:v>
                </c:pt>
                <c:pt idx="942">
                  <c:v>37896</c:v>
                </c:pt>
                <c:pt idx="943">
                  <c:v>37897</c:v>
                </c:pt>
                <c:pt idx="944">
                  <c:v>37900</c:v>
                </c:pt>
                <c:pt idx="945">
                  <c:v>37901</c:v>
                </c:pt>
                <c:pt idx="946">
                  <c:v>37902</c:v>
                </c:pt>
                <c:pt idx="947">
                  <c:v>37903</c:v>
                </c:pt>
                <c:pt idx="948">
                  <c:v>37904</c:v>
                </c:pt>
                <c:pt idx="949">
                  <c:v>37907</c:v>
                </c:pt>
                <c:pt idx="950">
                  <c:v>37908</c:v>
                </c:pt>
                <c:pt idx="951">
                  <c:v>37909</c:v>
                </c:pt>
                <c:pt idx="952">
                  <c:v>37910</c:v>
                </c:pt>
                <c:pt idx="953">
                  <c:v>37911</c:v>
                </c:pt>
                <c:pt idx="954">
                  <c:v>37914</c:v>
                </c:pt>
                <c:pt idx="955">
                  <c:v>37915</c:v>
                </c:pt>
                <c:pt idx="956">
                  <c:v>37916</c:v>
                </c:pt>
                <c:pt idx="957">
                  <c:v>37917</c:v>
                </c:pt>
                <c:pt idx="958">
                  <c:v>37918</c:v>
                </c:pt>
                <c:pt idx="959">
                  <c:v>37921</c:v>
                </c:pt>
                <c:pt idx="960">
                  <c:v>37922</c:v>
                </c:pt>
                <c:pt idx="961">
                  <c:v>37923</c:v>
                </c:pt>
                <c:pt idx="962">
                  <c:v>37924</c:v>
                </c:pt>
                <c:pt idx="963">
                  <c:v>37925</c:v>
                </c:pt>
                <c:pt idx="964">
                  <c:v>37928</c:v>
                </c:pt>
                <c:pt idx="965">
                  <c:v>37929</c:v>
                </c:pt>
                <c:pt idx="966">
                  <c:v>37930</c:v>
                </c:pt>
                <c:pt idx="967">
                  <c:v>37931</c:v>
                </c:pt>
                <c:pt idx="968">
                  <c:v>37932</c:v>
                </c:pt>
                <c:pt idx="969">
                  <c:v>37935</c:v>
                </c:pt>
                <c:pt idx="970">
                  <c:v>37936</c:v>
                </c:pt>
                <c:pt idx="971">
                  <c:v>37937</c:v>
                </c:pt>
                <c:pt idx="972">
                  <c:v>37938</c:v>
                </c:pt>
                <c:pt idx="973">
                  <c:v>37939</c:v>
                </c:pt>
                <c:pt idx="974">
                  <c:v>37942</c:v>
                </c:pt>
                <c:pt idx="975">
                  <c:v>37943</c:v>
                </c:pt>
                <c:pt idx="976">
                  <c:v>37944</c:v>
                </c:pt>
                <c:pt idx="977">
                  <c:v>37945</c:v>
                </c:pt>
                <c:pt idx="978">
                  <c:v>37946</c:v>
                </c:pt>
                <c:pt idx="979">
                  <c:v>37949</c:v>
                </c:pt>
                <c:pt idx="980">
                  <c:v>37950</c:v>
                </c:pt>
                <c:pt idx="981">
                  <c:v>37951</c:v>
                </c:pt>
                <c:pt idx="982">
                  <c:v>37952</c:v>
                </c:pt>
                <c:pt idx="983">
                  <c:v>37953</c:v>
                </c:pt>
                <c:pt idx="984">
                  <c:v>37956</c:v>
                </c:pt>
                <c:pt idx="985">
                  <c:v>37957</c:v>
                </c:pt>
                <c:pt idx="986">
                  <c:v>37958</c:v>
                </c:pt>
                <c:pt idx="987">
                  <c:v>37959</c:v>
                </c:pt>
                <c:pt idx="988">
                  <c:v>37960</c:v>
                </c:pt>
                <c:pt idx="989">
                  <c:v>37963</c:v>
                </c:pt>
                <c:pt idx="990">
                  <c:v>37964</c:v>
                </c:pt>
                <c:pt idx="991">
                  <c:v>37965</c:v>
                </c:pt>
                <c:pt idx="992">
                  <c:v>37966</c:v>
                </c:pt>
                <c:pt idx="993">
                  <c:v>37967</c:v>
                </c:pt>
                <c:pt idx="994">
                  <c:v>37970</c:v>
                </c:pt>
                <c:pt idx="995">
                  <c:v>37971</c:v>
                </c:pt>
                <c:pt idx="996">
                  <c:v>37972</c:v>
                </c:pt>
                <c:pt idx="997">
                  <c:v>37973</c:v>
                </c:pt>
                <c:pt idx="998">
                  <c:v>37974</c:v>
                </c:pt>
                <c:pt idx="999">
                  <c:v>37977</c:v>
                </c:pt>
                <c:pt idx="1000">
                  <c:v>37978</c:v>
                </c:pt>
                <c:pt idx="1001">
                  <c:v>37979</c:v>
                </c:pt>
                <c:pt idx="1002">
                  <c:v>37981</c:v>
                </c:pt>
                <c:pt idx="1003">
                  <c:v>37984</c:v>
                </c:pt>
                <c:pt idx="1004">
                  <c:v>37985</c:v>
                </c:pt>
                <c:pt idx="1005">
                  <c:v>37986</c:v>
                </c:pt>
                <c:pt idx="1006">
                  <c:v>37988</c:v>
                </c:pt>
                <c:pt idx="1007">
                  <c:v>37991</c:v>
                </c:pt>
                <c:pt idx="1008">
                  <c:v>37992</c:v>
                </c:pt>
                <c:pt idx="1009">
                  <c:v>37993</c:v>
                </c:pt>
                <c:pt idx="1010">
                  <c:v>37994</c:v>
                </c:pt>
                <c:pt idx="1011">
                  <c:v>37995</c:v>
                </c:pt>
                <c:pt idx="1012">
                  <c:v>37998</c:v>
                </c:pt>
                <c:pt idx="1013">
                  <c:v>37999</c:v>
                </c:pt>
                <c:pt idx="1014">
                  <c:v>38000</c:v>
                </c:pt>
                <c:pt idx="1015">
                  <c:v>38001</c:v>
                </c:pt>
                <c:pt idx="1016">
                  <c:v>38002</c:v>
                </c:pt>
                <c:pt idx="1017">
                  <c:v>38005</c:v>
                </c:pt>
                <c:pt idx="1018">
                  <c:v>38006</c:v>
                </c:pt>
                <c:pt idx="1019">
                  <c:v>38007</c:v>
                </c:pt>
                <c:pt idx="1020">
                  <c:v>38008</c:v>
                </c:pt>
                <c:pt idx="1021">
                  <c:v>38009</c:v>
                </c:pt>
                <c:pt idx="1022">
                  <c:v>38012</c:v>
                </c:pt>
                <c:pt idx="1023">
                  <c:v>38013</c:v>
                </c:pt>
                <c:pt idx="1024">
                  <c:v>38014</c:v>
                </c:pt>
                <c:pt idx="1025">
                  <c:v>38015</c:v>
                </c:pt>
                <c:pt idx="1026">
                  <c:v>38016</c:v>
                </c:pt>
                <c:pt idx="1027">
                  <c:v>38019</c:v>
                </c:pt>
                <c:pt idx="1028">
                  <c:v>38020</c:v>
                </c:pt>
                <c:pt idx="1029">
                  <c:v>38021</c:v>
                </c:pt>
                <c:pt idx="1030">
                  <c:v>38022</c:v>
                </c:pt>
                <c:pt idx="1031">
                  <c:v>38023</c:v>
                </c:pt>
                <c:pt idx="1032">
                  <c:v>38026</c:v>
                </c:pt>
                <c:pt idx="1033">
                  <c:v>38027</c:v>
                </c:pt>
                <c:pt idx="1034">
                  <c:v>38028</c:v>
                </c:pt>
                <c:pt idx="1035">
                  <c:v>38029</c:v>
                </c:pt>
                <c:pt idx="1036">
                  <c:v>38030</c:v>
                </c:pt>
                <c:pt idx="1037">
                  <c:v>38033</c:v>
                </c:pt>
                <c:pt idx="1038">
                  <c:v>38034</c:v>
                </c:pt>
                <c:pt idx="1039">
                  <c:v>38035</c:v>
                </c:pt>
                <c:pt idx="1040">
                  <c:v>38036</c:v>
                </c:pt>
                <c:pt idx="1041">
                  <c:v>38037</c:v>
                </c:pt>
                <c:pt idx="1042">
                  <c:v>38042</c:v>
                </c:pt>
                <c:pt idx="1043">
                  <c:v>38043</c:v>
                </c:pt>
                <c:pt idx="1044">
                  <c:v>38044</c:v>
                </c:pt>
                <c:pt idx="1045">
                  <c:v>38047</c:v>
                </c:pt>
                <c:pt idx="1046">
                  <c:v>38048</c:v>
                </c:pt>
                <c:pt idx="1047">
                  <c:v>38049</c:v>
                </c:pt>
                <c:pt idx="1048">
                  <c:v>38050</c:v>
                </c:pt>
                <c:pt idx="1049">
                  <c:v>38051</c:v>
                </c:pt>
                <c:pt idx="1050">
                  <c:v>38054</c:v>
                </c:pt>
                <c:pt idx="1051">
                  <c:v>38055</c:v>
                </c:pt>
                <c:pt idx="1052">
                  <c:v>38056</c:v>
                </c:pt>
                <c:pt idx="1053">
                  <c:v>38057</c:v>
                </c:pt>
                <c:pt idx="1054">
                  <c:v>38058</c:v>
                </c:pt>
                <c:pt idx="1055">
                  <c:v>38061</c:v>
                </c:pt>
                <c:pt idx="1056">
                  <c:v>38062</c:v>
                </c:pt>
                <c:pt idx="1057">
                  <c:v>38063</c:v>
                </c:pt>
                <c:pt idx="1058">
                  <c:v>38064</c:v>
                </c:pt>
                <c:pt idx="1059">
                  <c:v>38065</c:v>
                </c:pt>
                <c:pt idx="1060">
                  <c:v>38068</c:v>
                </c:pt>
                <c:pt idx="1061">
                  <c:v>38069</c:v>
                </c:pt>
                <c:pt idx="1062">
                  <c:v>38070</c:v>
                </c:pt>
                <c:pt idx="1063">
                  <c:v>38071</c:v>
                </c:pt>
                <c:pt idx="1064">
                  <c:v>38072</c:v>
                </c:pt>
                <c:pt idx="1065">
                  <c:v>38075</c:v>
                </c:pt>
                <c:pt idx="1066">
                  <c:v>38076</c:v>
                </c:pt>
                <c:pt idx="1067">
                  <c:v>38077</c:v>
                </c:pt>
                <c:pt idx="1068">
                  <c:v>38078</c:v>
                </c:pt>
                <c:pt idx="1069">
                  <c:v>38079</c:v>
                </c:pt>
                <c:pt idx="1070">
                  <c:v>38082</c:v>
                </c:pt>
                <c:pt idx="1071">
                  <c:v>38083</c:v>
                </c:pt>
                <c:pt idx="1072">
                  <c:v>38084</c:v>
                </c:pt>
                <c:pt idx="1073">
                  <c:v>38085</c:v>
                </c:pt>
                <c:pt idx="1074">
                  <c:v>38089</c:v>
                </c:pt>
                <c:pt idx="1075">
                  <c:v>38090</c:v>
                </c:pt>
                <c:pt idx="1076">
                  <c:v>38091</c:v>
                </c:pt>
                <c:pt idx="1077">
                  <c:v>38092</c:v>
                </c:pt>
                <c:pt idx="1078">
                  <c:v>38093</c:v>
                </c:pt>
                <c:pt idx="1079">
                  <c:v>38096</c:v>
                </c:pt>
                <c:pt idx="1080">
                  <c:v>38097</c:v>
                </c:pt>
                <c:pt idx="1081">
                  <c:v>38099</c:v>
                </c:pt>
                <c:pt idx="1082">
                  <c:v>38100</c:v>
                </c:pt>
                <c:pt idx="1083">
                  <c:v>38103</c:v>
                </c:pt>
                <c:pt idx="1084">
                  <c:v>38104</c:v>
                </c:pt>
                <c:pt idx="1085">
                  <c:v>38105</c:v>
                </c:pt>
                <c:pt idx="1086">
                  <c:v>38106</c:v>
                </c:pt>
                <c:pt idx="1087">
                  <c:v>38107</c:v>
                </c:pt>
                <c:pt idx="1088">
                  <c:v>38110</c:v>
                </c:pt>
                <c:pt idx="1089">
                  <c:v>38111</c:v>
                </c:pt>
                <c:pt idx="1090">
                  <c:v>38112</c:v>
                </c:pt>
                <c:pt idx="1091">
                  <c:v>38113</c:v>
                </c:pt>
                <c:pt idx="1092">
                  <c:v>38114</c:v>
                </c:pt>
                <c:pt idx="1093">
                  <c:v>38117</c:v>
                </c:pt>
                <c:pt idx="1094">
                  <c:v>38118</c:v>
                </c:pt>
                <c:pt idx="1095">
                  <c:v>38119</c:v>
                </c:pt>
                <c:pt idx="1096">
                  <c:v>38120</c:v>
                </c:pt>
                <c:pt idx="1097">
                  <c:v>38121</c:v>
                </c:pt>
                <c:pt idx="1098">
                  <c:v>38124</c:v>
                </c:pt>
                <c:pt idx="1099">
                  <c:v>38125</c:v>
                </c:pt>
                <c:pt idx="1100">
                  <c:v>38126</c:v>
                </c:pt>
                <c:pt idx="1101">
                  <c:v>38127</c:v>
                </c:pt>
                <c:pt idx="1102">
                  <c:v>38128</c:v>
                </c:pt>
                <c:pt idx="1103">
                  <c:v>38131</c:v>
                </c:pt>
                <c:pt idx="1104">
                  <c:v>38132</c:v>
                </c:pt>
                <c:pt idx="1105">
                  <c:v>38133</c:v>
                </c:pt>
                <c:pt idx="1106">
                  <c:v>38134</c:v>
                </c:pt>
                <c:pt idx="1107">
                  <c:v>38135</c:v>
                </c:pt>
                <c:pt idx="1108">
                  <c:v>38138</c:v>
                </c:pt>
                <c:pt idx="1109">
                  <c:v>38139</c:v>
                </c:pt>
                <c:pt idx="1110">
                  <c:v>38140</c:v>
                </c:pt>
                <c:pt idx="1111">
                  <c:v>38141</c:v>
                </c:pt>
                <c:pt idx="1112">
                  <c:v>38142</c:v>
                </c:pt>
                <c:pt idx="1113">
                  <c:v>38145</c:v>
                </c:pt>
                <c:pt idx="1114">
                  <c:v>38146</c:v>
                </c:pt>
                <c:pt idx="1115">
                  <c:v>38147</c:v>
                </c:pt>
                <c:pt idx="1116">
                  <c:v>38149</c:v>
                </c:pt>
                <c:pt idx="1117">
                  <c:v>38152</c:v>
                </c:pt>
                <c:pt idx="1118">
                  <c:v>38153</c:v>
                </c:pt>
                <c:pt idx="1119">
                  <c:v>38154</c:v>
                </c:pt>
                <c:pt idx="1120">
                  <c:v>38155</c:v>
                </c:pt>
                <c:pt idx="1121">
                  <c:v>38156</c:v>
                </c:pt>
                <c:pt idx="1122">
                  <c:v>38159</c:v>
                </c:pt>
                <c:pt idx="1123">
                  <c:v>38160</c:v>
                </c:pt>
                <c:pt idx="1124">
                  <c:v>38161</c:v>
                </c:pt>
                <c:pt idx="1125">
                  <c:v>38162</c:v>
                </c:pt>
                <c:pt idx="1126">
                  <c:v>38163</c:v>
                </c:pt>
                <c:pt idx="1127">
                  <c:v>38166</c:v>
                </c:pt>
                <c:pt idx="1128">
                  <c:v>38167</c:v>
                </c:pt>
                <c:pt idx="1129">
                  <c:v>38168</c:v>
                </c:pt>
                <c:pt idx="1130">
                  <c:v>38169</c:v>
                </c:pt>
                <c:pt idx="1131">
                  <c:v>38170</c:v>
                </c:pt>
                <c:pt idx="1132">
                  <c:v>38173</c:v>
                </c:pt>
                <c:pt idx="1133">
                  <c:v>38174</c:v>
                </c:pt>
                <c:pt idx="1134">
                  <c:v>38175</c:v>
                </c:pt>
                <c:pt idx="1135">
                  <c:v>38176</c:v>
                </c:pt>
                <c:pt idx="1136">
                  <c:v>38177</c:v>
                </c:pt>
                <c:pt idx="1137">
                  <c:v>38180</c:v>
                </c:pt>
                <c:pt idx="1138">
                  <c:v>38181</c:v>
                </c:pt>
                <c:pt idx="1139">
                  <c:v>38182</c:v>
                </c:pt>
                <c:pt idx="1140">
                  <c:v>38183</c:v>
                </c:pt>
                <c:pt idx="1141">
                  <c:v>38184</c:v>
                </c:pt>
                <c:pt idx="1142">
                  <c:v>38187</c:v>
                </c:pt>
                <c:pt idx="1143">
                  <c:v>38188</c:v>
                </c:pt>
                <c:pt idx="1144">
                  <c:v>38189</c:v>
                </c:pt>
                <c:pt idx="1145">
                  <c:v>38190</c:v>
                </c:pt>
                <c:pt idx="1146">
                  <c:v>38191</c:v>
                </c:pt>
                <c:pt idx="1147">
                  <c:v>38194</c:v>
                </c:pt>
                <c:pt idx="1148">
                  <c:v>38195</c:v>
                </c:pt>
                <c:pt idx="1149">
                  <c:v>38196</c:v>
                </c:pt>
                <c:pt idx="1150">
                  <c:v>38197</c:v>
                </c:pt>
                <c:pt idx="1151">
                  <c:v>38198</c:v>
                </c:pt>
                <c:pt idx="1152">
                  <c:v>38201</c:v>
                </c:pt>
                <c:pt idx="1153">
                  <c:v>38202</c:v>
                </c:pt>
                <c:pt idx="1154">
                  <c:v>38203</c:v>
                </c:pt>
                <c:pt idx="1155">
                  <c:v>38204</c:v>
                </c:pt>
                <c:pt idx="1156">
                  <c:v>38205</c:v>
                </c:pt>
                <c:pt idx="1157">
                  <c:v>38208</c:v>
                </c:pt>
                <c:pt idx="1158">
                  <c:v>38209</c:v>
                </c:pt>
                <c:pt idx="1159">
                  <c:v>38210</c:v>
                </c:pt>
                <c:pt idx="1160">
                  <c:v>38211</c:v>
                </c:pt>
                <c:pt idx="1161">
                  <c:v>38212</c:v>
                </c:pt>
                <c:pt idx="1162">
                  <c:v>38215</c:v>
                </c:pt>
                <c:pt idx="1163">
                  <c:v>38216</c:v>
                </c:pt>
                <c:pt idx="1164">
                  <c:v>38217</c:v>
                </c:pt>
                <c:pt idx="1165">
                  <c:v>38218</c:v>
                </c:pt>
                <c:pt idx="1166">
                  <c:v>38219</c:v>
                </c:pt>
                <c:pt idx="1167">
                  <c:v>38222</c:v>
                </c:pt>
                <c:pt idx="1168">
                  <c:v>38223</c:v>
                </c:pt>
                <c:pt idx="1169">
                  <c:v>38224</c:v>
                </c:pt>
                <c:pt idx="1170">
                  <c:v>38225</c:v>
                </c:pt>
                <c:pt idx="1171">
                  <c:v>38226</c:v>
                </c:pt>
                <c:pt idx="1172">
                  <c:v>38229</c:v>
                </c:pt>
                <c:pt idx="1173">
                  <c:v>38230</c:v>
                </c:pt>
                <c:pt idx="1174">
                  <c:v>38231</c:v>
                </c:pt>
                <c:pt idx="1175">
                  <c:v>38232</c:v>
                </c:pt>
                <c:pt idx="1176">
                  <c:v>38233</c:v>
                </c:pt>
                <c:pt idx="1177">
                  <c:v>38236</c:v>
                </c:pt>
                <c:pt idx="1178">
                  <c:v>38238</c:v>
                </c:pt>
                <c:pt idx="1179">
                  <c:v>38239</c:v>
                </c:pt>
                <c:pt idx="1180">
                  <c:v>38240</c:v>
                </c:pt>
                <c:pt idx="1181">
                  <c:v>38243</c:v>
                </c:pt>
                <c:pt idx="1182">
                  <c:v>38244</c:v>
                </c:pt>
                <c:pt idx="1183">
                  <c:v>38245</c:v>
                </c:pt>
                <c:pt idx="1184">
                  <c:v>38246</c:v>
                </c:pt>
                <c:pt idx="1185">
                  <c:v>38247</c:v>
                </c:pt>
                <c:pt idx="1186">
                  <c:v>38250</c:v>
                </c:pt>
                <c:pt idx="1187">
                  <c:v>38251</c:v>
                </c:pt>
                <c:pt idx="1188">
                  <c:v>38252</c:v>
                </c:pt>
                <c:pt idx="1189">
                  <c:v>38253</c:v>
                </c:pt>
                <c:pt idx="1190">
                  <c:v>38254</c:v>
                </c:pt>
                <c:pt idx="1191">
                  <c:v>38257</c:v>
                </c:pt>
                <c:pt idx="1192">
                  <c:v>38258</c:v>
                </c:pt>
                <c:pt idx="1193">
                  <c:v>38259</c:v>
                </c:pt>
                <c:pt idx="1194">
                  <c:v>38260</c:v>
                </c:pt>
                <c:pt idx="1195">
                  <c:v>38261</c:v>
                </c:pt>
                <c:pt idx="1196">
                  <c:v>38264</c:v>
                </c:pt>
                <c:pt idx="1197">
                  <c:v>38265</c:v>
                </c:pt>
                <c:pt idx="1198">
                  <c:v>38266</c:v>
                </c:pt>
                <c:pt idx="1199">
                  <c:v>38267</c:v>
                </c:pt>
                <c:pt idx="1200">
                  <c:v>38268</c:v>
                </c:pt>
                <c:pt idx="1201">
                  <c:v>38271</c:v>
                </c:pt>
                <c:pt idx="1202">
                  <c:v>38273</c:v>
                </c:pt>
                <c:pt idx="1203">
                  <c:v>38274</c:v>
                </c:pt>
                <c:pt idx="1204">
                  <c:v>38275</c:v>
                </c:pt>
                <c:pt idx="1205">
                  <c:v>38278</c:v>
                </c:pt>
                <c:pt idx="1206">
                  <c:v>38279</c:v>
                </c:pt>
                <c:pt idx="1207">
                  <c:v>38280</c:v>
                </c:pt>
                <c:pt idx="1208">
                  <c:v>38281</c:v>
                </c:pt>
                <c:pt idx="1209">
                  <c:v>38282</c:v>
                </c:pt>
                <c:pt idx="1210">
                  <c:v>38285</c:v>
                </c:pt>
                <c:pt idx="1211">
                  <c:v>38286</c:v>
                </c:pt>
                <c:pt idx="1212">
                  <c:v>38287</c:v>
                </c:pt>
                <c:pt idx="1213">
                  <c:v>38288</c:v>
                </c:pt>
                <c:pt idx="1214">
                  <c:v>38289</c:v>
                </c:pt>
                <c:pt idx="1215">
                  <c:v>38292</c:v>
                </c:pt>
                <c:pt idx="1216">
                  <c:v>38294</c:v>
                </c:pt>
                <c:pt idx="1217">
                  <c:v>38295</c:v>
                </c:pt>
                <c:pt idx="1218">
                  <c:v>38296</c:v>
                </c:pt>
                <c:pt idx="1219">
                  <c:v>38299</c:v>
                </c:pt>
                <c:pt idx="1220">
                  <c:v>38300</c:v>
                </c:pt>
                <c:pt idx="1221">
                  <c:v>38301</c:v>
                </c:pt>
                <c:pt idx="1222">
                  <c:v>38302</c:v>
                </c:pt>
                <c:pt idx="1223">
                  <c:v>38303</c:v>
                </c:pt>
                <c:pt idx="1224">
                  <c:v>38307</c:v>
                </c:pt>
                <c:pt idx="1225">
                  <c:v>38308</c:v>
                </c:pt>
                <c:pt idx="1226">
                  <c:v>38309</c:v>
                </c:pt>
                <c:pt idx="1227">
                  <c:v>38310</c:v>
                </c:pt>
                <c:pt idx="1228">
                  <c:v>38313</c:v>
                </c:pt>
                <c:pt idx="1229">
                  <c:v>38314</c:v>
                </c:pt>
                <c:pt idx="1230">
                  <c:v>38315</c:v>
                </c:pt>
                <c:pt idx="1231">
                  <c:v>38316</c:v>
                </c:pt>
                <c:pt idx="1232">
                  <c:v>38317</c:v>
                </c:pt>
                <c:pt idx="1233">
                  <c:v>38320</c:v>
                </c:pt>
                <c:pt idx="1234">
                  <c:v>38321</c:v>
                </c:pt>
                <c:pt idx="1235">
                  <c:v>38322</c:v>
                </c:pt>
                <c:pt idx="1236">
                  <c:v>38323</c:v>
                </c:pt>
                <c:pt idx="1237">
                  <c:v>38324</c:v>
                </c:pt>
                <c:pt idx="1238">
                  <c:v>38327</c:v>
                </c:pt>
                <c:pt idx="1239">
                  <c:v>38328</c:v>
                </c:pt>
                <c:pt idx="1240">
                  <c:v>38329</c:v>
                </c:pt>
                <c:pt idx="1241">
                  <c:v>38330</c:v>
                </c:pt>
                <c:pt idx="1242">
                  <c:v>38331</c:v>
                </c:pt>
                <c:pt idx="1243">
                  <c:v>38334</c:v>
                </c:pt>
                <c:pt idx="1244">
                  <c:v>38335</c:v>
                </c:pt>
                <c:pt idx="1245">
                  <c:v>38336</c:v>
                </c:pt>
                <c:pt idx="1246">
                  <c:v>38337</c:v>
                </c:pt>
                <c:pt idx="1247">
                  <c:v>38338</c:v>
                </c:pt>
                <c:pt idx="1248">
                  <c:v>38341</c:v>
                </c:pt>
                <c:pt idx="1249">
                  <c:v>38342</c:v>
                </c:pt>
                <c:pt idx="1250">
                  <c:v>38343</c:v>
                </c:pt>
                <c:pt idx="1251">
                  <c:v>38344</c:v>
                </c:pt>
                <c:pt idx="1252">
                  <c:v>38345</c:v>
                </c:pt>
                <c:pt idx="1253">
                  <c:v>38348</c:v>
                </c:pt>
                <c:pt idx="1254">
                  <c:v>38349</c:v>
                </c:pt>
                <c:pt idx="1255">
                  <c:v>38350</c:v>
                </c:pt>
                <c:pt idx="1256">
                  <c:v>38351</c:v>
                </c:pt>
                <c:pt idx="1257">
                  <c:v>38352</c:v>
                </c:pt>
                <c:pt idx="1258">
                  <c:v>38355</c:v>
                </c:pt>
                <c:pt idx="1259">
                  <c:v>38356</c:v>
                </c:pt>
                <c:pt idx="1260">
                  <c:v>38357</c:v>
                </c:pt>
                <c:pt idx="1261">
                  <c:v>38358</c:v>
                </c:pt>
                <c:pt idx="1262">
                  <c:v>38359</c:v>
                </c:pt>
                <c:pt idx="1263">
                  <c:v>38362</c:v>
                </c:pt>
                <c:pt idx="1264">
                  <c:v>38363</c:v>
                </c:pt>
                <c:pt idx="1265">
                  <c:v>38364</c:v>
                </c:pt>
                <c:pt idx="1266">
                  <c:v>38365</c:v>
                </c:pt>
                <c:pt idx="1267">
                  <c:v>38366</c:v>
                </c:pt>
                <c:pt idx="1268">
                  <c:v>38369</c:v>
                </c:pt>
                <c:pt idx="1269">
                  <c:v>38370</c:v>
                </c:pt>
                <c:pt idx="1270">
                  <c:v>38371</c:v>
                </c:pt>
                <c:pt idx="1271">
                  <c:v>38372</c:v>
                </c:pt>
                <c:pt idx="1272">
                  <c:v>38373</c:v>
                </c:pt>
                <c:pt idx="1273">
                  <c:v>38376</c:v>
                </c:pt>
                <c:pt idx="1274">
                  <c:v>38377</c:v>
                </c:pt>
                <c:pt idx="1275">
                  <c:v>38378</c:v>
                </c:pt>
                <c:pt idx="1276">
                  <c:v>38379</c:v>
                </c:pt>
                <c:pt idx="1277">
                  <c:v>38380</c:v>
                </c:pt>
                <c:pt idx="1278">
                  <c:v>38383</c:v>
                </c:pt>
                <c:pt idx="1279">
                  <c:v>38384</c:v>
                </c:pt>
                <c:pt idx="1280">
                  <c:v>38385</c:v>
                </c:pt>
                <c:pt idx="1281">
                  <c:v>38386</c:v>
                </c:pt>
                <c:pt idx="1282">
                  <c:v>38387</c:v>
                </c:pt>
                <c:pt idx="1283">
                  <c:v>38392</c:v>
                </c:pt>
                <c:pt idx="1284">
                  <c:v>38393</c:v>
                </c:pt>
                <c:pt idx="1285">
                  <c:v>38394</c:v>
                </c:pt>
                <c:pt idx="1286">
                  <c:v>38397</c:v>
                </c:pt>
                <c:pt idx="1287">
                  <c:v>38398</c:v>
                </c:pt>
                <c:pt idx="1288">
                  <c:v>38399</c:v>
                </c:pt>
                <c:pt idx="1289">
                  <c:v>38400</c:v>
                </c:pt>
                <c:pt idx="1290">
                  <c:v>38401</c:v>
                </c:pt>
                <c:pt idx="1291">
                  <c:v>38404</c:v>
                </c:pt>
                <c:pt idx="1292">
                  <c:v>38405</c:v>
                </c:pt>
                <c:pt idx="1293">
                  <c:v>38406</c:v>
                </c:pt>
                <c:pt idx="1294">
                  <c:v>38407</c:v>
                </c:pt>
                <c:pt idx="1295">
                  <c:v>38408</c:v>
                </c:pt>
                <c:pt idx="1296">
                  <c:v>38411</c:v>
                </c:pt>
                <c:pt idx="1297">
                  <c:v>38412</c:v>
                </c:pt>
                <c:pt idx="1298">
                  <c:v>38413</c:v>
                </c:pt>
                <c:pt idx="1299">
                  <c:v>38414</c:v>
                </c:pt>
                <c:pt idx="1300">
                  <c:v>38415</c:v>
                </c:pt>
                <c:pt idx="1301">
                  <c:v>38418</c:v>
                </c:pt>
                <c:pt idx="1302">
                  <c:v>38419</c:v>
                </c:pt>
                <c:pt idx="1303">
                  <c:v>38420</c:v>
                </c:pt>
                <c:pt idx="1304">
                  <c:v>38421</c:v>
                </c:pt>
                <c:pt idx="1305">
                  <c:v>38422</c:v>
                </c:pt>
                <c:pt idx="1306">
                  <c:v>38425</c:v>
                </c:pt>
                <c:pt idx="1307">
                  <c:v>38426</c:v>
                </c:pt>
                <c:pt idx="1308">
                  <c:v>38427</c:v>
                </c:pt>
                <c:pt idx="1309">
                  <c:v>38428</c:v>
                </c:pt>
                <c:pt idx="1310">
                  <c:v>38429</c:v>
                </c:pt>
                <c:pt idx="1311">
                  <c:v>38432</c:v>
                </c:pt>
                <c:pt idx="1312">
                  <c:v>38433</c:v>
                </c:pt>
                <c:pt idx="1313">
                  <c:v>38434</c:v>
                </c:pt>
                <c:pt idx="1314">
                  <c:v>38435</c:v>
                </c:pt>
                <c:pt idx="1315">
                  <c:v>38439</c:v>
                </c:pt>
                <c:pt idx="1316">
                  <c:v>38440</c:v>
                </c:pt>
                <c:pt idx="1317">
                  <c:v>38441</c:v>
                </c:pt>
                <c:pt idx="1318">
                  <c:v>38442</c:v>
                </c:pt>
                <c:pt idx="1319">
                  <c:v>38443</c:v>
                </c:pt>
                <c:pt idx="1320">
                  <c:v>38446</c:v>
                </c:pt>
                <c:pt idx="1321">
                  <c:v>38447</c:v>
                </c:pt>
                <c:pt idx="1322">
                  <c:v>38448</c:v>
                </c:pt>
                <c:pt idx="1323">
                  <c:v>38449</c:v>
                </c:pt>
                <c:pt idx="1324">
                  <c:v>38450</c:v>
                </c:pt>
                <c:pt idx="1325">
                  <c:v>38453</c:v>
                </c:pt>
                <c:pt idx="1326">
                  <c:v>38454</c:v>
                </c:pt>
                <c:pt idx="1327">
                  <c:v>38455</c:v>
                </c:pt>
                <c:pt idx="1328">
                  <c:v>38456</c:v>
                </c:pt>
                <c:pt idx="1329">
                  <c:v>38457</c:v>
                </c:pt>
                <c:pt idx="1330">
                  <c:v>38460</c:v>
                </c:pt>
                <c:pt idx="1331">
                  <c:v>38461</c:v>
                </c:pt>
                <c:pt idx="1332">
                  <c:v>38462</c:v>
                </c:pt>
                <c:pt idx="1333">
                  <c:v>38464</c:v>
                </c:pt>
                <c:pt idx="1334">
                  <c:v>38467</c:v>
                </c:pt>
                <c:pt idx="1335">
                  <c:v>38468</c:v>
                </c:pt>
                <c:pt idx="1336">
                  <c:v>38469</c:v>
                </c:pt>
                <c:pt idx="1337">
                  <c:v>38470</c:v>
                </c:pt>
                <c:pt idx="1338">
                  <c:v>38471</c:v>
                </c:pt>
                <c:pt idx="1339">
                  <c:v>38474</c:v>
                </c:pt>
                <c:pt idx="1340">
                  <c:v>38475</c:v>
                </c:pt>
                <c:pt idx="1341">
                  <c:v>38476</c:v>
                </c:pt>
                <c:pt idx="1342">
                  <c:v>38477</c:v>
                </c:pt>
                <c:pt idx="1343">
                  <c:v>38478</c:v>
                </c:pt>
                <c:pt idx="1344">
                  <c:v>38481</c:v>
                </c:pt>
                <c:pt idx="1345">
                  <c:v>38482</c:v>
                </c:pt>
                <c:pt idx="1346">
                  <c:v>38483</c:v>
                </c:pt>
                <c:pt idx="1347">
                  <c:v>38484</c:v>
                </c:pt>
                <c:pt idx="1348">
                  <c:v>38485</c:v>
                </c:pt>
                <c:pt idx="1349">
                  <c:v>38488</c:v>
                </c:pt>
                <c:pt idx="1350">
                  <c:v>38489</c:v>
                </c:pt>
                <c:pt idx="1351">
                  <c:v>38490</c:v>
                </c:pt>
                <c:pt idx="1352">
                  <c:v>38491</c:v>
                </c:pt>
                <c:pt idx="1353">
                  <c:v>38492</c:v>
                </c:pt>
                <c:pt idx="1354">
                  <c:v>38495</c:v>
                </c:pt>
                <c:pt idx="1355">
                  <c:v>38496</c:v>
                </c:pt>
                <c:pt idx="1356">
                  <c:v>38497</c:v>
                </c:pt>
                <c:pt idx="1357">
                  <c:v>38499</c:v>
                </c:pt>
                <c:pt idx="1358">
                  <c:v>38502</c:v>
                </c:pt>
                <c:pt idx="1359">
                  <c:v>38503</c:v>
                </c:pt>
                <c:pt idx="1360">
                  <c:v>38504</c:v>
                </c:pt>
                <c:pt idx="1361">
                  <c:v>38505</c:v>
                </c:pt>
                <c:pt idx="1362">
                  <c:v>38506</c:v>
                </c:pt>
                <c:pt idx="1363">
                  <c:v>38509</c:v>
                </c:pt>
                <c:pt idx="1364">
                  <c:v>38510</c:v>
                </c:pt>
                <c:pt idx="1365">
                  <c:v>38511</c:v>
                </c:pt>
                <c:pt idx="1366">
                  <c:v>38512</c:v>
                </c:pt>
                <c:pt idx="1367">
                  <c:v>38513</c:v>
                </c:pt>
                <c:pt idx="1368">
                  <c:v>38516</c:v>
                </c:pt>
                <c:pt idx="1369">
                  <c:v>38517</c:v>
                </c:pt>
                <c:pt idx="1370">
                  <c:v>38518</c:v>
                </c:pt>
                <c:pt idx="1371">
                  <c:v>38519</c:v>
                </c:pt>
                <c:pt idx="1372">
                  <c:v>38520</c:v>
                </c:pt>
                <c:pt idx="1373">
                  <c:v>38523</c:v>
                </c:pt>
                <c:pt idx="1374">
                  <c:v>38524</c:v>
                </c:pt>
                <c:pt idx="1375">
                  <c:v>38525</c:v>
                </c:pt>
                <c:pt idx="1376">
                  <c:v>38526</c:v>
                </c:pt>
                <c:pt idx="1377">
                  <c:v>38527</c:v>
                </c:pt>
                <c:pt idx="1378">
                  <c:v>38530</c:v>
                </c:pt>
                <c:pt idx="1379">
                  <c:v>38531</c:v>
                </c:pt>
                <c:pt idx="1380">
                  <c:v>38532</c:v>
                </c:pt>
                <c:pt idx="1381">
                  <c:v>38533</c:v>
                </c:pt>
                <c:pt idx="1382">
                  <c:v>38534</c:v>
                </c:pt>
                <c:pt idx="1383">
                  <c:v>38537</c:v>
                </c:pt>
                <c:pt idx="1384">
                  <c:v>38538</c:v>
                </c:pt>
                <c:pt idx="1385">
                  <c:v>38539</c:v>
                </c:pt>
                <c:pt idx="1386">
                  <c:v>38540</c:v>
                </c:pt>
                <c:pt idx="1387">
                  <c:v>38541</c:v>
                </c:pt>
                <c:pt idx="1388">
                  <c:v>38544</c:v>
                </c:pt>
                <c:pt idx="1389">
                  <c:v>38545</c:v>
                </c:pt>
                <c:pt idx="1390">
                  <c:v>38546</c:v>
                </c:pt>
                <c:pt idx="1391">
                  <c:v>38547</c:v>
                </c:pt>
                <c:pt idx="1392">
                  <c:v>38548</c:v>
                </c:pt>
                <c:pt idx="1393">
                  <c:v>38551</c:v>
                </c:pt>
                <c:pt idx="1394">
                  <c:v>38552</c:v>
                </c:pt>
                <c:pt idx="1395">
                  <c:v>38553</c:v>
                </c:pt>
                <c:pt idx="1396">
                  <c:v>38554</c:v>
                </c:pt>
                <c:pt idx="1397">
                  <c:v>38555</c:v>
                </c:pt>
                <c:pt idx="1398">
                  <c:v>38558</c:v>
                </c:pt>
                <c:pt idx="1399">
                  <c:v>38559</c:v>
                </c:pt>
                <c:pt idx="1400">
                  <c:v>38560</c:v>
                </c:pt>
                <c:pt idx="1401">
                  <c:v>38561</c:v>
                </c:pt>
                <c:pt idx="1402">
                  <c:v>38562</c:v>
                </c:pt>
                <c:pt idx="1403">
                  <c:v>38565</c:v>
                </c:pt>
                <c:pt idx="1404">
                  <c:v>38566</c:v>
                </c:pt>
                <c:pt idx="1405">
                  <c:v>38567</c:v>
                </c:pt>
                <c:pt idx="1406">
                  <c:v>38568</c:v>
                </c:pt>
                <c:pt idx="1407">
                  <c:v>38569</c:v>
                </c:pt>
                <c:pt idx="1408">
                  <c:v>38572</c:v>
                </c:pt>
                <c:pt idx="1409">
                  <c:v>38573</c:v>
                </c:pt>
                <c:pt idx="1410">
                  <c:v>38574</c:v>
                </c:pt>
                <c:pt idx="1411">
                  <c:v>38575</c:v>
                </c:pt>
                <c:pt idx="1412">
                  <c:v>38576</c:v>
                </c:pt>
                <c:pt idx="1413">
                  <c:v>38579</c:v>
                </c:pt>
                <c:pt idx="1414">
                  <c:v>38580</c:v>
                </c:pt>
                <c:pt idx="1415">
                  <c:v>38581</c:v>
                </c:pt>
                <c:pt idx="1416">
                  <c:v>38582</c:v>
                </c:pt>
                <c:pt idx="1417">
                  <c:v>38583</c:v>
                </c:pt>
                <c:pt idx="1418">
                  <c:v>38586</c:v>
                </c:pt>
                <c:pt idx="1419">
                  <c:v>38587</c:v>
                </c:pt>
                <c:pt idx="1420">
                  <c:v>38588</c:v>
                </c:pt>
                <c:pt idx="1421">
                  <c:v>38589</c:v>
                </c:pt>
                <c:pt idx="1422">
                  <c:v>38590</c:v>
                </c:pt>
                <c:pt idx="1423">
                  <c:v>38593</c:v>
                </c:pt>
                <c:pt idx="1424">
                  <c:v>38594</c:v>
                </c:pt>
                <c:pt idx="1425">
                  <c:v>38595</c:v>
                </c:pt>
                <c:pt idx="1426">
                  <c:v>38596</c:v>
                </c:pt>
                <c:pt idx="1427">
                  <c:v>38597</c:v>
                </c:pt>
                <c:pt idx="1428">
                  <c:v>38600</c:v>
                </c:pt>
                <c:pt idx="1429">
                  <c:v>38601</c:v>
                </c:pt>
                <c:pt idx="1430">
                  <c:v>38603</c:v>
                </c:pt>
                <c:pt idx="1431">
                  <c:v>38604</c:v>
                </c:pt>
                <c:pt idx="1432">
                  <c:v>38607</c:v>
                </c:pt>
                <c:pt idx="1433">
                  <c:v>38608</c:v>
                </c:pt>
                <c:pt idx="1434">
                  <c:v>38609</c:v>
                </c:pt>
                <c:pt idx="1435">
                  <c:v>38610</c:v>
                </c:pt>
                <c:pt idx="1436">
                  <c:v>38611</c:v>
                </c:pt>
                <c:pt idx="1437">
                  <c:v>38614</c:v>
                </c:pt>
                <c:pt idx="1438">
                  <c:v>38615</c:v>
                </c:pt>
                <c:pt idx="1439">
                  <c:v>38616</c:v>
                </c:pt>
                <c:pt idx="1440">
                  <c:v>38617</c:v>
                </c:pt>
                <c:pt idx="1441">
                  <c:v>38618</c:v>
                </c:pt>
                <c:pt idx="1442">
                  <c:v>38621</c:v>
                </c:pt>
                <c:pt idx="1443">
                  <c:v>38622</c:v>
                </c:pt>
                <c:pt idx="1444">
                  <c:v>38623</c:v>
                </c:pt>
                <c:pt idx="1445">
                  <c:v>38624</c:v>
                </c:pt>
                <c:pt idx="1446">
                  <c:v>38625</c:v>
                </c:pt>
                <c:pt idx="1447">
                  <c:v>38628</c:v>
                </c:pt>
                <c:pt idx="1448">
                  <c:v>38629</c:v>
                </c:pt>
                <c:pt idx="1449">
                  <c:v>38630</c:v>
                </c:pt>
                <c:pt idx="1450">
                  <c:v>38631</c:v>
                </c:pt>
                <c:pt idx="1451">
                  <c:v>38632</c:v>
                </c:pt>
                <c:pt idx="1452">
                  <c:v>38635</c:v>
                </c:pt>
                <c:pt idx="1453">
                  <c:v>38636</c:v>
                </c:pt>
                <c:pt idx="1454">
                  <c:v>38638</c:v>
                </c:pt>
                <c:pt idx="1455">
                  <c:v>38639</c:v>
                </c:pt>
                <c:pt idx="1456">
                  <c:v>38642</c:v>
                </c:pt>
                <c:pt idx="1457">
                  <c:v>38643</c:v>
                </c:pt>
                <c:pt idx="1458">
                  <c:v>38644</c:v>
                </c:pt>
                <c:pt idx="1459">
                  <c:v>38645</c:v>
                </c:pt>
                <c:pt idx="1460">
                  <c:v>38646</c:v>
                </c:pt>
                <c:pt idx="1461">
                  <c:v>38649</c:v>
                </c:pt>
                <c:pt idx="1462">
                  <c:v>38650</c:v>
                </c:pt>
                <c:pt idx="1463">
                  <c:v>38651</c:v>
                </c:pt>
                <c:pt idx="1464">
                  <c:v>38652</c:v>
                </c:pt>
                <c:pt idx="1465">
                  <c:v>38653</c:v>
                </c:pt>
                <c:pt idx="1466">
                  <c:v>38656</c:v>
                </c:pt>
                <c:pt idx="1467">
                  <c:v>38657</c:v>
                </c:pt>
                <c:pt idx="1468">
                  <c:v>38659</c:v>
                </c:pt>
                <c:pt idx="1469">
                  <c:v>38660</c:v>
                </c:pt>
                <c:pt idx="1470">
                  <c:v>38663</c:v>
                </c:pt>
                <c:pt idx="1471">
                  <c:v>38664</c:v>
                </c:pt>
                <c:pt idx="1472">
                  <c:v>38665</c:v>
                </c:pt>
                <c:pt idx="1473">
                  <c:v>38666</c:v>
                </c:pt>
                <c:pt idx="1474">
                  <c:v>38667</c:v>
                </c:pt>
                <c:pt idx="1475">
                  <c:v>38670</c:v>
                </c:pt>
                <c:pt idx="1476">
                  <c:v>38672</c:v>
                </c:pt>
                <c:pt idx="1477">
                  <c:v>38673</c:v>
                </c:pt>
                <c:pt idx="1478">
                  <c:v>38674</c:v>
                </c:pt>
                <c:pt idx="1479">
                  <c:v>38677</c:v>
                </c:pt>
                <c:pt idx="1480">
                  <c:v>38678</c:v>
                </c:pt>
                <c:pt idx="1481">
                  <c:v>38679</c:v>
                </c:pt>
                <c:pt idx="1482">
                  <c:v>38680</c:v>
                </c:pt>
                <c:pt idx="1483">
                  <c:v>38681</c:v>
                </c:pt>
                <c:pt idx="1484">
                  <c:v>38684</c:v>
                </c:pt>
                <c:pt idx="1485">
                  <c:v>38685</c:v>
                </c:pt>
                <c:pt idx="1486">
                  <c:v>38686</c:v>
                </c:pt>
                <c:pt idx="1487">
                  <c:v>38687</c:v>
                </c:pt>
                <c:pt idx="1488">
                  <c:v>38688</c:v>
                </c:pt>
                <c:pt idx="1489">
                  <c:v>38691</c:v>
                </c:pt>
                <c:pt idx="1490">
                  <c:v>38692</c:v>
                </c:pt>
                <c:pt idx="1491">
                  <c:v>38693</c:v>
                </c:pt>
                <c:pt idx="1492">
                  <c:v>38694</c:v>
                </c:pt>
                <c:pt idx="1493">
                  <c:v>38695</c:v>
                </c:pt>
                <c:pt idx="1494">
                  <c:v>38698</c:v>
                </c:pt>
                <c:pt idx="1495">
                  <c:v>38699</c:v>
                </c:pt>
                <c:pt idx="1496">
                  <c:v>38700</c:v>
                </c:pt>
                <c:pt idx="1497">
                  <c:v>38701</c:v>
                </c:pt>
                <c:pt idx="1498">
                  <c:v>38702</c:v>
                </c:pt>
                <c:pt idx="1499">
                  <c:v>38705</c:v>
                </c:pt>
                <c:pt idx="1500">
                  <c:v>38706</c:v>
                </c:pt>
                <c:pt idx="1501">
                  <c:v>38707</c:v>
                </c:pt>
                <c:pt idx="1502">
                  <c:v>38708</c:v>
                </c:pt>
                <c:pt idx="1503">
                  <c:v>38709</c:v>
                </c:pt>
                <c:pt idx="1504">
                  <c:v>38712</c:v>
                </c:pt>
                <c:pt idx="1505">
                  <c:v>38713</c:v>
                </c:pt>
                <c:pt idx="1506">
                  <c:v>38714</c:v>
                </c:pt>
                <c:pt idx="1507">
                  <c:v>38715</c:v>
                </c:pt>
                <c:pt idx="1508">
                  <c:v>38716</c:v>
                </c:pt>
                <c:pt idx="1509">
                  <c:v>38719</c:v>
                </c:pt>
                <c:pt idx="1510">
                  <c:v>38720</c:v>
                </c:pt>
                <c:pt idx="1511">
                  <c:v>38721</c:v>
                </c:pt>
                <c:pt idx="1512">
                  <c:v>38722</c:v>
                </c:pt>
                <c:pt idx="1513">
                  <c:v>38723</c:v>
                </c:pt>
                <c:pt idx="1514">
                  <c:v>38726</c:v>
                </c:pt>
                <c:pt idx="1515">
                  <c:v>38727</c:v>
                </c:pt>
                <c:pt idx="1516">
                  <c:v>38728</c:v>
                </c:pt>
                <c:pt idx="1517">
                  <c:v>38729</c:v>
                </c:pt>
                <c:pt idx="1518">
                  <c:v>38730</c:v>
                </c:pt>
                <c:pt idx="1519">
                  <c:v>38733</c:v>
                </c:pt>
                <c:pt idx="1520">
                  <c:v>38734</c:v>
                </c:pt>
                <c:pt idx="1521">
                  <c:v>38735</c:v>
                </c:pt>
                <c:pt idx="1522">
                  <c:v>38736</c:v>
                </c:pt>
                <c:pt idx="1523">
                  <c:v>38737</c:v>
                </c:pt>
                <c:pt idx="1524">
                  <c:v>38740</c:v>
                </c:pt>
                <c:pt idx="1525">
                  <c:v>38741</c:v>
                </c:pt>
                <c:pt idx="1526">
                  <c:v>38742</c:v>
                </c:pt>
                <c:pt idx="1527">
                  <c:v>38743</c:v>
                </c:pt>
                <c:pt idx="1528">
                  <c:v>38744</c:v>
                </c:pt>
                <c:pt idx="1529">
                  <c:v>38747</c:v>
                </c:pt>
                <c:pt idx="1530">
                  <c:v>38748</c:v>
                </c:pt>
                <c:pt idx="1531">
                  <c:v>38749</c:v>
                </c:pt>
                <c:pt idx="1532">
                  <c:v>38750</c:v>
                </c:pt>
                <c:pt idx="1533">
                  <c:v>38751</c:v>
                </c:pt>
                <c:pt idx="1534">
                  <c:v>38754</c:v>
                </c:pt>
                <c:pt idx="1535">
                  <c:v>38755</c:v>
                </c:pt>
                <c:pt idx="1536">
                  <c:v>38756</c:v>
                </c:pt>
                <c:pt idx="1537">
                  <c:v>38757</c:v>
                </c:pt>
                <c:pt idx="1538">
                  <c:v>38758</c:v>
                </c:pt>
                <c:pt idx="1539">
                  <c:v>38761</c:v>
                </c:pt>
                <c:pt idx="1540">
                  <c:v>38762</c:v>
                </c:pt>
                <c:pt idx="1541">
                  <c:v>38763</c:v>
                </c:pt>
                <c:pt idx="1542">
                  <c:v>38764</c:v>
                </c:pt>
                <c:pt idx="1543">
                  <c:v>38765</c:v>
                </c:pt>
                <c:pt idx="1544">
                  <c:v>38768</c:v>
                </c:pt>
                <c:pt idx="1545">
                  <c:v>38769</c:v>
                </c:pt>
                <c:pt idx="1546">
                  <c:v>38770</c:v>
                </c:pt>
                <c:pt idx="1547">
                  <c:v>38771</c:v>
                </c:pt>
                <c:pt idx="1548">
                  <c:v>38772</c:v>
                </c:pt>
                <c:pt idx="1549">
                  <c:v>38777</c:v>
                </c:pt>
                <c:pt idx="1550">
                  <c:v>38778</c:v>
                </c:pt>
                <c:pt idx="1551">
                  <c:v>38779</c:v>
                </c:pt>
                <c:pt idx="1552">
                  <c:v>38782</c:v>
                </c:pt>
                <c:pt idx="1553">
                  <c:v>38783</c:v>
                </c:pt>
                <c:pt idx="1554">
                  <c:v>38784</c:v>
                </c:pt>
                <c:pt idx="1555">
                  <c:v>38785</c:v>
                </c:pt>
                <c:pt idx="1556">
                  <c:v>38786</c:v>
                </c:pt>
                <c:pt idx="1557">
                  <c:v>38789</c:v>
                </c:pt>
                <c:pt idx="1558">
                  <c:v>38790</c:v>
                </c:pt>
                <c:pt idx="1559">
                  <c:v>38791</c:v>
                </c:pt>
                <c:pt idx="1560">
                  <c:v>38792</c:v>
                </c:pt>
                <c:pt idx="1561">
                  <c:v>38793</c:v>
                </c:pt>
                <c:pt idx="1562">
                  <c:v>38796</c:v>
                </c:pt>
                <c:pt idx="1563">
                  <c:v>38797</c:v>
                </c:pt>
                <c:pt idx="1564">
                  <c:v>38798</c:v>
                </c:pt>
                <c:pt idx="1565">
                  <c:v>38799</c:v>
                </c:pt>
                <c:pt idx="1566">
                  <c:v>38800</c:v>
                </c:pt>
                <c:pt idx="1567">
                  <c:v>38803</c:v>
                </c:pt>
                <c:pt idx="1568">
                  <c:v>38804</c:v>
                </c:pt>
                <c:pt idx="1569">
                  <c:v>38805</c:v>
                </c:pt>
                <c:pt idx="1570">
                  <c:v>38806</c:v>
                </c:pt>
                <c:pt idx="1571">
                  <c:v>38807</c:v>
                </c:pt>
                <c:pt idx="1572">
                  <c:v>38810</c:v>
                </c:pt>
                <c:pt idx="1573">
                  <c:v>38811</c:v>
                </c:pt>
                <c:pt idx="1574">
                  <c:v>38812</c:v>
                </c:pt>
                <c:pt idx="1575">
                  <c:v>38813</c:v>
                </c:pt>
                <c:pt idx="1576">
                  <c:v>38814</c:v>
                </c:pt>
                <c:pt idx="1577">
                  <c:v>38817</c:v>
                </c:pt>
                <c:pt idx="1578">
                  <c:v>38818</c:v>
                </c:pt>
                <c:pt idx="1579">
                  <c:v>38819</c:v>
                </c:pt>
                <c:pt idx="1580">
                  <c:v>38820</c:v>
                </c:pt>
                <c:pt idx="1581">
                  <c:v>38824</c:v>
                </c:pt>
                <c:pt idx="1582">
                  <c:v>38825</c:v>
                </c:pt>
                <c:pt idx="1583">
                  <c:v>38826</c:v>
                </c:pt>
                <c:pt idx="1584">
                  <c:v>38827</c:v>
                </c:pt>
                <c:pt idx="1585">
                  <c:v>38831</c:v>
                </c:pt>
                <c:pt idx="1586">
                  <c:v>38832</c:v>
                </c:pt>
                <c:pt idx="1587">
                  <c:v>38833</c:v>
                </c:pt>
                <c:pt idx="1588">
                  <c:v>38834</c:v>
                </c:pt>
                <c:pt idx="1589">
                  <c:v>38835</c:v>
                </c:pt>
                <c:pt idx="1590">
                  <c:v>38839</c:v>
                </c:pt>
                <c:pt idx="1591">
                  <c:v>38840</c:v>
                </c:pt>
                <c:pt idx="1592">
                  <c:v>38841</c:v>
                </c:pt>
                <c:pt idx="1593">
                  <c:v>38842</c:v>
                </c:pt>
                <c:pt idx="1594">
                  <c:v>38845</c:v>
                </c:pt>
                <c:pt idx="1595">
                  <c:v>38846</c:v>
                </c:pt>
                <c:pt idx="1596">
                  <c:v>38847</c:v>
                </c:pt>
                <c:pt idx="1597">
                  <c:v>38848</c:v>
                </c:pt>
                <c:pt idx="1598">
                  <c:v>38849</c:v>
                </c:pt>
                <c:pt idx="1599">
                  <c:v>38852</c:v>
                </c:pt>
                <c:pt idx="1600">
                  <c:v>38853</c:v>
                </c:pt>
                <c:pt idx="1601">
                  <c:v>38854</c:v>
                </c:pt>
                <c:pt idx="1602">
                  <c:v>38855</c:v>
                </c:pt>
                <c:pt idx="1603">
                  <c:v>38856</c:v>
                </c:pt>
                <c:pt idx="1604">
                  <c:v>38859</c:v>
                </c:pt>
                <c:pt idx="1605">
                  <c:v>38860</c:v>
                </c:pt>
                <c:pt idx="1606">
                  <c:v>38861</c:v>
                </c:pt>
                <c:pt idx="1607">
                  <c:v>38862</c:v>
                </c:pt>
                <c:pt idx="1608">
                  <c:v>38863</c:v>
                </c:pt>
                <c:pt idx="1609">
                  <c:v>38866</c:v>
                </c:pt>
                <c:pt idx="1610">
                  <c:v>38867</c:v>
                </c:pt>
                <c:pt idx="1611">
                  <c:v>38868</c:v>
                </c:pt>
                <c:pt idx="1612">
                  <c:v>38869</c:v>
                </c:pt>
                <c:pt idx="1613">
                  <c:v>38870</c:v>
                </c:pt>
                <c:pt idx="1614">
                  <c:v>38873</c:v>
                </c:pt>
                <c:pt idx="1615">
                  <c:v>38874</c:v>
                </c:pt>
                <c:pt idx="1616">
                  <c:v>38875</c:v>
                </c:pt>
                <c:pt idx="1617">
                  <c:v>38876</c:v>
                </c:pt>
                <c:pt idx="1618">
                  <c:v>38877</c:v>
                </c:pt>
                <c:pt idx="1619">
                  <c:v>38880</c:v>
                </c:pt>
                <c:pt idx="1620">
                  <c:v>38881</c:v>
                </c:pt>
                <c:pt idx="1621">
                  <c:v>38882</c:v>
                </c:pt>
                <c:pt idx="1622">
                  <c:v>38884</c:v>
                </c:pt>
                <c:pt idx="1623">
                  <c:v>38887</c:v>
                </c:pt>
                <c:pt idx="1624">
                  <c:v>38888</c:v>
                </c:pt>
                <c:pt idx="1625">
                  <c:v>38889</c:v>
                </c:pt>
                <c:pt idx="1626">
                  <c:v>38890</c:v>
                </c:pt>
                <c:pt idx="1627">
                  <c:v>38891</c:v>
                </c:pt>
                <c:pt idx="1628">
                  <c:v>38894</c:v>
                </c:pt>
                <c:pt idx="1629">
                  <c:v>38895</c:v>
                </c:pt>
                <c:pt idx="1630">
                  <c:v>38896</c:v>
                </c:pt>
                <c:pt idx="1631">
                  <c:v>38897</c:v>
                </c:pt>
                <c:pt idx="1632">
                  <c:v>38898</c:v>
                </c:pt>
                <c:pt idx="1633">
                  <c:v>38901</c:v>
                </c:pt>
                <c:pt idx="1634">
                  <c:v>38902</c:v>
                </c:pt>
                <c:pt idx="1635">
                  <c:v>38903</c:v>
                </c:pt>
                <c:pt idx="1636">
                  <c:v>38904</c:v>
                </c:pt>
                <c:pt idx="1637">
                  <c:v>38905</c:v>
                </c:pt>
                <c:pt idx="1638">
                  <c:v>38908</c:v>
                </c:pt>
                <c:pt idx="1639">
                  <c:v>38909</c:v>
                </c:pt>
                <c:pt idx="1640">
                  <c:v>38910</c:v>
                </c:pt>
                <c:pt idx="1641">
                  <c:v>38911</c:v>
                </c:pt>
                <c:pt idx="1642">
                  <c:v>38912</c:v>
                </c:pt>
                <c:pt idx="1643">
                  <c:v>38915</c:v>
                </c:pt>
                <c:pt idx="1644">
                  <c:v>38916</c:v>
                </c:pt>
                <c:pt idx="1645">
                  <c:v>38917</c:v>
                </c:pt>
                <c:pt idx="1646">
                  <c:v>38918</c:v>
                </c:pt>
                <c:pt idx="1647">
                  <c:v>38919</c:v>
                </c:pt>
                <c:pt idx="1648">
                  <c:v>38922</c:v>
                </c:pt>
                <c:pt idx="1649">
                  <c:v>38923</c:v>
                </c:pt>
                <c:pt idx="1650">
                  <c:v>38924</c:v>
                </c:pt>
                <c:pt idx="1651">
                  <c:v>38925</c:v>
                </c:pt>
                <c:pt idx="1652">
                  <c:v>38926</c:v>
                </c:pt>
                <c:pt idx="1653">
                  <c:v>38929</c:v>
                </c:pt>
                <c:pt idx="1654">
                  <c:v>38930</c:v>
                </c:pt>
                <c:pt idx="1655">
                  <c:v>38931</c:v>
                </c:pt>
                <c:pt idx="1656">
                  <c:v>38932</c:v>
                </c:pt>
                <c:pt idx="1657">
                  <c:v>38933</c:v>
                </c:pt>
                <c:pt idx="1658">
                  <c:v>38936</c:v>
                </c:pt>
                <c:pt idx="1659">
                  <c:v>38937</c:v>
                </c:pt>
                <c:pt idx="1660">
                  <c:v>38938</c:v>
                </c:pt>
                <c:pt idx="1661">
                  <c:v>38939</c:v>
                </c:pt>
                <c:pt idx="1662">
                  <c:v>38940</c:v>
                </c:pt>
                <c:pt idx="1663">
                  <c:v>38943</c:v>
                </c:pt>
                <c:pt idx="1664">
                  <c:v>38944</c:v>
                </c:pt>
                <c:pt idx="1665">
                  <c:v>38945</c:v>
                </c:pt>
                <c:pt idx="1666">
                  <c:v>38946</c:v>
                </c:pt>
                <c:pt idx="1667">
                  <c:v>38947</c:v>
                </c:pt>
                <c:pt idx="1668">
                  <c:v>38950</c:v>
                </c:pt>
                <c:pt idx="1669">
                  <c:v>38951</c:v>
                </c:pt>
                <c:pt idx="1670">
                  <c:v>38952</c:v>
                </c:pt>
                <c:pt idx="1671">
                  <c:v>38953</c:v>
                </c:pt>
                <c:pt idx="1672">
                  <c:v>38954</c:v>
                </c:pt>
                <c:pt idx="1673">
                  <c:v>38957</c:v>
                </c:pt>
                <c:pt idx="1674">
                  <c:v>38958</c:v>
                </c:pt>
                <c:pt idx="1675">
                  <c:v>38959</c:v>
                </c:pt>
                <c:pt idx="1676">
                  <c:v>38960</c:v>
                </c:pt>
                <c:pt idx="1677">
                  <c:v>38961</c:v>
                </c:pt>
                <c:pt idx="1678">
                  <c:v>38964</c:v>
                </c:pt>
                <c:pt idx="1679">
                  <c:v>38965</c:v>
                </c:pt>
                <c:pt idx="1680">
                  <c:v>38966</c:v>
                </c:pt>
                <c:pt idx="1681">
                  <c:v>38968</c:v>
                </c:pt>
                <c:pt idx="1682">
                  <c:v>38971</c:v>
                </c:pt>
                <c:pt idx="1683">
                  <c:v>38972</c:v>
                </c:pt>
                <c:pt idx="1684">
                  <c:v>38973</c:v>
                </c:pt>
                <c:pt idx="1685">
                  <c:v>38974</c:v>
                </c:pt>
                <c:pt idx="1686">
                  <c:v>38975</c:v>
                </c:pt>
                <c:pt idx="1687">
                  <c:v>38978</c:v>
                </c:pt>
                <c:pt idx="1688">
                  <c:v>38979</c:v>
                </c:pt>
                <c:pt idx="1689">
                  <c:v>38980</c:v>
                </c:pt>
                <c:pt idx="1690">
                  <c:v>38981</c:v>
                </c:pt>
                <c:pt idx="1691">
                  <c:v>38982</c:v>
                </c:pt>
                <c:pt idx="1692">
                  <c:v>38985</c:v>
                </c:pt>
                <c:pt idx="1693">
                  <c:v>38986</c:v>
                </c:pt>
                <c:pt idx="1694">
                  <c:v>38987</c:v>
                </c:pt>
                <c:pt idx="1695">
                  <c:v>38988</c:v>
                </c:pt>
                <c:pt idx="1696">
                  <c:v>38989</c:v>
                </c:pt>
                <c:pt idx="1697">
                  <c:v>38992</c:v>
                </c:pt>
                <c:pt idx="1698">
                  <c:v>38993</c:v>
                </c:pt>
                <c:pt idx="1699">
                  <c:v>38994</c:v>
                </c:pt>
                <c:pt idx="1700">
                  <c:v>38995</c:v>
                </c:pt>
                <c:pt idx="1701">
                  <c:v>38996</c:v>
                </c:pt>
                <c:pt idx="1702">
                  <c:v>38999</c:v>
                </c:pt>
                <c:pt idx="1703">
                  <c:v>39000</c:v>
                </c:pt>
                <c:pt idx="1704">
                  <c:v>39001</c:v>
                </c:pt>
                <c:pt idx="1705">
                  <c:v>39003</c:v>
                </c:pt>
                <c:pt idx="1706">
                  <c:v>39006</c:v>
                </c:pt>
                <c:pt idx="1707">
                  <c:v>39007</c:v>
                </c:pt>
                <c:pt idx="1708">
                  <c:v>39008</c:v>
                </c:pt>
                <c:pt idx="1709">
                  <c:v>39009</c:v>
                </c:pt>
                <c:pt idx="1710">
                  <c:v>39010</c:v>
                </c:pt>
                <c:pt idx="1711">
                  <c:v>39013</c:v>
                </c:pt>
                <c:pt idx="1712">
                  <c:v>39014</c:v>
                </c:pt>
                <c:pt idx="1713">
                  <c:v>39015</c:v>
                </c:pt>
                <c:pt idx="1714">
                  <c:v>39016</c:v>
                </c:pt>
                <c:pt idx="1715">
                  <c:v>39017</c:v>
                </c:pt>
                <c:pt idx="1716">
                  <c:v>39020</c:v>
                </c:pt>
                <c:pt idx="1717">
                  <c:v>39021</c:v>
                </c:pt>
                <c:pt idx="1718">
                  <c:v>39022</c:v>
                </c:pt>
                <c:pt idx="1719">
                  <c:v>39024</c:v>
                </c:pt>
                <c:pt idx="1720">
                  <c:v>39027</c:v>
                </c:pt>
                <c:pt idx="1721">
                  <c:v>39028</c:v>
                </c:pt>
                <c:pt idx="1722">
                  <c:v>39029</c:v>
                </c:pt>
                <c:pt idx="1723">
                  <c:v>39030</c:v>
                </c:pt>
                <c:pt idx="1724">
                  <c:v>39031</c:v>
                </c:pt>
                <c:pt idx="1725">
                  <c:v>39034</c:v>
                </c:pt>
                <c:pt idx="1726">
                  <c:v>39035</c:v>
                </c:pt>
                <c:pt idx="1727">
                  <c:v>39037</c:v>
                </c:pt>
                <c:pt idx="1728">
                  <c:v>39038</c:v>
                </c:pt>
                <c:pt idx="1729">
                  <c:v>39041</c:v>
                </c:pt>
                <c:pt idx="1730">
                  <c:v>39042</c:v>
                </c:pt>
                <c:pt idx="1731">
                  <c:v>39043</c:v>
                </c:pt>
                <c:pt idx="1732">
                  <c:v>39044</c:v>
                </c:pt>
                <c:pt idx="1733">
                  <c:v>39045</c:v>
                </c:pt>
                <c:pt idx="1734">
                  <c:v>39048</c:v>
                </c:pt>
                <c:pt idx="1735">
                  <c:v>39049</c:v>
                </c:pt>
                <c:pt idx="1736">
                  <c:v>39050</c:v>
                </c:pt>
                <c:pt idx="1737">
                  <c:v>39051</c:v>
                </c:pt>
                <c:pt idx="1738">
                  <c:v>39052</c:v>
                </c:pt>
                <c:pt idx="1739">
                  <c:v>39055</c:v>
                </c:pt>
                <c:pt idx="1740">
                  <c:v>39056</c:v>
                </c:pt>
                <c:pt idx="1741">
                  <c:v>39057</c:v>
                </c:pt>
                <c:pt idx="1742">
                  <c:v>39058</c:v>
                </c:pt>
                <c:pt idx="1743">
                  <c:v>39059</c:v>
                </c:pt>
                <c:pt idx="1744">
                  <c:v>39062</c:v>
                </c:pt>
                <c:pt idx="1745">
                  <c:v>39063</c:v>
                </c:pt>
                <c:pt idx="1746">
                  <c:v>39064</c:v>
                </c:pt>
                <c:pt idx="1747">
                  <c:v>39065</c:v>
                </c:pt>
                <c:pt idx="1748">
                  <c:v>39066</c:v>
                </c:pt>
                <c:pt idx="1749">
                  <c:v>39069</c:v>
                </c:pt>
                <c:pt idx="1750">
                  <c:v>39070</c:v>
                </c:pt>
                <c:pt idx="1751">
                  <c:v>39071</c:v>
                </c:pt>
                <c:pt idx="1752">
                  <c:v>39072</c:v>
                </c:pt>
                <c:pt idx="1753">
                  <c:v>39073</c:v>
                </c:pt>
                <c:pt idx="1754">
                  <c:v>39077</c:v>
                </c:pt>
                <c:pt idx="1755">
                  <c:v>39078</c:v>
                </c:pt>
                <c:pt idx="1756">
                  <c:v>39079</c:v>
                </c:pt>
                <c:pt idx="1757">
                  <c:v>39080</c:v>
                </c:pt>
                <c:pt idx="1758">
                  <c:v>39084</c:v>
                </c:pt>
                <c:pt idx="1759">
                  <c:v>39085</c:v>
                </c:pt>
                <c:pt idx="1760">
                  <c:v>39086</c:v>
                </c:pt>
                <c:pt idx="1761">
                  <c:v>39087</c:v>
                </c:pt>
                <c:pt idx="1762">
                  <c:v>39090</c:v>
                </c:pt>
                <c:pt idx="1763">
                  <c:v>39091</c:v>
                </c:pt>
                <c:pt idx="1764">
                  <c:v>39092</c:v>
                </c:pt>
                <c:pt idx="1765">
                  <c:v>39093</c:v>
                </c:pt>
                <c:pt idx="1766">
                  <c:v>39094</c:v>
                </c:pt>
                <c:pt idx="1767">
                  <c:v>39097</c:v>
                </c:pt>
                <c:pt idx="1768">
                  <c:v>39098</c:v>
                </c:pt>
                <c:pt idx="1769">
                  <c:v>39099</c:v>
                </c:pt>
                <c:pt idx="1770">
                  <c:v>39100</c:v>
                </c:pt>
                <c:pt idx="1771">
                  <c:v>39101</c:v>
                </c:pt>
                <c:pt idx="1772">
                  <c:v>39104</c:v>
                </c:pt>
                <c:pt idx="1773">
                  <c:v>39105</c:v>
                </c:pt>
                <c:pt idx="1774">
                  <c:v>39106</c:v>
                </c:pt>
                <c:pt idx="1775">
                  <c:v>39107</c:v>
                </c:pt>
                <c:pt idx="1776">
                  <c:v>39108</c:v>
                </c:pt>
                <c:pt idx="1777">
                  <c:v>39111</c:v>
                </c:pt>
                <c:pt idx="1778">
                  <c:v>39112</c:v>
                </c:pt>
                <c:pt idx="1779">
                  <c:v>39113</c:v>
                </c:pt>
                <c:pt idx="1780">
                  <c:v>39114</c:v>
                </c:pt>
                <c:pt idx="1781">
                  <c:v>39115</c:v>
                </c:pt>
                <c:pt idx="1782">
                  <c:v>39118</c:v>
                </c:pt>
                <c:pt idx="1783">
                  <c:v>39119</c:v>
                </c:pt>
                <c:pt idx="1784">
                  <c:v>39120</c:v>
                </c:pt>
                <c:pt idx="1785">
                  <c:v>39121</c:v>
                </c:pt>
                <c:pt idx="1786">
                  <c:v>39122</c:v>
                </c:pt>
                <c:pt idx="1787">
                  <c:v>39125</c:v>
                </c:pt>
                <c:pt idx="1788">
                  <c:v>39126</c:v>
                </c:pt>
                <c:pt idx="1789">
                  <c:v>39127</c:v>
                </c:pt>
                <c:pt idx="1790">
                  <c:v>39128</c:v>
                </c:pt>
                <c:pt idx="1791">
                  <c:v>39129</c:v>
                </c:pt>
                <c:pt idx="1792">
                  <c:v>39134</c:v>
                </c:pt>
                <c:pt idx="1793">
                  <c:v>39135</c:v>
                </c:pt>
                <c:pt idx="1794">
                  <c:v>39136</c:v>
                </c:pt>
                <c:pt idx="1795">
                  <c:v>39139</c:v>
                </c:pt>
                <c:pt idx="1796">
                  <c:v>39140</c:v>
                </c:pt>
                <c:pt idx="1797">
                  <c:v>39141</c:v>
                </c:pt>
                <c:pt idx="1798">
                  <c:v>39142</c:v>
                </c:pt>
                <c:pt idx="1799">
                  <c:v>39143</c:v>
                </c:pt>
                <c:pt idx="1800">
                  <c:v>39146</c:v>
                </c:pt>
                <c:pt idx="1801">
                  <c:v>39147</c:v>
                </c:pt>
                <c:pt idx="1802">
                  <c:v>39148</c:v>
                </c:pt>
                <c:pt idx="1803">
                  <c:v>39149</c:v>
                </c:pt>
                <c:pt idx="1804">
                  <c:v>39150</c:v>
                </c:pt>
                <c:pt idx="1805">
                  <c:v>39153</c:v>
                </c:pt>
                <c:pt idx="1806">
                  <c:v>39154</c:v>
                </c:pt>
                <c:pt idx="1807">
                  <c:v>39155</c:v>
                </c:pt>
                <c:pt idx="1808">
                  <c:v>39156</c:v>
                </c:pt>
                <c:pt idx="1809">
                  <c:v>39157</c:v>
                </c:pt>
                <c:pt idx="1810">
                  <c:v>39160</c:v>
                </c:pt>
                <c:pt idx="1811">
                  <c:v>39161</c:v>
                </c:pt>
                <c:pt idx="1812">
                  <c:v>39162</c:v>
                </c:pt>
                <c:pt idx="1813">
                  <c:v>39163</c:v>
                </c:pt>
                <c:pt idx="1814">
                  <c:v>39164</c:v>
                </c:pt>
                <c:pt idx="1815">
                  <c:v>39167</c:v>
                </c:pt>
                <c:pt idx="1816">
                  <c:v>39168</c:v>
                </c:pt>
                <c:pt idx="1817">
                  <c:v>39169</c:v>
                </c:pt>
                <c:pt idx="1818">
                  <c:v>39170</c:v>
                </c:pt>
                <c:pt idx="1819">
                  <c:v>39171</c:v>
                </c:pt>
                <c:pt idx="1820">
                  <c:v>39174</c:v>
                </c:pt>
                <c:pt idx="1821">
                  <c:v>39175</c:v>
                </c:pt>
                <c:pt idx="1822">
                  <c:v>39176</c:v>
                </c:pt>
                <c:pt idx="1823">
                  <c:v>39177</c:v>
                </c:pt>
                <c:pt idx="1824">
                  <c:v>39181</c:v>
                </c:pt>
                <c:pt idx="1825">
                  <c:v>39182</c:v>
                </c:pt>
                <c:pt idx="1826">
                  <c:v>39183</c:v>
                </c:pt>
                <c:pt idx="1827">
                  <c:v>39184</c:v>
                </c:pt>
                <c:pt idx="1828">
                  <c:v>39185</c:v>
                </c:pt>
                <c:pt idx="1829">
                  <c:v>39188</c:v>
                </c:pt>
                <c:pt idx="1830">
                  <c:v>39189</c:v>
                </c:pt>
                <c:pt idx="1831">
                  <c:v>39190</c:v>
                </c:pt>
                <c:pt idx="1832">
                  <c:v>39191</c:v>
                </c:pt>
                <c:pt idx="1833">
                  <c:v>39192</c:v>
                </c:pt>
                <c:pt idx="1834">
                  <c:v>39195</c:v>
                </c:pt>
                <c:pt idx="1835">
                  <c:v>39196</c:v>
                </c:pt>
                <c:pt idx="1836">
                  <c:v>39197</c:v>
                </c:pt>
                <c:pt idx="1837">
                  <c:v>39198</c:v>
                </c:pt>
                <c:pt idx="1838">
                  <c:v>39199</c:v>
                </c:pt>
                <c:pt idx="1839">
                  <c:v>39202</c:v>
                </c:pt>
                <c:pt idx="1840">
                  <c:v>39204</c:v>
                </c:pt>
                <c:pt idx="1841">
                  <c:v>39205</c:v>
                </c:pt>
                <c:pt idx="1842">
                  <c:v>39206</c:v>
                </c:pt>
                <c:pt idx="1843">
                  <c:v>39209</c:v>
                </c:pt>
                <c:pt idx="1844">
                  <c:v>39210</c:v>
                </c:pt>
                <c:pt idx="1845">
                  <c:v>39211</c:v>
                </c:pt>
                <c:pt idx="1846">
                  <c:v>39212</c:v>
                </c:pt>
                <c:pt idx="1847">
                  <c:v>39213</c:v>
                </c:pt>
                <c:pt idx="1848">
                  <c:v>39216</c:v>
                </c:pt>
                <c:pt idx="1849">
                  <c:v>39217</c:v>
                </c:pt>
                <c:pt idx="1850">
                  <c:v>39218</c:v>
                </c:pt>
                <c:pt idx="1851">
                  <c:v>39219</c:v>
                </c:pt>
                <c:pt idx="1852">
                  <c:v>39220</c:v>
                </c:pt>
                <c:pt idx="1853">
                  <c:v>39223</c:v>
                </c:pt>
                <c:pt idx="1854">
                  <c:v>39224</c:v>
                </c:pt>
                <c:pt idx="1855">
                  <c:v>39225</c:v>
                </c:pt>
                <c:pt idx="1856">
                  <c:v>39226</c:v>
                </c:pt>
                <c:pt idx="1857">
                  <c:v>39227</c:v>
                </c:pt>
                <c:pt idx="1858">
                  <c:v>39230</c:v>
                </c:pt>
                <c:pt idx="1859">
                  <c:v>39231</c:v>
                </c:pt>
                <c:pt idx="1860">
                  <c:v>39232</c:v>
                </c:pt>
                <c:pt idx="1861">
                  <c:v>39233</c:v>
                </c:pt>
                <c:pt idx="1862">
                  <c:v>39234</c:v>
                </c:pt>
                <c:pt idx="1863">
                  <c:v>39237</c:v>
                </c:pt>
                <c:pt idx="1864">
                  <c:v>39238</c:v>
                </c:pt>
                <c:pt idx="1865">
                  <c:v>39239</c:v>
                </c:pt>
                <c:pt idx="1866">
                  <c:v>39241</c:v>
                </c:pt>
                <c:pt idx="1867">
                  <c:v>39244</c:v>
                </c:pt>
                <c:pt idx="1868">
                  <c:v>39245</c:v>
                </c:pt>
                <c:pt idx="1869">
                  <c:v>39246</c:v>
                </c:pt>
                <c:pt idx="1870">
                  <c:v>39247</c:v>
                </c:pt>
                <c:pt idx="1871">
                  <c:v>39248</c:v>
                </c:pt>
                <c:pt idx="1872">
                  <c:v>39251</c:v>
                </c:pt>
                <c:pt idx="1873">
                  <c:v>39252</c:v>
                </c:pt>
                <c:pt idx="1874">
                  <c:v>39253</c:v>
                </c:pt>
                <c:pt idx="1875">
                  <c:v>39254</c:v>
                </c:pt>
                <c:pt idx="1876">
                  <c:v>39255</c:v>
                </c:pt>
                <c:pt idx="1877">
                  <c:v>39258</c:v>
                </c:pt>
                <c:pt idx="1878">
                  <c:v>39259</c:v>
                </c:pt>
                <c:pt idx="1879">
                  <c:v>39260</c:v>
                </c:pt>
                <c:pt idx="1880">
                  <c:v>39261</c:v>
                </c:pt>
                <c:pt idx="1881">
                  <c:v>39262</c:v>
                </c:pt>
                <c:pt idx="1882">
                  <c:v>39265</c:v>
                </c:pt>
                <c:pt idx="1883">
                  <c:v>39266</c:v>
                </c:pt>
                <c:pt idx="1884">
                  <c:v>39267</c:v>
                </c:pt>
                <c:pt idx="1885">
                  <c:v>39268</c:v>
                </c:pt>
                <c:pt idx="1886">
                  <c:v>39269</c:v>
                </c:pt>
                <c:pt idx="1887">
                  <c:v>39272</c:v>
                </c:pt>
                <c:pt idx="1888">
                  <c:v>39273</c:v>
                </c:pt>
                <c:pt idx="1889">
                  <c:v>39274</c:v>
                </c:pt>
                <c:pt idx="1890">
                  <c:v>39275</c:v>
                </c:pt>
                <c:pt idx="1891">
                  <c:v>39276</c:v>
                </c:pt>
                <c:pt idx="1892">
                  <c:v>39279</c:v>
                </c:pt>
                <c:pt idx="1893">
                  <c:v>39280</c:v>
                </c:pt>
                <c:pt idx="1894">
                  <c:v>39281</c:v>
                </c:pt>
                <c:pt idx="1895">
                  <c:v>39282</c:v>
                </c:pt>
                <c:pt idx="1896">
                  <c:v>39283</c:v>
                </c:pt>
                <c:pt idx="1897">
                  <c:v>39286</c:v>
                </c:pt>
                <c:pt idx="1898">
                  <c:v>39287</c:v>
                </c:pt>
                <c:pt idx="1899">
                  <c:v>39288</c:v>
                </c:pt>
                <c:pt idx="1900">
                  <c:v>39289</c:v>
                </c:pt>
                <c:pt idx="1901">
                  <c:v>39290</c:v>
                </c:pt>
                <c:pt idx="1902">
                  <c:v>39293</c:v>
                </c:pt>
                <c:pt idx="1903">
                  <c:v>39294</c:v>
                </c:pt>
                <c:pt idx="1904">
                  <c:v>39295</c:v>
                </c:pt>
                <c:pt idx="1905">
                  <c:v>39296</c:v>
                </c:pt>
                <c:pt idx="1906">
                  <c:v>39297</c:v>
                </c:pt>
                <c:pt idx="1907">
                  <c:v>39300</c:v>
                </c:pt>
                <c:pt idx="1908">
                  <c:v>39301</c:v>
                </c:pt>
                <c:pt idx="1909">
                  <c:v>39302</c:v>
                </c:pt>
                <c:pt idx="1910">
                  <c:v>39303</c:v>
                </c:pt>
                <c:pt idx="1911">
                  <c:v>39304</c:v>
                </c:pt>
                <c:pt idx="1912">
                  <c:v>39307</c:v>
                </c:pt>
                <c:pt idx="1913">
                  <c:v>39308</c:v>
                </c:pt>
                <c:pt idx="1914">
                  <c:v>39309</c:v>
                </c:pt>
                <c:pt idx="1915">
                  <c:v>39310</c:v>
                </c:pt>
                <c:pt idx="1916">
                  <c:v>39311</c:v>
                </c:pt>
                <c:pt idx="1917">
                  <c:v>39314</c:v>
                </c:pt>
                <c:pt idx="1918">
                  <c:v>39315</c:v>
                </c:pt>
                <c:pt idx="1919">
                  <c:v>39316</c:v>
                </c:pt>
                <c:pt idx="1920">
                  <c:v>39317</c:v>
                </c:pt>
                <c:pt idx="1921">
                  <c:v>39318</c:v>
                </c:pt>
                <c:pt idx="1922">
                  <c:v>39321</c:v>
                </c:pt>
                <c:pt idx="1923">
                  <c:v>39322</c:v>
                </c:pt>
                <c:pt idx="1924">
                  <c:v>39323</c:v>
                </c:pt>
                <c:pt idx="1925">
                  <c:v>39324</c:v>
                </c:pt>
                <c:pt idx="1926">
                  <c:v>39325</c:v>
                </c:pt>
                <c:pt idx="1927">
                  <c:v>39328</c:v>
                </c:pt>
                <c:pt idx="1928">
                  <c:v>39329</c:v>
                </c:pt>
                <c:pt idx="1929">
                  <c:v>39330</c:v>
                </c:pt>
                <c:pt idx="1930">
                  <c:v>39331</c:v>
                </c:pt>
                <c:pt idx="1931">
                  <c:v>39335</c:v>
                </c:pt>
                <c:pt idx="1932">
                  <c:v>39336</c:v>
                </c:pt>
                <c:pt idx="1933">
                  <c:v>39337</c:v>
                </c:pt>
                <c:pt idx="1934">
                  <c:v>39338</c:v>
                </c:pt>
                <c:pt idx="1935">
                  <c:v>39339</c:v>
                </c:pt>
                <c:pt idx="1936">
                  <c:v>39342</c:v>
                </c:pt>
                <c:pt idx="1937">
                  <c:v>39343</c:v>
                </c:pt>
                <c:pt idx="1938">
                  <c:v>39344</c:v>
                </c:pt>
                <c:pt idx="1939">
                  <c:v>39345</c:v>
                </c:pt>
                <c:pt idx="1940">
                  <c:v>39346</c:v>
                </c:pt>
                <c:pt idx="1941">
                  <c:v>39349</c:v>
                </c:pt>
                <c:pt idx="1942">
                  <c:v>39350</c:v>
                </c:pt>
                <c:pt idx="1943">
                  <c:v>39351</c:v>
                </c:pt>
                <c:pt idx="1944">
                  <c:v>39352</c:v>
                </c:pt>
                <c:pt idx="1945">
                  <c:v>39353</c:v>
                </c:pt>
                <c:pt idx="1946">
                  <c:v>39356</c:v>
                </c:pt>
                <c:pt idx="1947">
                  <c:v>39357</c:v>
                </c:pt>
                <c:pt idx="1948">
                  <c:v>39358</c:v>
                </c:pt>
                <c:pt idx="1949">
                  <c:v>39359</c:v>
                </c:pt>
                <c:pt idx="1950">
                  <c:v>39360</c:v>
                </c:pt>
                <c:pt idx="1951">
                  <c:v>39363</c:v>
                </c:pt>
                <c:pt idx="1952">
                  <c:v>39364</c:v>
                </c:pt>
                <c:pt idx="1953">
                  <c:v>39365</c:v>
                </c:pt>
                <c:pt idx="1954">
                  <c:v>39366</c:v>
                </c:pt>
                <c:pt idx="1955">
                  <c:v>39370</c:v>
                </c:pt>
                <c:pt idx="1956">
                  <c:v>39371</c:v>
                </c:pt>
                <c:pt idx="1957">
                  <c:v>39372</c:v>
                </c:pt>
                <c:pt idx="1958">
                  <c:v>39373</c:v>
                </c:pt>
                <c:pt idx="1959">
                  <c:v>39374</c:v>
                </c:pt>
                <c:pt idx="1960">
                  <c:v>39377</c:v>
                </c:pt>
                <c:pt idx="1961">
                  <c:v>39378</c:v>
                </c:pt>
                <c:pt idx="1962">
                  <c:v>39379</c:v>
                </c:pt>
                <c:pt idx="1963">
                  <c:v>39380</c:v>
                </c:pt>
                <c:pt idx="1964">
                  <c:v>39381</c:v>
                </c:pt>
                <c:pt idx="1965">
                  <c:v>39384</c:v>
                </c:pt>
                <c:pt idx="1966">
                  <c:v>39385</c:v>
                </c:pt>
                <c:pt idx="1967">
                  <c:v>39386</c:v>
                </c:pt>
                <c:pt idx="1968">
                  <c:v>39387</c:v>
                </c:pt>
                <c:pt idx="1969">
                  <c:v>39391</c:v>
                </c:pt>
                <c:pt idx="1970">
                  <c:v>39392</c:v>
                </c:pt>
                <c:pt idx="1971">
                  <c:v>39393</c:v>
                </c:pt>
                <c:pt idx="1972">
                  <c:v>39394</c:v>
                </c:pt>
                <c:pt idx="1973">
                  <c:v>39395</c:v>
                </c:pt>
                <c:pt idx="1974">
                  <c:v>39398</c:v>
                </c:pt>
                <c:pt idx="1975">
                  <c:v>39399</c:v>
                </c:pt>
                <c:pt idx="1976">
                  <c:v>39400</c:v>
                </c:pt>
                <c:pt idx="1977">
                  <c:v>39402</c:v>
                </c:pt>
                <c:pt idx="1978">
                  <c:v>39405</c:v>
                </c:pt>
                <c:pt idx="1979">
                  <c:v>39406</c:v>
                </c:pt>
                <c:pt idx="1980">
                  <c:v>39407</c:v>
                </c:pt>
                <c:pt idx="1981">
                  <c:v>39408</c:v>
                </c:pt>
                <c:pt idx="1982">
                  <c:v>39409</c:v>
                </c:pt>
                <c:pt idx="1983">
                  <c:v>39412</c:v>
                </c:pt>
                <c:pt idx="1984">
                  <c:v>39413</c:v>
                </c:pt>
                <c:pt idx="1985">
                  <c:v>39414</c:v>
                </c:pt>
                <c:pt idx="1986">
                  <c:v>39415</c:v>
                </c:pt>
                <c:pt idx="1987">
                  <c:v>39416</c:v>
                </c:pt>
                <c:pt idx="1988">
                  <c:v>39419</c:v>
                </c:pt>
                <c:pt idx="1989">
                  <c:v>39420</c:v>
                </c:pt>
                <c:pt idx="1990">
                  <c:v>39421</c:v>
                </c:pt>
                <c:pt idx="1991">
                  <c:v>39422</c:v>
                </c:pt>
                <c:pt idx="1992">
                  <c:v>39423</c:v>
                </c:pt>
                <c:pt idx="1993">
                  <c:v>39426</c:v>
                </c:pt>
                <c:pt idx="1994">
                  <c:v>39427</c:v>
                </c:pt>
                <c:pt idx="1995">
                  <c:v>39428</c:v>
                </c:pt>
                <c:pt idx="1996">
                  <c:v>39429</c:v>
                </c:pt>
                <c:pt idx="1997">
                  <c:v>39430</c:v>
                </c:pt>
                <c:pt idx="1998">
                  <c:v>39433</c:v>
                </c:pt>
                <c:pt idx="1999">
                  <c:v>39434</c:v>
                </c:pt>
                <c:pt idx="2000">
                  <c:v>39435</c:v>
                </c:pt>
                <c:pt idx="2001">
                  <c:v>39436</c:v>
                </c:pt>
                <c:pt idx="2002">
                  <c:v>39437</c:v>
                </c:pt>
                <c:pt idx="2003">
                  <c:v>39440</c:v>
                </c:pt>
                <c:pt idx="2004">
                  <c:v>39442</c:v>
                </c:pt>
                <c:pt idx="2005">
                  <c:v>39443</c:v>
                </c:pt>
                <c:pt idx="2006">
                  <c:v>39444</c:v>
                </c:pt>
                <c:pt idx="2007">
                  <c:v>39447</c:v>
                </c:pt>
                <c:pt idx="2008">
                  <c:v>39449</c:v>
                </c:pt>
                <c:pt idx="2009">
                  <c:v>39450</c:v>
                </c:pt>
                <c:pt idx="2010">
                  <c:v>39451</c:v>
                </c:pt>
                <c:pt idx="2011">
                  <c:v>39454</c:v>
                </c:pt>
                <c:pt idx="2012">
                  <c:v>39455</c:v>
                </c:pt>
                <c:pt idx="2013">
                  <c:v>39456</c:v>
                </c:pt>
                <c:pt idx="2014">
                  <c:v>39457</c:v>
                </c:pt>
                <c:pt idx="2015">
                  <c:v>39458</c:v>
                </c:pt>
                <c:pt idx="2016">
                  <c:v>39461</c:v>
                </c:pt>
                <c:pt idx="2017">
                  <c:v>39462</c:v>
                </c:pt>
                <c:pt idx="2018">
                  <c:v>39463</c:v>
                </c:pt>
                <c:pt idx="2019">
                  <c:v>39464</c:v>
                </c:pt>
                <c:pt idx="2020">
                  <c:v>39465</c:v>
                </c:pt>
                <c:pt idx="2021">
                  <c:v>39468</c:v>
                </c:pt>
                <c:pt idx="2022">
                  <c:v>39469</c:v>
                </c:pt>
                <c:pt idx="2023">
                  <c:v>39470</c:v>
                </c:pt>
                <c:pt idx="2024">
                  <c:v>39471</c:v>
                </c:pt>
                <c:pt idx="2025">
                  <c:v>39472</c:v>
                </c:pt>
                <c:pt idx="2026">
                  <c:v>39475</c:v>
                </c:pt>
                <c:pt idx="2027">
                  <c:v>39476</c:v>
                </c:pt>
                <c:pt idx="2028">
                  <c:v>39477</c:v>
                </c:pt>
                <c:pt idx="2029">
                  <c:v>39478</c:v>
                </c:pt>
                <c:pt idx="2030">
                  <c:v>39479</c:v>
                </c:pt>
                <c:pt idx="2031">
                  <c:v>39484</c:v>
                </c:pt>
                <c:pt idx="2032">
                  <c:v>39485</c:v>
                </c:pt>
                <c:pt idx="2033">
                  <c:v>39486</c:v>
                </c:pt>
                <c:pt idx="2034">
                  <c:v>39489</c:v>
                </c:pt>
                <c:pt idx="2035">
                  <c:v>39490</c:v>
                </c:pt>
                <c:pt idx="2036">
                  <c:v>39491</c:v>
                </c:pt>
                <c:pt idx="2037">
                  <c:v>39492</c:v>
                </c:pt>
                <c:pt idx="2038">
                  <c:v>39493</c:v>
                </c:pt>
                <c:pt idx="2039">
                  <c:v>39496</c:v>
                </c:pt>
                <c:pt idx="2040">
                  <c:v>39497</c:v>
                </c:pt>
                <c:pt idx="2041">
                  <c:v>39498</c:v>
                </c:pt>
                <c:pt idx="2042">
                  <c:v>39499</c:v>
                </c:pt>
                <c:pt idx="2043">
                  <c:v>39500</c:v>
                </c:pt>
                <c:pt idx="2044">
                  <c:v>39503</c:v>
                </c:pt>
                <c:pt idx="2045">
                  <c:v>39504</c:v>
                </c:pt>
                <c:pt idx="2046">
                  <c:v>39505</c:v>
                </c:pt>
                <c:pt idx="2047">
                  <c:v>39506</c:v>
                </c:pt>
                <c:pt idx="2048">
                  <c:v>39507</c:v>
                </c:pt>
                <c:pt idx="2049">
                  <c:v>39510</c:v>
                </c:pt>
                <c:pt idx="2050">
                  <c:v>39511</c:v>
                </c:pt>
                <c:pt idx="2051">
                  <c:v>39512</c:v>
                </c:pt>
                <c:pt idx="2052">
                  <c:v>39513</c:v>
                </c:pt>
                <c:pt idx="2053">
                  <c:v>39514</c:v>
                </c:pt>
                <c:pt idx="2054">
                  <c:v>39517</c:v>
                </c:pt>
                <c:pt idx="2055">
                  <c:v>39518</c:v>
                </c:pt>
                <c:pt idx="2056">
                  <c:v>39519</c:v>
                </c:pt>
                <c:pt idx="2057">
                  <c:v>39520</c:v>
                </c:pt>
                <c:pt idx="2058">
                  <c:v>39521</c:v>
                </c:pt>
                <c:pt idx="2059">
                  <c:v>39524</c:v>
                </c:pt>
                <c:pt idx="2060">
                  <c:v>39525</c:v>
                </c:pt>
                <c:pt idx="2061">
                  <c:v>39526</c:v>
                </c:pt>
                <c:pt idx="2062">
                  <c:v>39527</c:v>
                </c:pt>
                <c:pt idx="2063">
                  <c:v>39531</c:v>
                </c:pt>
                <c:pt idx="2064">
                  <c:v>39532</c:v>
                </c:pt>
                <c:pt idx="2065">
                  <c:v>39533</c:v>
                </c:pt>
                <c:pt idx="2066">
                  <c:v>39534</c:v>
                </c:pt>
                <c:pt idx="2067">
                  <c:v>39535</c:v>
                </c:pt>
                <c:pt idx="2068">
                  <c:v>39538</c:v>
                </c:pt>
                <c:pt idx="2069">
                  <c:v>39539</c:v>
                </c:pt>
                <c:pt idx="2070">
                  <c:v>39540</c:v>
                </c:pt>
                <c:pt idx="2071">
                  <c:v>39541</c:v>
                </c:pt>
                <c:pt idx="2072">
                  <c:v>39542</c:v>
                </c:pt>
                <c:pt idx="2073">
                  <c:v>39545</c:v>
                </c:pt>
                <c:pt idx="2074">
                  <c:v>39546</c:v>
                </c:pt>
                <c:pt idx="2075">
                  <c:v>39547</c:v>
                </c:pt>
                <c:pt idx="2076">
                  <c:v>39548</c:v>
                </c:pt>
                <c:pt idx="2077">
                  <c:v>39549</c:v>
                </c:pt>
                <c:pt idx="2078">
                  <c:v>39552</c:v>
                </c:pt>
                <c:pt idx="2079">
                  <c:v>39553</c:v>
                </c:pt>
                <c:pt idx="2080">
                  <c:v>39554</c:v>
                </c:pt>
                <c:pt idx="2081">
                  <c:v>39555</c:v>
                </c:pt>
                <c:pt idx="2082">
                  <c:v>39556</c:v>
                </c:pt>
                <c:pt idx="2083">
                  <c:v>39560</c:v>
                </c:pt>
                <c:pt idx="2084">
                  <c:v>39561</c:v>
                </c:pt>
                <c:pt idx="2085">
                  <c:v>39562</c:v>
                </c:pt>
                <c:pt idx="2086">
                  <c:v>39563</c:v>
                </c:pt>
                <c:pt idx="2087">
                  <c:v>39566</c:v>
                </c:pt>
                <c:pt idx="2088">
                  <c:v>39567</c:v>
                </c:pt>
                <c:pt idx="2089">
                  <c:v>39568</c:v>
                </c:pt>
                <c:pt idx="2090">
                  <c:v>39570</c:v>
                </c:pt>
                <c:pt idx="2091">
                  <c:v>39573</c:v>
                </c:pt>
                <c:pt idx="2092">
                  <c:v>39574</c:v>
                </c:pt>
                <c:pt idx="2093">
                  <c:v>39575</c:v>
                </c:pt>
                <c:pt idx="2094">
                  <c:v>39576</c:v>
                </c:pt>
                <c:pt idx="2095">
                  <c:v>39577</c:v>
                </c:pt>
                <c:pt idx="2096">
                  <c:v>39580</c:v>
                </c:pt>
                <c:pt idx="2097">
                  <c:v>39581</c:v>
                </c:pt>
                <c:pt idx="2098">
                  <c:v>39582</c:v>
                </c:pt>
                <c:pt idx="2099">
                  <c:v>39583</c:v>
                </c:pt>
                <c:pt idx="2100">
                  <c:v>39584</c:v>
                </c:pt>
                <c:pt idx="2101">
                  <c:v>39587</c:v>
                </c:pt>
                <c:pt idx="2102">
                  <c:v>39588</c:v>
                </c:pt>
                <c:pt idx="2103">
                  <c:v>39589</c:v>
                </c:pt>
                <c:pt idx="2104">
                  <c:v>39591</c:v>
                </c:pt>
                <c:pt idx="2105">
                  <c:v>39594</c:v>
                </c:pt>
                <c:pt idx="2106">
                  <c:v>39595</c:v>
                </c:pt>
                <c:pt idx="2107">
                  <c:v>39596</c:v>
                </c:pt>
                <c:pt idx="2108">
                  <c:v>39597</c:v>
                </c:pt>
                <c:pt idx="2109">
                  <c:v>39598</c:v>
                </c:pt>
                <c:pt idx="2110">
                  <c:v>39601</c:v>
                </c:pt>
                <c:pt idx="2111">
                  <c:v>39602</c:v>
                </c:pt>
                <c:pt idx="2112">
                  <c:v>39603</c:v>
                </c:pt>
                <c:pt idx="2113">
                  <c:v>39604</c:v>
                </c:pt>
                <c:pt idx="2114">
                  <c:v>39605</c:v>
                </c:pt>
                <c:pt idx="2115">
                  <c:v>39608</c:v>
                </c:pt>
                <c:pt idx="2116">
                  <c:v>39609</c:v>
                </c:pt>
                <c:pt idx="2117">
                  <c:v>39610</c:v>
                </c:pt>
                <c:pt idx="2118">
                  <c:v>39611</c:v>
                </c:pt>
                <c:pt idx="2119">
                  <c:v>39612</c:v>
                </c:pt>
                <c:pt idx="2120">
                  <c:v>39615</c:v>
                </c:pt>
                <c:pt idx="2121">
                  <c:v>39616</c:v>
                </c:pt>
                <c:pt idx="2122">
                  <c:v>39617</c:v>
                </c:pt>
                <c:pt idx="2123">
                  <c:v>39618</c:v>
                </c:pt>
                <c:pt idx="2124">
                  <c:v>39619</c:v>
                </c:pt>
                <c:pt idx="2125">
                  <c:v>39622</c:v>
                </c:pt>
                <c:pt idx="2126">
                  <c:v>39623</c:v>
                </c:pt>
                <c:pt idx="2127">
                  <c:v>39624</c:v>
                </c:pt>
                <c:pt idx="2128">
                  <c:v>39625</c:v>
                </c:pt>
                <c:pt idx="2129">
                  <c:v>39626</c:v>
                </c:pt>
                <c:pt idx="2130">
                  <c:v>39629</c:v>
                </c:pt>
                <c:pt idx="2131">
                  <c:v>39630</c:v>
                </c:pt>
                <c:pt idx="2132">
                  <c:v>39631</c:v>
                </c:pt>
                <c:pt idx="2133">
                  <c:v>39632</c:v>
                </c:pt>
                <c:pt idx="2134">
                  <c:v>39633</c:v>
                </c:pt>
                <c:pt idx="2135">
                  <c:v>39636</c:v>
                </c:pt>
                <c:pt idx="2136">
                  <c:v>39637</c:v>
                </c:pt>
                <c:pt idx="2137">
                  <c:v>39638</c:v>
                </c:pt>
                <c:pt idx="2138">
                  <c:v>39639</c:v>
                </c:pt>
                <c:pt idx="2139">
                  <c:v>39640</c:v>
                </c:pt>
                <c:pt idx="2140">
                  <c:v>39643</c:v>
                </c:pt>
                <c:pt idx="2141">
                  <c:v>39644</c:v>
                </c:pt>
                <c:pt idx="2142">
                  <c:v>39645</c:v>
                </c:pt>
                <c:pt idx="2143">
                  <c:v>39646</c:v>
                </c:pt>
                <c:pt idx="2144">
                  <c:v>39647</c:v>
                </c:pt>
                <c:pt idx="2145">
                  <c:v>39650</c:v>
                </c:pt>
                <c:pt idx="2146">
                  <c:v>39651</c:v>
                </c:pt>
                <c:pt idx="2147">
                  <c:v>39652</c:v>
                </c:pt>
                <c:pt idx="2148">
                  <c:v>39653</c:v>
                </c:pt>
                <c:pt idx="2149">
                  <c:v>39654</c:v>
                </c:pt>
                <c:pt idx="2150">
                  <c:v>39657</c:v>
                </c:pt>
                <c:pt idx="2151">
                  <c:v>39658</c:v>
                </c:pt>
                <c:pt idx="2152">
                  <c:v>39659</c:v>
                </c:pt>
                <c:pt idx="2153">
                  <c:v>39660</c:v>
                </c:pt>
                <c:pt idx="2154">
                  <c:v>39661</c:v>
                </c:pt>
                <c:pt idx="2155">
                  <c:v>39664</c:v>
                </c:pt>
                <c:pt idx="2156">
                  <c:v>39665</c:v>
                </c:pt>
                <c:pt idx="2157">
                  <c:v>39666</c:v>
                </c:pt>
                <c:pt idx="2158">
                  <c:v>39667</c:v>
                </c:pt>
                <c:pt idx="2159">
                  <c:v>39668</c:v>
                </c:pt>
                <c:pt idx="2160">
                  <c:v>39671</c:v>
                </c:pt>
                <c:pt idx="2161">
                  <c:v>39672</c:v>
                </c:pt>
                <c:pt idx="2162">
                  <c:v>39673</c:v>
                </c:pt>
                <c:pt idx="2163">
                  <c:v>39674</c:v>
                </c:pt>
                <c:pt idx="2164">
                  <c:v>39675</c:v>
                </c:pt>
                <c:pt idx="2165">
                  <c:v>39678</c:v>
                </c:pt>
                <c:pt idx="2166">
                  <c:v>39679</c:v>
                </c:pt>
                <c:pt idx="2167">
                  <c:v>39680</c:v>
                </c:pt>
                <c:pt idx="2168">
                  <c:v>39681</c:v>
                </c:pt>
                <c:pt idx="2169">
                  <c:v>39682</c:v>
                </c:pt>
                <c:pt idx="2170">
                  <c:v>39685</c:v>
                </c:pt>
                <c:pt idx="2171">
                  <c:v>39686</c:v>
                </c:pt>
                <c:pt idx="2172">
                  <c:v>39687</c:v>
                </c:pt>
                <c:pt idx="2173">
                  <c:v>39688</c:v>
                </c:pt>
                <c:pt idx="2174">
                  <c:v>39689</c:v>
                </c:pt>
                <c:pt idx="2175">
                  <c:v>39692</c:v>
                </c:pt>
                <c:pt idx="2176">
                  <c:v>39693</c:v>
                </c:pt>
                <c:pt idx="2177">
                  <c:v>39694</c:v>
                </c:pt>
                <c:pt idx="2178">
                  <c:v>39695</c:v>
                </c:pt>
                <c:pt idx="2179">
                  <c:v>39696</c:v>
                </c:pt>
                <c:pt idx="2180">
                  <c:v>39699</c:v>
                </c:pt>
                <c:pt idx="2181">
                  <c:v>39700</c:v>
                </c:pt>
                <c:pt idx="2182">
                  <c:v>39701</c:v>
                </c:pt>
                <c:pt idx="2183">
                  <c:v>39702</c:v>
                </c:pt>
                <c:pt idx="2184">
                  <c:v>39703</c:v>
                </c:pt>
                <c:pt idx="2185">
                  <c:v>39706</c:v>
                </c:pt>
                <c:pt idx="2186">
                  <c:v>39707</c:v>
                </c:pt>
                <c:pt idx="2187">
                  <c:v>39708</c:v>
                </c:pt>
                <c:pt idx="2188">
                  <c:v>39709</c:v>
                </c:pt>
                <c:pt idx="2189">
                  <c:v>39710</c:v>
                </c:pt>
                <c:pt idx="2190">
                  <c:v>39713</c:v>
                </c:pt>
                <c:pt idx="2191">
                  <c:v>39714</c:v>
                </c:pt>
                <c:pt idx="2192">
                  <c:v>39715</c:v>
                </c:pt>
                <c:pt idx="2193">
                  <c:v>39716</c:v>
                </c:pt>
                <c:pt idx="2194">
                  <c:v>39717</c:v>
                </c:pt>
                <c:pt idx="2195">
                  <c:v>39720</c:v>
                </c:pt>
                <c:pt idx="2196">
                  <c:v>39721</c:v>
                </c:pt>
                <c:pt idx="2197">
                  <c:v>39722</c:v>
                </c:pt>
                <c:pt idx="2198">
                  <c:v>39723</c:v>
                </c:pt>
                <c:pt idx="2199">
                  <c:v>39724</c:v>
                </c:pt>
                <c:pt idx="2200">
                  <c:v>39727</c:v>
                </c:pt>
                <c:pt idx="2201">
                  <c:v>39728</c:v>
                </c:pt>
                <c:pt idx="2202">
                  <c:v>39729</c:v>
                </c:pt>
                <c:pt idx="2203">
                  <c:v>39730</c:v>
                </c:pt>
                <c:pt idx="2204">
                  <c:v>39731</c:v>
                </c:pt>
                <c:pt idx="2205">
                  <c:v>39734</c:v>
                </c:pt>
                <c:pt idx="2206">
                  <c:v>39735</c:v>
                </c:pt>
                <c:pt idx="2207">
                  <c:v>39736</c:v>
                </c:pt>
                <c:pt idx="2208">
                  <c:v>39737</c:v>
                </c:pt>
                <c:pt idx="2209">
                  <c:v>39738</c:v>
                </c:pt>
                <c:pt idx="2210">
                  <c:v>39741</c:v>
                </c:pt>
                <c:pt idx="2211">
                  <c:v>39742</c:v>
                </c:pt>
                <c:pt idx="2212">
                  <c:v>39743</c:v>
                </c:pt>
                <c:pt idx="2213">
                  <c:v>39744</c:v>
                </c:pt>
                <c:pt idx="2214">
                  <c:v>39745</c:v>
                </c:pt>
                <c:pt idx="2215">
                  <c:v>39748</c:v>
                </c:pt>
                <c:pt idx="2216">
                  <c:v>39749</c:v>
                </c:pt>
                <c:pt idx="2217">
                  <c:v>39750</c:v>
                </c:pt>
                <c:pt idx="2218">
                  <c:v>39751</c:v>
                </c:pt>
                <c:pt idx="2219">
                  <c:v>39752</c:v>
                </c:pt>
                <c:pt idx="2220">
                  <c:v>39755</c:v>
                </c:pt>
                <c:pt idx="2221">
                  <c:v>39756</c:v>
                </c:pt>
                <c:pt idx="2222">
                  <c:v>39757</c:v>
                </c:pt>
                <c:pt idx="2223">
                  <c:v>39758</c:v>
                </c:pt>
                <c:pt idx="2224">
                  <c:v>39759</c:v>
                </c:pt>
                <c:pt idx="2225">
                  <c:v>39762</c:v>
                </c:pt>
                <c:pt idx="2226">
                  <c:v>39763</c:v>
                </c:pt>
                <c:pt idx="2227">
                  <c:v>39764</c:v>
                </c:pt>
                <c:pt idx="2228">
                  <c:v>39765</c:v>
                </c:pt>
                <c:pt idx="2229">
                  <c:v>39766</c:v>
                </c:pt>
                <c:pt idx="2230">
                  <c:v>39769</c:v>
                </c:pt>
                <c:pt idx="2231">
                  <c:v>39770</c:v>
                </c:pt>
                <c:pt idx="2232">
                  <c:v>39771</c:v>
                </c:pt>
                <c:pt idx="2233">
                  <c:v>39772</c:v>
                </c:pt>
                <c:pt idx="2234">
                  <c:v>39773</c:v>
                </c:pt>
                <c:pt idx="2235">
                  <c:v>39776</c:v>
                </c:pt>
                <c:pt idx="2236">
                  <c:v>39777</c:v>
                </c:pt>
                <c:pt idx="2237">
                  <c:v>39778</c:v>
                </c:pt>
                <c:pt idx="2238">
                  <c:v>39779</c:v>
                </c:pt>
                <c:pt idx="2239">
                  <c:v>39780</c:v>
                </c:pt>
                <c:pt idx="2240">
                  <c:v>39783</c:v>
                </c:pt>
                <c:pt idx="2241">
                  <c:v>39784</c:v>
                </c:pt>
                <c:pt idx="2242">
                  <c:v>39785</c:v>
                </c:pt>
                <c:pt idx="2243">
                  <c:v>39786</c:v>
                </c:pt>
                <c:pt idx="2244">
                  <c:v>39787</c:v>
                </c:pt>
                <c:pt idx="2245">
                  <c:v>39790</c:v>
                </c:pt>
                <c:pt idx="2246">
                  <c:v>39791</c:v>
                </c:pt>
                <c:pt idx="2247">
                  <c:v>39792</c:v>
                </c:pt>
                <c:pt idx="2248">
                  <c:v>39793</c:v>
                </c:pt>
                <c:pt idx="2249">
                  <c:v>39794</c:v>
                </c:pt>
                <c:pt idx="2250">
                  <c:v>39797</c:v>
                </c:pt>
                <c:pt idx="2251">
                  <c:v>39798</c:v>
                </c:pt>
                <c:pt idx="2252">
                  <c:v>39799</c:v>
                </c:pt>
                <c:pt idx="2253">
                  <c:v>39800</c:v>
                </c:pt>
                <c:pt idx="2254">
                  <c:v>39801</c:v>
                </c:pt>
                <c:pt idx="2255">
                  <c:v>39804</c:v>
                </c:pt>
                <c:pt idx="2256">
                  <c:v>39805</c:v>
                </c:pt>
                <c:pt idx="2257">
                  <c:v>39806</c:v>
                </c:pt>
                <c:pt idx="2258">
                  <c:v>39808</c:v>
                </c:pt>
                <c:pt idx="2259">
                  <c:v>39811</c:v>
                </c:pt>
                <c:pt idx="2260">
                  <c:v>39812</c:v>
                </c:pt>
                <c:pt idx="2261">
                  <c:v>39813</c:v>
                </c:pt>
                <c:pt idx="2262">
                  <c:v>39815</c:v>
                </c:pt>
                <c:pt idx="2263">
                  <c:v>39818</c:v>
                </c:pt>
                <c:pt idx="2264">
                  <c:v>39819</c:v>
                </c:pt>
                <c:pt idx="2265">
                  <c:v>39820</c:v>
                </c:pt>
                <c:pt idx="2266">
                  <c:v>39821</c:v>
                </c:pt>
                <c:pt idx="2267">
                  <c:v>39822</c:v>
                </c:pt>
                <c:pt idx="2268">
                  <c:v>39825</c:v>
                </c:pt>
                <c:pt idx="2269">
                  <c:v>39826</c:v>
                </c:pt>
                <c:pt idx="2270">
                  <c:v>39827</c:v>
                </c:pt>
                <c:pt idx="2271">
                  <c:v>39828</c:v>
                </c:pt>
                <c:pt idx="2272">
                  <c:v>39829</c:v>
                </c:pt>
                <c:pt idx="2273">
                  <c:v>39832</c:v>
                </c:pt>
                <c:pt idx="2274">
                  <c:v>39833</c:v>
                </c:pt>
                <c:pt idx="2275">
                  <c:v>39834</c:v>
                </c:pt>
                <c:pt idx="2276">
                  <c:v>39835</c:v>
                </c:pt>
                <c:pt idx="2277">
                  <c:v>39836</c:v>
                </c:pt>
                <c:pt idx="2278">
                  <c:v>39839</c:v>
                </c:pt>
                <c:pt idx="2279">
                  <c:v>39840</c:v>
                </c:pt>
                <c:pt idx="2280">
                  <c:v>39841</c:v>
                </c:pt>
                <c:pt idx="2281">
                  <c:v>39842</c:v>
                </c:pt>
                <c:pt idx="2282">
                  <c:v>39843</c:v>
                </c:pt>
                <c:pt idx="2283">
                  <c:v>39846</c:v>
                </c:pt>
                <c:pt idx="2284">
                  <c:v>39847</c:v>
                </c:pt>
                <c:pt idx="2285">
                  <c:v>39848</c:v>
                </c:pt>
                <c:pt idx="2286">
                  <c:v>39849</c:v>
                </c:pt>
                <c:pt idx="2287">
                  <c:v>39850</c:v>
                </c:pt>
                <c:pt idx="2288">
                  <c:v>39853</c:v>
                </c:pt>
                <c:pt idx="2289">
                  <c:v>39854</c:v>
                </c:pt>
                <c:pt idx="2290">
                  <c:v>39855</c:v>
                </c:pt>
                <c:pt idx="2291">
                  <c:v>39856</c:v>
                </c:pt>
                <c:pt idx="2292">
                  <c:v>39857</c:v>
                </c:pt>
                <c:pt idx="2293">
                  <c:v>39860</c:v>
                </c:pt>
                <c:pt idx="2294">
                  <c:v>39861</c:v>
                </c:pt>
                <c:pt idx="2295">
                  <c:v>39862</c:v>
                </c:pt>
                <c:pt idx="2296">
                  <c:v>39863</c:v>
                </c:pt>
                <c:pt idx="2297">
                  <c:v>39864</c:v>
                </c:pt>
                <c:pt idx="2298">
                  <c:v>39869</c:v>
                </c:pt>
                <c:pt idx="2299">
                  <c:v>39870</c:v>
                </c:pt>
                <c:pt idx="2300">
                  <c:v>39871</c:v>
                </c:pt>
                <c:pt idx="2301">
                  <c:v>39874</c:v>
                </c:pt>
                <c:pt idx="2302">
                  <c:v>39875</c:v>
                </c:pt>
                <c:pt idx="2303">
                  <c:v>39876</c:v>
                </c:pt>
                <c:pt idx="2304">
                  <c:v>39877</c:v>
                </c:pt>
                <c:pt idx="2305">
                  <c:v>39878</c:v>
                </c:pt>
                <c:pt idx="2306">
                  <c:v>39881</c:v>
                </c:pt>
                <c:pt idx="2307">
                  <c:v>39882</c:v>
                </c:pt>
                <c:pt idx="2308">
                  <c:v>39883</c:v>
                </c:pt>
                <c:pt idx="2309">
                  <c:v>39884</c:v>
                </c:pt>
                <c:pt idx="2310">
                  <c:v>39885</c:v>
                </c:pt>
                <c:pt idx="2311">
                  <c:v>39888</c:v>
                </c:pt>
                <c:pt idx="2312">
                  <c:v>39889</c:v>
                </c:pt>
                <c:pt idx="2313">
                  <c:v>39890</c:v>
                </c:pt>
                <c:pt idx="2314">
                  <c:v>39891</c:v>
                </c:pt>
                <c:pt idx="2315">
                  <c:v>39892</c:v>
                </c:pt>
                <c:pt idx="2316">
                  <c:v>39895</c:v>
                </c:pt>
                <c:pt idx="2317">
                  <c:v>39896</c:v>
                </c:pt>
                <c:pt idx="2318">
                  <c:v>39897</c:v>
                </c:pt>
                <c:pt idx="2319">
                  <c:v>39898</c:v>
                </c:pt>
                <c:pt idx="2320">
                  <c:v>39899</c:v>
                </c:pt>
                <c:pt idx="2321">
                  <c:v>39902</c:v>
                </c:pt>
                <c:pt idx="2322">
                  <c:v>39903</c:v>
                </c:pt>
                <c:pt idx="2323">
                  <c:v>39904</c:v>
                </c:pt>
                <c:pt idx="2324">
                  <c:v>39905</c:v>
                </c:pt>
                <c:pt idx="2325">
                  <c:v>39906</c:v>
                </c:pt>
                <c:pt idx="2326">
                  <c:v>39909</c:v>
                </c:pt>
                <c:pt idx="2327">
                  <c:v>39910</c:v>
                </c:pt>
                <c:pt idx="2328">
                  <c:v>39911</c:v>
                </c:pt>
                <c:pt idx="2329">
                  <c:v>39912</c:v>
                </c:pt>
                <c:pt idx="2330">
                  <c:v>39916</c:v>
                </c:pt>
                <c:pt idx="2331">
                  <c:v>39917</c:v>
                </c:pt>
                <c:pt idx="2332">
                  <c:v>39918</c:v>
                </c:pt>
                <c:pt idx="2333">
                  <c:v>39919</c:v>
                </c:pt>
                <c:pt idx="2334">
                  <c:v>39920</c:v>
                </c:pt>
                <c:pt idx="2335">
                  <c:v>39923</c:v>
                </c:pt>
                <c:pt idx="2336">
                  <c:v>39925</c:v>
                </c:pt>
                <c:pt idx="2337">
                  <c:v>39926</c:v>
                </c:pt>
                <c:pt idx="2338">
                  <c:v>39927</c:v>
                </c:pt>
                <c:pt idx="2339">
                  <c:v>39930</c:v>
                </c:pt>
                <c:pt idx="2340">
                  <c:v>39931</c:v>
                </c:pt>
                <c:pt idx="2341">
                  <c:v>39932</c:v>
                </c:pt>
                <c:pt idx="2342">
                  <c:v>39933</c:v>
                </c:pt>
                <c:pt idx="2343">
                  <c:v>39937</c:v>
                </c:pt>
                <c:pt idx="2344">
                  <c:v>39938</c:v>
                </c:pt>
                <c:pt idx="2345">
                  <c:v>39939</c:v>
                </c:pt>
                <c:pt idx="2346">
                  <c:v>39940</c:v>
                </c:pt>
                <c:pt idx="2347">
                  <c:v>39941</c:v>
                </c:pt>
                <c:pt idx="2348">
                  <c:v>39944</c:v>
                </c:pt>
                <c:pt idx="2349">
                  <c:v>39945</c:v>
                </c:pt>
                <c:pt idx="2350">
                  <c:v>39946</c:v>
                </c:pt>
                <c:pt idx="2351">
                  <c:v>39947</c:v>
                </c:pt>
                <c:pt idx="2352">
                  <c:v>39948</c:v>
                </c:pt>
                <c:pt idx="2353">
                  <c:v>39951</c:v>
                </c:pt>
                <c:pt idx="2354">
                  <c:v>39952</c:v>
                </c:pt>
                <c:pt idx="2355">
                  <c:v>39953</c:v>
                </c:pt>
                <c:pt idx="2356">
                  <c:v>39954</c:v>
                </c:pt>
                <c:pt idx="2357">
                  <c:v>39955</c:v>
                </c:pt>
                <c:pt idx="2358">
                  <c:v>39958</c:v>
                </c:pt>
                <c:pt idx="2359">
                  <c:v>39959</c:v>
                </c:pt>
                <c:pt idx="2360">
                  <c:v>39960</c:v>
                </c:pt>
                <c:pt idx="2361">
                  <c:v>39961</c:v>
                </c:pt>
                <c:pt idx="2362">
                  <c:v>39962</c:v>
                </c:pt>
                <c:pt idx="2363">
                  <c:v>39965</c:v>
                </c:pt>
                <c:pt idx="2364">
                  <c:v>39966</c:v>
                </c:pt>
                <c:pt idx="2365">
                  <c:v>39967</c:v>
                </c:pt>
                <c:pt idx="2366">
                  <c:v>39968</c:v>
                </c:pt>
                <c:pt idx="2367">
                  <c:v>39969</c:v>
                </c:pt>
                <c:pt idx="2368">
                  <c:v>39972</c:v>
                </c:pt>
                <c:pt idx="2369">
                  <c:v>39973</c:v>
                </c:pt>
                <c:pt idx="2370">
                  <c:v>39974</c:v>
                </c:pt>
                <c:pt idx="2371">
                  <c:v>39976</c:v>
                </c:pt>
                <c:pt idx="2372">
                  <c:v>39979</c:v>
                </c:pt>
                <c:pt idx="2373">
                  <c:v>39980</c:v>
                </c:pt>
                <c:pt idx="2374">
                  <c:v>39981</c:v>
                </c:pt>
                <c:pt idx="2375">
                  <c:v>39982</c:v>
                </c:pt>
                <c:pt idx="2376">
                  <c:v>39983</c:v>
                </c:pt>
                <c:pt idx="2377">
                  <c:v>39986</c:v>
                </c:pt>
                <c:pt idx="2378">
                  <c:v>39987</c:v>
                </c:pt>
                <c:pt idx="2379">
                  <c:v>39988</c:v>
                </c:pt>
                <c:pt idx="2380">
                  <c:v>39989</c:v>
                </c:pt>
                <c:pt idx="2381">
                  <c:v>39990</c:v>
                </c:pt>
                <c:pt idx="2382">
                  <c:v>39993</c:v>
                </c:pt>
                <c:pt idx="2383">
                  <c:v>39994</c:v>
                </c:pt>
                <c:pt idx="2384">
                  <c:v>39995</c:v>
                </c:pt>
                <c:pt idx="2385">
                  <c:v>39996</c:v>
                </c:pt>
                <c:pt idx="2386">
                  <c:v>39997</c:v>
                </c:pt>
                <c:pt idx="2387">
                  <c:v>40000</c:v>
                </c:pt>
                <c:pt idx="2388">
                  <c:v>40001</c:v>
                </c:pt>
                <c:pt idx="2389">
                  <c:v>40002</c:v>
                </c:pt>
                <c:pt idx="2390">
                  <c:v>40003</c:v>
                </c:pt>
                <c:pt idx="2391">
                  <c:v>40004</c:v>
                </c:pt>
                <c:pt idx="2392">
                  <c:v>40007</c:v>
                </c:pt>
                <c:pt idx="2393">
                  <c:v>40008</c:v>
                </c:pt>
                <c:pt idx="2394">
                  <c:v>40009</c:v>
                </c:pt>
                <c:pt idx="2395">
                  <c:v>40010</c:v>
                </c:pt>
                <c:pt idx="2396">
                  <c:v>40011</c:v>
                </c:pt>
                <c:pt idx="2397">
                  <c:v>40014</c:v>
                </c:pt>
                <c:pt idx="2398">
                  <c:v>40015</c:v>
                </c:pt>
                <c:pt idx="2399">
                  <c:v>40016</c:v>
                </c:pt>
                <c:pt idx="2400">
                  <c:v>40017</c:v>
                </c:pt>
                <c:pt idx="2401">
                  <c:v>40018</c:v>
                </c:pt>
                <c:pt idx="2402">
                  <c:v>40021</c:v>
                </c:pt>
                <c:pt idx="2403">
                  <c:v>40022</c:v>
                </c:pt>
                <c:pt idx="2404">
                  <c:v>40023</c:v>
                </c:pt>
                <c:pt idx="2405">
                  <c:v>40024</c:v>
                </c:pt>
                <c:pt idx="2406">
                  <c:v>40025</c:v>
                </c:pt>
                <c:pt idx="2407">
                  <c:v>40028</c:v>
                </c:pt>
                <c:pt idx="2408">
                  <c:v>40029</c:v>
                </c:pt>
                <c:pt idx="2409">
                  <c:v>40030</c:v>
                </c:pt>
                <c:pt idx="2410">
                  <c:v>40031</c:v>
                </c:pt>
                <c:pt idx="2411">
                  <c:v>40032</c:v>
                </c:pt>
                <c:pt idx="2412">
                  <c:v>40035</c:v>
                </c:pt>
                <c:pt idx="2413">
                  <c:v>40036</c:v>
                </c:pt>
                <c:pt idx="2414">
                  <c:v>40037</c:v>
                </c:pt>
                <c:pt idx="2415">
                  <c:v>40038</c:v>
                </c:pt>
                <c:pt idx="2416">
                  <c:v>40039</c:v>
                </c:pt>
                <c:pt idx="2417">
                  <c:v>40042</c:v>
                </c:pt>
                <c:pt idx="2418">
                  <c:v>40043</c:v>
                </c:pt>
                <c:pt idx="2419">
                  <c:v>40044</c:v>
                </c:pt>
                <c:pt idx="2420">
                  <c:v>40045</c:v>
                </c:pt>
                <c:pt idx="2421">
                  <c:v>40046</c:v>
                </c:pt>
                <c:pt idx="2422">
                  <c:v>40049</c:v>
                </c:pt>
                <c:pt idx="2423">
                  <c:v>40050</c:v>
                </c:pt>
                <c:pt idx="2424">
                  <c:v>40051</c:v>
                </c:pt>
                <c:pt idx="2425">
                  <c:v>40052</c:v>
                </c:pt>
                <c:pt idx="2426">
                  <c:v>40053</c:v>
                </c:pt>
                <c:pt idx="2427">
                  <c:v>40056</c:v>
                </c:pt>
                <c:pt idx="2428">
                  <c:v>40057</c:v>
                </c:pt>
                <c:pt idx="2429">
                  <c:v>40058</c:v>
                </c:pt>
                <c:pt idx="2430">
                  <c:v>40059</c:v>
                </c:pt>
                <c:pt idx="2431">
                  <c:v>40060</c:v>
                </c:pt>
                <c:pt idx="2432">
                  <c:v>40064</c:v>
                </c:pt>
                <c:pt idx="2433">
                  <c:v>40065</c:v>
                </c:pt>
                <c:pt idx="2434">
                  <c:v>40066</c:v>
                </c:pt>
                <c:pt idx="2435">
                  <c:v>40067</c:v>
                </c:pt>
                <c:pt idx="2436">
                  <c:v>40070</c:v>
                </c:pt>
                <c:pt idx="2437">
                  <c:v>40071</c:v>
                </c:pt>
                <c:pt idx="2438">
                  <c:v>40072</c:v>
                </c:pt>
                <c:pt idx="2439">
                  <c:v>40073</c:v>
                </c:pt>
                <c:pt idx="2440">
                  <c:v>40074</c:v>
                </c:pt>
                <c:pt idx="2441">
                  <c:v>40077</c:v>
                </c:pt>
                <c:pt idx="2442">
                  <c:v>40078</c:v>
                </c:pt>
                <c:pt idx="2443">
                  <c:v>40079</c:v>
                </c:pt>
                <c:pt idx="2444">
                  <c:v>40080</c:v>
                </c:pt>
                <c:pt idx="2445">
                  <c:v>40081</c:v>
                </c:pt>
                <c:pt idx="2446">
                  <c:v>40084</c:v>
                </c:pt>
                <c:pt idx="2447">
                  <c:v>40085</c:v>
                </c:pt>
                <c:pt idx="2448">
                  <c:v>40086</c:v>
                </c:pt>
                <c:pt idx="2449">
                  <c:v>40087</c:v>
                </c:pt>
                <c:pt idx="2450">
                  <c:v>40088</c:v>
                </c:pt>
                <c:pt idx="2451">
                  <c:v>40091</c:v>
                </c:pt>
                <c:pt idx="2452">
                  <c:v>40092</c:v>
                </c:pt>
                <c:pt idx="2453">
                  <c:v>40093</c:v>
                </c:pt>
                <c:pt idx="2454">
                  <c:v>40094</c:v>
                </c:pt>
                <c:pt idx="2455">
                  <c:v>40095</c:v>
                </c:pt>
                <c:pt idx="2456">
                  <c:v>40099</c:v>
                </c:pt>
                <c:pt idx="2457">
                  <c:v>40100</c:v>
                </c:pt>
                <c:pt idx="2458">
                  <c:v>40101</c:v>
                </c:pt>
                <c:pt idx="2459">
                  <c:v>40102</c:v>
                </c:pt>
                <c:pt idx="2460">
                  <c:v>40105</c:v>
                </c:pt>
                <c:pt idx="2461">
                  <c:v>40106</c:v>
                </c:pt>
                <c:pt idx="2462">
                  <c:v>40107</c:v>
                </c:pt>
                <c:pt idx="2463">
                  <c:v>40108</c:v>
                </c:pt>
                <c:pt idx="2464">
                  <c:v>40109</c:v>
                </c:pt>
                <c:pt idx="2465">
                  <c:v>40112</c:v>
                </c:pt>
                <c:pt idx="2466">
                  <c:v>40113</c:v>
                </c:pt>
                <c:pt idx="2467">
                  <c:v>40114</c:v>
                </c:pt>
                <c:pt idx="2468">
                  <c:v>40115</c:v>
                </c:pt>
                <c:pt idx="2469">
                  <c:v>40116</c:v>
                </c:pt>
                <c:pt idx="2470">
                  <c:v>40120</c:v>
                </c:pt>
                <c:pt idx="2471">
                  <c:v>40121</c:v>
                </c:pt>
                <c:pt idx="2472">
                  <c:v>40122</c:v>
                </c:pt>
                <c:pt idx="2473">
                  <c:v>40123</c:v>
                </c:pt>
                <c:pt idx="2474">
                  <c:v>40126</c:v>
                </c:pt>
                <c:pt idx="2475">
                  <c:v>40127</c:v>
                </c:pt>
                <c:pt idx="2476">
                  <c:v>40128</c:v>
                </c:pt>
                <c:pt idx="2477">
                  <c:v>40129</c:v>
                </c:pt>
                <c:pt idx="2478">
                  <c:v>40130</c:v>
                </c:pt>
                <c:pt idx="2479">
                  <c:v>40133</c:v>
                </c:pt>
                <c:pt idx="2480">
                  <c:v>40134</c:v>
                </c:pt>
                <c:pt idx="2481">
                  <c:v>40135</c:v>
                </c:pt>
                <c:pt idx="2482">
                  <c:v>40136</c:v>
                </c:pt>
                <c:pt idx="2483">
                  <c:v>40137</c:v>
                </c:pt>
                <c:pt idx="2484">
                  <c:v>40140</c:v>
                </c:pt>
                <c:pt idx="2485">
                  <c:v>40141</c:v>
                </c:pt>
                <c:pt idx="2486">
                  <c:v>40142</c:v>
                </c:pt>
                <c:pt idx="2487">
                  <c:v>40143</c:v>
                </c:pt>
                <c:pt idx="2488">
                  <c:v>40144</c:v>
                </c:pt>
                <c:pt idx="2489">
                  <c:v>40147</c:v>
                </c:pt>
                <c:pt idx="2490">
                  <c:v>40148</c:v>
                </c:pt>
                <c:pt idx="2491">
                  <c:v>40149</c:v>
                </c:pt>
                <c:pt idx="2492">
                  <c:v>40150</c:v>
                </c:pt>
                <c:pt idx="2493">
                  <c:v>40151</c:v>
                </c:pt>
                <c:pt idx="2494">
                  <c:v>40154</c:v>
                </c:pt>
                <c:pt idx="2495">
                  <c:v>40155</c:v>
                </c:pt>
                <c:pt idx="2496">
                  <c:v>40156</c:v>
                </c:pt>
                <c:pt idx="2497">
                  <c:v>40157</c:v>
                </c:pt>
                <c:pt idx="2498">
                  <c:v>40158</c:v>
                </c:pt>
                <c:pt idx="2499">
                  <c:v>40161</c:v>
                </c:pt>
                <c:pt idx="2500">
                  <c:v>40162</c:v>
                </c:pt>
                <c:pt idx="2501">
                  <c:v>40163</c:v>
                </c:pt>
                <c:pt idx="2502">
                  <c:v>40164</c:v>
                </c:pt>
                <c:pt idx="2503">
                  <c:v>40165</c:v>
                </c:pt>
                <c:pt idx="2504">
                  <c:v>40168</c:v>
                </c:pt>
                <c:pt idx="2505">
                  <c:v>40169</c:v>
                </c:pt>
                <c:pt idx="2506">
                  <c:v>40170</c:v>
                </c:pt>
                <c:pt idx="2507">
                  <c:v>40171</c:v>
                </c:pt>
                <c:pt idx="2508">
                  <c:v>40175</c:v>
                </c:pt>
                <c:pt idx="2509">
                  <c:v>40176</c:v>
                </c:pt>
                <c:pt idx="2510">
                  <c:v>40177</c:v>
                </c:pt>
                <c:pt idx="2511">
                  <c:v>40178</c:v>
                </c:pt>
                <c:pt idx="2512">
                  <c:v>40182</c:v>
                </c:pt>
                <c:pt idx="2513">
                  <c:v>40183</c:v>
                </c:pt>
                <c:pt idx="2514">
                  <c:v>40184</c:v>
                </c:pt>
                <c:pt idx="2515">
                  <c:v>40185</c:v>
                </c:pt>
                <c:pt idx="2516">
                  <c:v>40186</c:v>
                </c:pt>
                <c:pt idx="2517">
                  <c:v>40189</c:v>
                </c:pt>
                <c:pt idx="2518">
                  <c:v>40190</c:v>
                </c:pt>
                <c:pt idx="2519">
                  <c:v>40191</c:v>
                </c:pt>
                <c:pt idx="2520">
                  <c:v>40192</c:v>
                </c:pt>
                <c:pt idx="2521">
                  <c:v>40193</c:v>
                </c:pt>
                <c:pt idx="2522">
                  <c:v>40196</c:v>
                </c:pt>
                <c:pt idx="2523">
                  <c:v>40197</c:v>
                </c:pt>
                <c:pt idx="2524">
                  <c:v>40198</c:v>
                </c:pt>
                <c:pt idx="2525">
                  <c:v>40199</c:v>
                </c:pt>
                <c:pt idx="2526">
                  <c:v>40200</c:v>
                </c:pt>
                <c:pt idx="2527">
                  <c:v>40203</c:v>
                </c:pt>
                <c:pt idx="2528">
                  <c:v>40204</c:v>
                </c:pt>
                <c:pt idx="2529">
                  <c:v>40205</c:v>
                </c:pt>
                <c:pt idx="2530">
                  <c:v>40206</c:v>
                </c:pt>
                <c:pt idx="2531">
                  <c:v>40207</c:v>
                </c:pt>
                <c:pt idx="2532">
                  <c:v>40210</c:v>
                </c:pt>
                <c:pt idx="2533">
                  <c:v>40211</c:v>
                </c:pt>
                <c:pt idx="2534">
                  <c:v>40212</c:v>
                </c:pt>
                <c:pt idx="2535">
                  <c:v>40213</c:v>
                </c:pt>
                <c:pt idx="2536">
                  <c:v>40214</c:v>
                </c:pt>
                <c:pt idx="2537">
                  <c:v>40217</c:v>
                </c:pt>
                <c:pt idx="2538">
                  <c:v>40218</c:v>
                </c:pt>
                <c:pt idx="2539">
                  <c:v>40219</c:v>
                </c:pt>
                <c:pt idx="2540">
                  <c:v>40220</c:v>
                </c:pt>
                <c:pt idx="2541">
                  <c:v>40221</c:v>
                </c:pt>
                <c:pt idx="2542">
                  <c:v>40226</c:v>
                </c:pt>
                <c:pt idx="2543">
                  <c:v>40227</c:v>
                </c:pt>
                <c:pt idx="2544">
                  <c:v>40228</c:v>
                </c:pt>
                <c:pt idx="2545">
                  <c:v>40231</c:v>
                </c:pt>
                <c:pt idx="2546">
                  <c:v>40232</c:v>
                </c:pt>
                <c:pt idx="2547">
                  <c:v>40233</c:v>
                </c:pt>
                <c:pt idx="2548">
                  <c:v>40234</c:v>
                </c:pt>
                <c:pt idx="2549">
                  <c:v>40235</c:v>
                </c:pt>
                <c:pt idx="2550">
                  <c:v>40238</c:v>
                </c:pt>
                <c:pt idx="2551">
                  <c:v>40239</c:v>
                </c:pt>
                <c:pt idx="2552">
                  <c:v>40240</c:v>
                </c:pt>
                <c:pt idx="2553">
                  <c:v>40241</c:v>
                </c:pt>
                <c:pt idx="2554">
                  <c:v>40242</c:v>
                </c:pt>
                <c:pt idx="2555">
                  <c:v>40245</c:v>
                </c:pt>
                <c:pt idx="2556">
                  <c:v>40246</c:v>
                </c:pt>
                <c:pt idx="2557">
                  <c:v>40247</c:v>
                </c:pt>
                <c:pt idx="2558">
                  <c:v>40248</c:v>
                </c:pt>
                <c:pt idx="2559">
                  <c:v>40249</c:v>
                </c:pt>
                <c:pt idx="2560">
                  <c:v>40252</c:v>
                </c:pt>
                <c:pt idx="2561">
                  <c:v>40253</c:v>
                </c:pt>
                <c:pt idx="2562">
                  <c:v>40254</c:v>
                </c:pt>
                <c:pt idx="2563">
                  <c:v>40255</c:v>
                </c:pt>
                <c:pt idx="2564">
                  <c:v>40256</c:v>
                </c:pt>
                <c:pt idx="2565">
                  <c:v>40259</c:v>
                </c:pt>
                <c:pt idx="2566">
                  <c:v>40260</c:v>
                </c:pt>
                <c:pt idx="2567">
                  <c:v>40261</c:v>
                </c:pt>
                <c:pt idx="2568">
                  <c:v>40262</c:v>
                </c:pt>
                <c:pt idx="2569">
                  <c:v>40263</c:v>
                </c:pt>
                <c:pt idx="2570">
                  <c:v>40266</c:v>
                </c:pt>
                <c:pt idx="2571">
                  <c:v>40267</c:v>
                </c:pt>
                <c:pt idx="2572">
                  <c:v>40268</c:v>
                </c:pt>
                <c:pt idx="2573">
                  <c:v>40269</c:v>
                </c:pt>
                <c:pt idx="2574">
                  <c:v>40273</c:v>
                </c:pt>
                <c:pt idx="2575">
                  <c:v>40274</c:v>
                </c:pt>
                <c:pt idx="2576">
                  <c:v>40275</c:v>
                </c:pt>
                <c:pt idx="2577">
                  <c:v>40276</c:v>
                </c:pt>
                <c:pt idx="2578">
                  <c:v>40277</c:v>
                </c:pt>
                <c:pt idx="2579">
                  <c:v>40280</c:v>
                </c:pt>
                <c:pt idx="2580">
                  <c:v>40281</c:v>
                </c:pt>
                <c:pt idx="2581">
                  <c:v>40282</c:v>
                </c:pt>
                <c:pt idx="2582">
                  <c:v>40283</c:v>
                </c:pt>
                <c:pt idx="2583">
                  <c:v>40284</c:v>
                </c:pt>
                <c:pt idx="2584">
                  <c:v>40287</c:v>
                </c:pt>
                <c:pt idx="2585">
                  <c:v>40288</c:v>
                </c:pt>
                <c:pt idx="2586">
                  <c:v>40290</c:v>
                </c:pt>
                <c:pt idx="2587">
                  <c:v>40291</c:v>
                </c:pt>
                <c:pt idx="2588">
                  <c:v>40294</c:v>
                </c:pt>
                <c:pt idx="2589">
                  <c:v>40295</c:v>
                </c:pt>
                <c:pt idx="2590">
                  <c:v>40296</c:v>
                </c:pt>
                <c:pt idx="2591">
                  <c:v>40297</c:v>
                </c:pt>
                <c:pt idx="2592">
                  <c:v>40298</c:v>
                </c:pt>
                <c:pt idx="2593">
                  <c:v>40301</c:v>
                </c:pt>
                <c:pt idx="2594">
                  <c:v>40302</c:v>
                </c:pt>
                <c:pt idx="2595">
                  <c:v>40303</c:v>
                </c:pt>
                <c:pt idx="2596">
                  <c:v>40304</c:v>
                </c:pt>
                <c:pt idx="2597">
                  <c:v>40305</c:v>
                </c:pt>
                <c:pt idx="2598">
                  <c:v>40308</c:v>
                </c:pt>
                <c:pt idx="2599">
                  <c:v>40309</c:v>
                </c:pt>
                <c:pt idx="2600">
                  <c:v>40310</c:v>
                </c:pt>
                <c:pt idx="2601">
                  <c:v>40311</c:v>
                </c:pt>
                <c:pt idx="2602">
                  <c:v>40312</c:v>
                </c:pt>
                <c:pt idx="2603">
                  <c:v>40315</c:v>
                </c:pt>
                <c:pt idx="2604">
                  <c:v>40316</c:v>
                </c:pt>
                <c:pt idx="2605">
                  <c:v>40317</c:v>
                </c:pt>
                <c:pt idx="2606">
                  <c:v>40318</c:v>
                </c:pt>
                <c:pt idx="2607">
                  <c:v>40319</c:v>
                </c:pt>
                <c:pt idx="2608">
                  <c:v>40322</c:v>
                </c:pt>
                <c:pt idx="2609">
                  <c:v>40323</c:v>
                </c:pt>
                <c:pt idx="2610">
                  <c:v>40324</c:v>
                </c:pt>
                <c:pt idx="2611">
                  <c:v>40325</c:v>
                </c:pt>
                <c:pt idx="2612">
                  <c:v>40326</c:v>
                </c:pt>
                <c:pt idx="2613">
                  <c:v>40329</c:v>
                </c:pt>
                <c:pt idx="2614">
                  <c:v>40330</c:v>
                </c:pt>
                <c:pt idx="2615">
                  <c:v>40331</c:v>
                </c:pt>
                <c:pt idx="2616">
                  <c:v>40333</c:v>
                </c:pt>
                <c:pt idx="2617">
                  <c:v>40336</c:v>
                </c:pt>
                <c:pt idx="2618">
                  <c:v>40337</c:v>
                </c:pt>
                <c:pt idx="2619">
                  <c:v>40338</c:v>
                </c:pt>
                <c:pt idx="2620">
                  <c:v>40339</c:v>
                </c:pt>
                <c:pt idx="2621">
                  <c:v>40340</c:v>
                </c:pt>
                <c:pt idx="2622">
                  <c:v>40343</c:v>
                </c:pt>
                <c:pt idx="2623">
                  <c:v>40344</c:v>
                </c:pt>
                <c:pt idx="2624">
                  <c:v>40345</c:v>
                </c:pt>
                <c:pt idx="2625">
                  <c:v>40346</c:v>
                </c:pt>
                <c:pt idx="2626">
                  <c:v>40347</c:v>
                </c:pt>
                <c:pt idx="2627">
                  <c:v>40350</c:v>
                </c:pt>
                <c:pt idx="2628">
                  <c:v>40351</c:v>
                </c:pt>
                <c:pt idx="2629">
                  <c:v>40352</c:v>
                </c:pt>
                <c:pt idx="2630">
                  <c:v>40353</c:v>
                </c:pt>
                <c:pt idx="2631">
                  <c:v>40354</c:v>
                </c:pt>
                <c:pt idx="2632">
                  <c:v>40357</c:v>
                </c:pt>
                <c:pt idx="2633">
                  <c:v>40358</c:v>
                </c:pt>
                <c:pt idx="2634">
                  <c:v>40359</c:v>
                </c:pt>
                <c:pt idx="2635">
                  <c:v>40360</c:v>
                </c:pt>
                <c:pt idx="2636">
                  <c:v>40361</c:v>
                </c:pt>
                <c:pt idx="2637">
                  <c:v>40364</c:v>
                </c:pt>
                <c:pt idx="2638">
                  <c:v>40365</c:v>
                </c:pt>
                <c:pt idx="2639">
                  <c:v>40366</c:v>
                </c:pt>
                <c:pt idx="2640">
                  <c:v>40367</c:v>
                </c:pt>
                <c:pt idx="2641">
                  <c:v>40368</c:v>
                </c:pt>
                <c:pt idx="2642">
                  <c:v>40371</c:v>
                </c:pt>
                <c:pt idx="2643">
                  <c:v>40372</c:v>
                </c:pt>
                <c:pt idx="2644">
                  <c:v>40373</c:v>
                </c:pt>
                <c:pt idx="2645">
                  <c:v>40374</c:v>
                </c:pt>
                <c:pt idx="2646">
                  <c:v>40375</c:v>
                </c:pt>
                <c:pt idx="2647">
                  <c:v>40378</c:v>
                </c:pt>
                <c:pt idx="2648">
                  <c:v>40379</c:v>
                </c:pt>
                <c:pt idx="2649">
                  <c:v>40380</c:v>
                </c:pt>
                <c:pt idx="2650">
                  <c:v>40381</c:v>
                </c:pt>
                <c:pt idx="2651">
                  <c:v>40382</c:v>
                </c:pt>
                <c:pt idx="2652">
                  <c:v>40385</c:v>
                </c:pt>
                <c:pt idx="2653">
                  <c:v>40386</c:v>
                </c:pt>
                <c:pt idx="2654">
                  <c:v>40387</c:v>
                </c:pt>
                <c:pt idx="2655">
                  <c:v>40388</c:v>
                </c:pt>
                <c:pt idx="2656">
                  <c:v>40389</c:v>
                </c:pt>
                <c:pt idx="2657">
                  <c:v>40392</c:v>
                </c:pt>
                <c:pt idx="2658">
                  <c:v>40393</c:v>
                </c:pt>
                <c:pt idx="2659">
                  <c:v>40394</c:v>
                </c:pt>
                <c:pt idx="2660">
                  <c:v>40395</c:v>
                </c:pt>
                <c:pt idx="2661">
                  <c:v>40396</c:v>
                </c:pt>
                <c:pt idx="2662">
                  <c:v>40399</c:v>
                </c:pt>
                <c:pt idx="2663">
                  <c:v>40400</c:v>
                </c:pt>
                <c:pt idx="2664">
                  <c:v>40401</c:v>
                </c:pt>
                <c:pt idx="2665">
                  <c:v>40402</c:v>
                </c:pt>
                <c:pt idx="2666">
                  <c:v>40403</c:v>
                </c:pt>
                <c:pt idx="2667">
                  <c:v>40406</c:v>
                </c:pt>
                <c:pt idx="2668">
                  <c:v>40407</c:v>
                </c:pt>
                <c:pt idx="2669">
                  <c:v>40408</c:v>
                </c:pt>
                <c:pt idx="2670">
                  <c:v>40409</c:v>
                </c:pt>
                <c:pt idx="2671">
                  <c:v>40410</c:v>
                </c:pt>
                <c:pt idx="2672">
                  <c:v>40413</c:v>
                </c:pt>
                <c:pt idx="2673">
                  <c:v>40414</c:v>
                </c:pt>
                <c:pt idx="2674">
                  <c:v>40415</c:v>
                </c:pt>
                <c:pt idx="2675">
                  <c:v>40416</c:v>
                </c:pt>
                <c:pt idx="2676">
                  <c:v>40417</c:v>
                </c:pt>
                <c:pt idx="2677">
                  <c:v>40420</c:v>
                </c:pt>
                <c:pt idx="2678">
                  <c:v>40421</c:v>
                </c:pt>
                <c:pt idx="2679">
                  <c:v>40422</c:v>
                </c:pt>
                <c:pt idx="2680">
                  <c:v>40423</c:v>
                </c:pt>
                <c:pt idx="2681">
                  <c:v>40424</c:v>
                </c:pt>
                <c:pt idx="2682">
                  <c:v>40427</c:v>
                </c:pt>
                <c:pt idx="2683">
                  <c:v>40429</c:v>
                </c:pt>
                <c:pt idx="2684">
                  <c:v>40430</c:v>
                </c:pt>
                <c:pt idx="2685">
                  <c:v>40431</c:v>
                </c:pt>
                <c:pt idx="2686">
                  <c:v>40434</c:v>
                </c:pt>
                <c:pt idx="2687">
                  <c:v>40435</c:v>
                </c:pt>
                <c:pt idx="2688">
                  <c:v>40436</c:v>
                </c:pt>
                <c:pt idx="2689">
                  <c:v>40437</c:v>
                </c:pt>
                <c:pt idx="2690">
                  <c:v>40438</c:v>
                </c:pt>
                <c:pt idx="2691">
                  <c:v>40441</c:v>
                </c:pt>
                <c:pt idx="2692">
                  <c:v>40442</c:v>
                </c:pt>
                <c:pt idx="2693">
                  <c:v>40443</c:v>
                </c:pt>
                <c:pt idx="2694">
                  <c:v>40444</c:v>
                </c:pt>
                <c:pt idx="2695">
                  <c:v>40445</c:v>
                </c:pt>
                <c:pt idx="2696">
                  <c:v>40448</c:v>
                </c:pt>
                <c:pt idx="2697">
                  <c:v>40449</c:v>
                </c:pt>
                <c:pt idx="2698">
                  <c:v>40450</c:v>
                </c:pt>
                <c:pt idx="2699">
                  <c:v>40451</c:v>
                </c:pt>
                <c:pt idx="2700">
                  <c:v>40452</c:v>
                </c:pt>
                <c:pt idx="2701">
                  <c:v>40455</c:v>
                </c:pt>
                <c:pt idx="2702">
                  <c:v>40456</c:v>
                </c:pt>
                <c:pt idx="2703">
                  <c:v>40457</c:v>
                </c:pt>
                <c:pt idx="2704">
                  <c:v>40458</c:v>
                </c:pt>
                <c:pt idx="2705">
                  <c:v>40459</c:v>
                </c:pt>
                <c:pt idx="2706">
                  <c:v>40462</c:v>
                </c:pt>
                <c:pt idx="2707">
                  <c:v>40464</c:v>
                </c:pt>
                <c:pt idx="2708">
                  <c:v>40465</c:v>
                </c:pt>
                <c:pt idx="2709">
                  <c:v>40466</c:v>
                </c:pt>
                <c:pt idx="2710">
                  <c:v>40469</c:v>
                </c:pt>
                <c:pt idx="2711">
                  <c:v>40470</c:v>
                </c:pt>
                <c:pt idx="2712">
                  <c:v>40471</c:v>
                </c:pt>
                <c:pt idx="2713">
                  <c:v>40472</c:v>
                </c:pt>
                <c:pt idx="2714">
                  <c:v>40473</c:v>
                </c:pt>
                <c:pt idx="2715">
                  <c:v>40476</c:v>
                </c:pt>
                <c:pt idx="2716">
                  <c:v>40477</c:v>
                </c:pt>
                <c:pt idx="2717">
                  <c:v>40478</c:v>
                </c:pt>
                <c:pt idx="2718">
                  <c:v>40479</c:v>
                </c:pt>
                <c:pt idx="2719">
                  <c:v>40480</c:v>
                </c:pt>
                <c:pt idx="2720">
                  <c:v>40483</c:v>
                </c:pt>
                <c:pt idx="2721">
                  <c:v>40485</c:v>
                </c:pt>
                <c:pt idx="2722">
                  <c:v>40486</c:v>
                </c:pt>
                <c:pt idx="2723">
                  <c:v>40487</c:v>
                </c:pt>
                <c:pt idx="2724">
                  <c:v>40490</c:v>
                </c:pt>
                <c:pt idx="2725">
                  <c:v>40491</c:v>
                </c:pt>
                <c:pt idx="2726">
                  <c:v>40492</c:v>
                </c:pt>
                <c:pt idx="2727">
                  <c:v>40493</c:v>
                </c:pt>
                <c:pt idx="2728">
                  <c:v>40494</c:v>
                </c:pt>
                <c:pt idx="2729">
                  <c:v>40498</c:v>
                </c:pt>
                <c:pt idx="2730">
                  <c:v>40499</c:v>
                </c:pt>
                <c:pt idx="2731">
                  <c:v>40500</c:v>
                </c:pt>
                <c:pt idx="2732">
                  <c:v>40501</c:v>
                </c:pt>
                <c:pt idx="2733">
                  <c:v>40504</c:v>
                </c:pt>
                <c:pt idx="2734">
                  <c:v>40505</c:v>
                </c:pt>
                <c:pt idx="2735">
                  <c:v>40506</c:v>
                </c:pt>
                <c:pt idx="2736">
                  <c:v>40507</c:v>
                </c:pt>
                <c:pt idx="2737">
                  <c:v>40508</c:v>
                </c:pt>
                <c:pt idx="2738">
                  <c:v>40511</c:v>
                </c:pt>
                <c:pt idx="2739">
                  <c:v>40512</c:v>
                </c:pt>
                <c:pt idx="2740">
                  <c:v>40513</c:v>
                </c:pt>
                <c:pt idx="2741">
                  <c:v>40514</c:v>
                </c:pt>
                <c:pt idx="2742">
                  <c:v>40515</c:v>
                </c:pt>
                <c:pt idx="2743">
                  <c:v>40518</c:v>
                </c:pt>
                <c:pt idx="2744">
                  <c:v>40519</c:v>
                </c:pt>
                <c:pt idx="2745">
                  <c:v>40520</c:v>
                </c:pt>
                <c:pt idx="2746">
                  <c:v>40521</c:v>
                </c:pt>
                <c:pt idx="2747">
                  <c:v>40522</c:v>
                </c:pt>
                <c:pt idx="2748">
                  <c:v>40525</c:v>
                </c:pt>
                <c:pt idx="2749">
                  <c:v>40526</c:v>
                </c:pt>
                <c:pt idx="2750">
                  <c:v>40527</c:v>
                </c:pt>
                <c:pt idx="2751">
                  <c:v>40528</c:v>
                </c:pt>
                <c:pt idx="2752">
                  <c:v>40529</c:v>
                </c:pt>
                <c:pt idx="2753">
                  <c:v>40532</c:v>
                </c:pt>
                <c:pt idx="2754">
                  <c:v>40533</c:v>
                </c:pt>
                <c:pt idx="2755">
                  <c:v>40534</c:v>
                </c:pt>
                <c:pt idx="2756">
                  <c:v>40535</c:v>
                </c:pt>
                <c:pt idx="2757">
                  <c:v>40536</c:v>
                </c:pt>
                <c:pt idx="2758">
                  <c:v>40539</c:v>
                </c:pt>
                <c:pt idx="2759">
                  <c:v>40540</c:v>
                </c:pt>
                <c:pt idx="2760">
                  <c:v>40541</c:v>
                </c:pt>
                <c:pt idx="2761">
                  <c:v>40542</c:v>
                </c:pt>
                <c:pt idx="2762">
                  <c:v>40543</c:v>
                </c:pt>
                <c:pt idx="2763">
                  <c:v>40546</c:v>
                </c:pt>
                <c:pt idx="2764">
                  <c:v>40547</c:v>
                </c:pt>
                <c:pt idx="2765">
                  <c:v>40548</c:v>
                </c:pt>
                <c:pt idx="2766">
                  <c:v>40549</c:v>
                </c:pt>
                <c:pt idx="2767">
                  <c:v>40550</c:v>
                </c:pt>
                <c:pt idx="2768">
                  <c:v>40553</c:v>
                </c:pt>
                <c:pt idx="2769">
                  <c:v>40554</c:v>
                </c:pt>
                <c:pt idx="2770">
                  <c:v>40555</c:v>
                </c:pt>
                <c:pt idx="2771">
                  <c:v>40556</c:v>
                </c:pt>
                <c:pt idx="2772">
                  <c:v>40557</c:v>
                </c:pt>
                <c:pt idx="2773">
                  <c:v>40560</c:v>
                </c:pt>
                <c:pt idx="2774">
                  <c:v>40561</c:v>
                </c:pt>
                <c:pt idx="2775">
                  <c:v>40562</c:v>
                </c:pt>
                <c:pt idx="2776">
                  <c:v>40563</c:v>
                </c:pt>
                <c:pt idx="2777">
                  <c:v>40564</c:v>
                </c:pt>
                <c:pt idx="2778">
                  <c:v>40567</c:v>
                </c:pt>
                <c:pt idx="2779">
                  <c:v>40568</c:v>
                </c:pt>
                <c:pt idx="2780">
                  <c:v>40569</c:v>
                </c:pt>
                <c:pt idx="2781">
                  <c:v>40570</c:v>
                </c:pt>
                <c:pt idx="2782">
                  <c:v>40571</c:v>
                </c:pt>
                <c:pt idx="2783">
                  <c:v>40574</c:v>
                </c:pt>
                <c:pt idx="2784">
                  <c:v>40575</c:v>
                </c:pt>
                <c:pt idx="2785">
                  <c:v>40576</c:v>
                </c:pt>
                <c:pt idx="2786">
                  <c:v>40577</c:v>
                </c:pt>
                <c:pt idx="2787">
                  <c:v>40578</c:v>
                </c:pt>
                <c:pt idx="2788">
                  <c:v>40581</c:v>
                </c:pt>
                <c:pt idx="2789">
                  <c:v>40582</c:v>
                </c:pt>
                <c:pt idx="2790">
                  <c:v>40583</c:v>
                </c:pt>
                <c:pt idx="2791">
                  <c:v>40584</c:v>
                </c:pt>
                <c:pt idx="2792">
                  <c:v>40585</c:v>
                </c:pt>
                <c:pt idx="2793">
                  <c:v>40588</c:v>
                </c:pt>
                <c:pt idx="2794">
                  <c:v>40589</c:v>
                </c:pt>
                <c:pt idx="2795">
                  <c:v>40590</c:v>
                </c:pt>
                <c:pt idx="2796">
                  <c:v>40591</c:v>
                </c:pt>
                <c:pt idx="2797">
                  <c:v>40592</c:v>
                </c:pt>
                <c:pt idx="2798">
                  <c:v>40595</c:v>
                </c:pt>
                <c:pt idx="2799">
                  <c:v>40596</c:v>
                </c:pt>
                <c:pt idx="2800">
                  <c:v>40597</c:v>
                </c:pt>
                <c:pt idx="2801">
                  <c:v>40598</c:v>
                </c:pt>
                <c:pt idx="2802">
                  <c:v>40599</c:v>
                </c:pt>
                <c:pt idx="2803">
                  <c:v>40602</c:v>
                </c:pt>
                <c:pt idx="2804">
                  <c:v>40603</c:v>
                </c:pt>
                <c:pt idx="2805">
                  <c:v>40604</c:v>
                </c:pt>
                <c:pt idx="2806">
                  <c:v>40605</c:v>
                </c:pt>
                <c:pt idx="2807">
                  <c:v>40606</c:v>
                </c:pt>
                <c:pt idx="2808">
                  <c:v>40611</c:v>
                </c:pt>
                <c:pt idx="2809">
                  <c:v>40612</c:v>
                </c:pt>
                <c:pt idx="2810">
                  <c:v>40613</c:v>
                </c:pt>
                <c:pt idx="2811">
                  <c:v>40616</c:v>
                </c:pt>
                <c:pt idx="2812">
                  <c:v>40617</c:v>
                </c:pt>
                <c:pt idx="2813">
                  <c:v>40618</c:v>
                </c:pt>
                <c:pt idx="2814">
                  <c:v>40619</c:v>
                </c:pt>
                <c:pt idx="2815">
                  <c:v>40620</c:v>
                </c:pt>
                <c:pt idx="2816">
                  <c:v>40623</c:v>
                </c:pt>
                <c:pt idx="2817">
                  <c:v>40624</c:v>
                </c:pt>
                <c:pt idx="2818">
                  <c:v>40625</c:v>
                </c:pt>
                <c:pt idx="2819">
                  <c:v>40626</c:v>
                </c:pt>
                <c:pt idx="2820">
                  <c:v>40627</c:v>
                </c:pt>
                <c:pt idx="2821">
                  <c:v>40630</c:v>
                </c:pt>
                <c:pt idx="2822">
                  <c:v>40631</c:v>
                </c:pt>
                <c:pt idx="2823">
                  <c:v>40632</c:v>
                </c:pt>
                <c:pt idx="2824">
                  <c:v>40633</c:v>
                </c:pt>
                <c:pt idx="2825">
                  <c:v>40634</c:v>
                </c:pt>
                <c:pt idx="2826">
                  <c:v>40637</c:v>
                </c:pt>
                <c:pt idx="2827">
                  <c:v>40638</c:v>
                </c:pt>
                <c:pt idx="2828">
                  <c:v>40639</c:v>
                </c:pt>
                <c:pt idx="2829">
                  <c:v>40640</c:v>
                </c:pt>
                <c:pt idx="2830">
                  <c:v>40641</c:v>
                </c:pt>
                <c:pt idx="2831">
                  <c:v>40644</c:v>
                </c:pt>
                <c:pt idx="2832">
                  <c:v>40645</c:v>
                </c:pt>
                <c:pt idx="2833">
                  <c:v>40646</c:v>
                </c:pt>
                <c:pt idx="2834">
                  <c:v>40647</c:v>
                </c:pt>
                <c:pt idx="2835">
                  <c:v>40648</c:v>
                </c:pt>
                <c:pt idx="2836">
                  <c:v>40651</c:v>
                </c:pt>
                <c:pt idx="2837">
                  <c:v>40652</c:v>
                </c:pt>
                <c:pt idx="2838">
                  <c:v>40653</c:v>
                </c:pt>
                <c:pt idx="2839">
                  <c:v>40658</c:v>
                </c:pt>
                <c:pt idx="2840">
                  <c:v>40659</c:v>
                </c:pt>
                <c:pt idx="2841">
                  <c:v>40660</c:v>
                </c:pt>
                <c:pt idx="2842">
                  <c:v>40661</c:v>
                </c:pt>
                <c:pt idx="2843">
                  <c:v>40662</c:v>
                </c:pt>
                <c:pt idx="2844">
                  <c:v>40665</c:v>
                </c:pt>
                <c:pt idx="2845">
                  <c:v>40666</c:v>
                </c:pt>
                <c:pt idx="2846">
                  <c:v>40667</c:v>
                </c:pt>
                <c:pt idx="2847">
                  <c:v>40668</c:v>
                </c:pt>
                <c:pt idx="2848">
                  <c:v>40669</c:v>
                </c:pt>
                <c:pt idx="2849">
                  <c:v>40672</c:v>
                </c:pt>
                <c:pt idx="2850">
                  <c:v>40673</c:v>
                </c:pt>
                <c:pt idx="2851">
                  <c:v>40674</c:v>
                </c:pt>
                <c:pt idx="2852">
                  <c:v>40675</c:v>
                </c:pt>
                <c:pt idx="2853">
                  <c:v>40676</c:v>
                </c:pt>
                <c:pt idx="2854">
                  <c:v>40679</c:v>
                </c:pt>
                <c:pt idx="2855">
                  <c:v>40680</c:v>
                </c:pt>
                <c:pt idx="2856">
                  <c:v>40681</c:v>
                </c:pt>
                <c:pt idx="2857">
                  <c:v>40682</c:v>
                </c:pt>
                <c:pt idx="2858">
                  <c:v>40683</c:v>
                </c:pt>
                <c:pt idx="2859">
                  <c:v>40686</c:v>
                </c:pt>
                <c:pt idx="2860">
                  <c:v>40687</c:v>
                </c:pt>
                <c:pt idx="2861">
                  <c:v>40688</c:v>
                </c:pt>
                <c:pt idx="2862">
                  <c:v>40689</c:v>
                </c:pt>
                <c:pt idx="2863">
                  <c:v>40690</c:v>
                </c:pt>
                <c:pt idx="2864">
                  <c:v>40693</c:v>
                </c:pt>
                <c:pt idx="2865">
                  <c:v>40694</c:v>
                </c:pt>
                <c:pt idx="2866">
                  <c:v>40695</c:v>
                </c:pt>
                <c:pt idx="2867">
                  <c:v>40696</c:v>
                </c:pt>
                <c:pt idx="2868">
                  <c:v>40697</c:v>
                </c:pt>
                <c:pt idx="2869">
                  <c:v>40700</c:v>
                </c:pt>
                <c:pt idx="2870">
                  <c:v>40701</c:v>
                </c:pt>
                <c:pt idx="2871">
                  <c:v>40702</c:v>
                </c:pt>
                <c:pt idx="2872">
                  <c:v>40703</c:v>
                </c:pt>
                <c:pt idx="2873">
                  <c:v>40704</c:v>
                </c:pt>
                <c:pt idx="2874">
                  <c:v>40707</c:v>
                </c:pt>
                <c:pt idx="2875">
                  <c:v>40708</c:v>
                </c:pt>
                <c:pt idx="2876">
                  <c:v>40709</c:v>
                </c:pt>
                <c:pt idx="2877">
                  <c:v>40710</c:v>
                </c:pt>
                <c:pt idx="2878">
                  <c:v>40711</c:v>
                </c:pt>
                <c:pt idx="2879">
                  <c:v>40714</c:v>
                </c:pt>
                <c:pt idx="2880">
                  <c:v>40715</c:v>
                </c:pt>
                <c:pt idx="2881">
                  <c:v>40716</c:v>
                </c:pt>
                <c:pt idx="2882">
                  <c:v>40718</c:v>
                </c:pt>
                <c:pt idx="2883">
                  <c:v>40721</c:v>
                </c:pt>
                <c:pt idx="2884">
                  <c:v>40722</c:v>
                </c:pt>
                <c:pt idx="2885">
                  <c:v>40723</c:v>
                </c:pt>
                <c:pt idx="2886">
                  <c:v>40724</c:v>
                </c:pt>
                <c:pt idx="2887">
                  <c:v>40725</c:v>
                </c:pt>
                <c:pt idx="2888">
                  <c:v>40728</c:v>
                </c:pt>
                <c:pt idx="2889">
                  <c:v>40729</c:v>
                </c:pt>
                <c:pt idx="2890">
                  <c:v>40730</c:v>
                </c:pt>
                <c:pt idx="2891">
                  <c:v>40731</c:v>
                </c:pt>
                <c:pt idx="2892">
                  <c:v>40732</c:v>
                </c:pt>
                <c:pt idx="2893">
                  <c:v>40735</c:v>
                </c:pt>
                <c:pt idx="2894">
                  <c:v>40736</c:v>
                </c:pt>
                <c:pt idx="2895">
                  <c:v>40737</c:v>
                </c:pt>
                <c:pt idx="2896">
                  <c:v>40738</c:v>
                </c:pt>
                <c:pt idx="2897">
                  <c:v>40739</c:v>
                </c:pt>
                <c:pt idx="2898">
                  <c:v>40742</c:v>
                </c:pt>
                <c:pt idx="2899">
                  <c:v>40743</c:v>
                </c:pt>
                <c:pt idx="2900">
                  <c:v>40744</c:v>
                </c:pt>
                <c:pt idx="2901">
                  <c:v>40745</c:v>
                </c:pt>
                <c:pt idx="2902">
                  <c:v>40746</c:v>
                </c:pt>
                <c:pt idx="2903">
                  <c:v>40749</c:v>
                </c:pt>
                <c:pt idx="2904">
                  <c:v>40750</c:v>
                </c:pt>
                <c:pt idx="2905">
                  <c:v>40751</c:v>
                </c:pt>
                <c:pt idx="2906">
                  <c:v>40752</c:v>
                </c:pt>
                <c:pt idx="2907">
                  <c:v>40753</c:v>
                </c:pt>
                <c:pt idx="2908">
                  <c:v>40756</c:v>
                </c:pt>
                <c:pt idx="2909">
                  <c:v>40757</c:v>
                </c:pt>
                <c:pt idx="2910">
                  <c:v>40758</c:v>
                </c:pt>
                <c:pt idx="2911">
                  <c:v>40759</c:v>
                </c:pt>
                <c:pt idx="2912">
                  <c:v>40760</c:v>
                </c:pt>
                <c:pt idx="2913">
                  <c:v>40763</c:v>
                </c:pt>
                <c:pt idx="2914">
                  <c:v>40764</c:v>
                </c:pt>
                <c:pt idx="2915">
                  <c:v>40765</c:v>
                </c:pt>
                <c:pt idx="2916">
                  <c:v>40766</c:v>
                </c:pt>
                <c:pt idx="2917">
                  <c:v>40767</c:v>
                </c:pt>
                <c:pt idx="2918">
                  <c:v>40770</c:v>
                </c:pt>
                <c:pt idx="2919">
                  <c:v>40771</c:v>
                </c:pt>
                <c:pt idx="2920">
                  <c:v>40772</c:v>
                </c:pt>
                <c:pt idx="2921">
                  <c:v>40773</c:v>
                </c:pt>
                <c:pt idx="2922">
                  <c:v>40774</c:v>
                </c:pt>
                <c:pt idx="2923">
                  <c:v>40777</c:v>
                </c:pt>
                <c:pt idx="2924">
                  <c:v>40778</c:v>
                </c:pt>
                <c:pt idx="2925">
                  <c:v>40779</c:v>
                </c:pt>
                <c:pt idx="2926">
                  <c:v>40780</c:v>
                </c:pt>
                <c:pt idx="2927">
                  <c:v>40781</c:v>
                </c:pt>
                <c:pt idx="2928">
                  <c:v>40784</c:v>
                </c:pt>
                <c:pt idx="2929">
                  <c:v>40785</c:v>
                </c:pt>
                <c:pt idx="2930">
                  <c:v>40786</c:v>
                </c:pt>
                <c:pt idx="2931">
                  <c:v>40787</c:v>
                </c:pt>
                <c:pt idx="2932">
                  <c:v>40788</c:v>
                </c:pt>
                <c:pt idx="2933">
                  <c:v>40791</c:v>
                </c:pt>
                <c:pt idx="2934">
                  <c:v>40792</c:v>
                </c:pt>
                <c:pt idx="2935">
                  <c:v>40794</c:v>
                </c:pt>
                <c:pt idx="2936">
                  <c:v>40795</c:v>
                </c:pt>
                <c:pt idx="2937">
                  <c:v>40798</c:v>
                </c:pt>
                <c:pt idx="2938">
                  <c:v>40799</c:v>
                </c:pt>
                <c:pt idx="2939">
                  <c:v>40800</c:v>
                </c:pt>
                <c:pt idx="2940">
                  <c:v>40801</c:v>
                </c:pt>
                <c:pt idx="2941">
                  <c:v>40802</c:v>
                </c:pt>
                <c:pt idx="2942">
                  <c:v>40805</c:v>
                </c:pt>
                <c:pt idx="2943">
                  <c:v>40806</c:v>
                </c:pt>
                <c:pt idx="2944">
                  <c:v>40807</c:v>
                </c:pt>
                <c:pt idx="2945">
                  <c:v>40808</c:v>
                </c:pt>
                <c:pt idx="2946">
                  <c:v>40809</c:v>
                </c:pt>
                <c:pt idx="2947">
                  <c:v>40812</c:v>
                </c:pt>
                <c:pt idx="2948">
                  <c:v>40813</c:v>
                </c:pt>
                <c:pt idx="2949">
                  <c:v>40814</c:v>
                </c:pt>
                <c:pt idx="2950">
                  <c:v>40815</c:v>
                </c:pt>
                <c:pt idx="2951">
                  <c:v>40816</c:v>
                </c:pt>
                <c:pt idx="2952">
                  <c:v>40819</c:v>
                </c:pt>
                <c:pt idx="2953">
                  <c:v>40820</c:v>
                </c:pt>
                <c:pt idx="2954">
                  <c:v>40821</c:v>
                </c:pt>
                <c:pt idx="2955">
                  <c:v>40822</c:v>
                </c:pt>
                <c:pt idx="2956">
                  <c:v>40823</c:v>
                </c:pt>
                <c:pt idx="2957">
                  <c:v>40826</c:v>
                </c:pt>
                <c:pt idx="2958">
                  <c:v>40827</c:v>
                </c:pt>
                <c:pt idx="2959">
                  <c:v>40829</c:v>
                </c:pt>
                <c:pt idx="2960">
                  <c:v>40830</c:v>
                </c:pt>
                <c:pt idx="2961">
                  <c:v>40833</c:v>
                </c:pt>
                <c:pt idx="2962">
                  <c:v>40834</c:v>
                </c:pt>
                <c:pt idx="2963">
                  <c:v>40835</c:v>
                </c:pt>
                <c:pt idx="2964">
                  <c:v>40836</c:v>
                </c:pt>
                <c:pt idx="2965">
                  <c:v>40837</c:v>
                </c:pt>
                <c:pt idx="2966">
                  <c:v>40840</c:v>
                </c:pt>
                <c:pt idx="2967">
                  <c:v>40841</c:v>
                </c:pt>
                <c:pt idx="2968">
                  <c:v>40842</c:v>
                </c:pt>
                <c:pt idx="2969">
                  <c:v>40843</c:v>
                </c:pt>
                <c:pt idx="2970">
                  <c:v>40844</c:v>
                </c:pt>
                <c:pt idx="2971">
                  <c:v>40847</c:v>
                </c:pt>
                <c:pt idx="2972">
                  <c:v>40848</c:v>
                </c:pt>
                <c:pt idx="2973">
                  <c:v>40850</c:v>
                </c:pt>
                <c:pt idx="2974">
                  <c:v>40851</c:v>
                </c:pt>
                <c:pt idx="2975">
                  <c:v>40854</c:v>
                </c:pt>
                <c:pt idx="2976">
                  <c:v>40855</c:v>
                </c:pt>
                <c:pt idx="2977">
                  <c:v>40856</c:v>
                </c:pt>
                <c:pt idx="2978">
                  <c:v>40857</c:v>
                </c:pt>
                <c:pt idx="2979">
                  <c:v>40858</c:v>
                </c:pt>
                <c:pt idx="2980">
                  <c:v>40861</c:v>
                </c:pt>
                <c:pt idx="2981">
                  <c:v>40863</c:v>
                </c:pt>
                <c:pt idx="2982">
                  <c:v>40864</c:v>
                </c:pt>
                <c:pt idx="2983">
                  <c:v>40865</c:v>
                </c:pt>
                <c:pt idx="2984">
                  <c:v>40868</c:v>
                </c:pt>
                <c:pt idx="2985">
                  <c:v>40869</c:v>
                </c:pt>
                <c:pt idx="2986">
                  <c:v>40870</c:v>
                </c:pt>
                <c:pt idx="2987">
                  <c:v>40871</c:v>
                </c:pt>
                <c:pt idx="2988">
                  <c:v>40872</c:v>
                </c:pt>
                <c:pt idx="2989">
                  <c:v>40875</c:v>
                </c:pt>
                <c:pt idx="2990">
                  <c:v>40876</c:v>
                </c:pt>
                <c:pt idx="2991">
                  <c:v>40877</c:v>
                </c:pt>
                <c:pt idx="2992">
                  <c:v>40878</c:v>
                </c:pt>
                <c:pt idx="2993">
                  <c:v>40879</c:v>
                </c:pt>
                <c:pt idx="2994">
                  <c:v>40882</c:v>
                </c:pt>
                <c:pt idx="2995">
                  <c:v>40883</c:v>
                </c:pt>
                <c:pt idx="2996">
                  <c:v>40884</c:v>
                </c:pt>
                <c:pt idx="2997">
                  <c:v>40885</c:v>
                </c:pt>
                <c:pt idx="2998">
                  <c:v>40886</c:v>
                </c:pt>
                <c:pt idx="2999">
                  <c:v>40889</c:v>
                </c:pt>
                <c:pt idx="3000">
                  <c:v>40890</c:v>
                </c:pt>
                <c:pt idx="3001">
                  <c:v>40891</c:v>
                </c:pt>
                <c:pt idx="3002">
                  <c:v>40892</c:v>
                </c:pt>
                <c:pt idx="3003">
                  <c:v>40893</c:v>
                </c:pt>
                <c:pt idx="3004">
                  <c:v>40896</c:v>
                </c:pt>
                <c:pt idx="3005">
                  <c:v>40897</c:v>
                </c:pt>
                <c:pt idx="3006">
                  <c:v>40898</c:v>
                </c:pt>
                <c:pt idx="3007">
                  <c:v>40899</c:v>
                </c:pt>
                <c:pt idx="3008">
                  <c:v>40900</c:v>
                </c:pt>
                <c:pt idx="3009">
                  <c:v>40903</c:v>
                </c:pt>
                <c:pt idx="3010">
                  <c:v>40904</c:v>
                </c:pt>
                <c:pt idx="3011">
                  <c:v>40905</c:v>
                </c:pt>
                <c:pt idx="3012">
                  <c:v>40906</c:v>
                </c:pt>
                <c:pt idx="3013">
                  <c:v>40907</c:v>
                </c:pt>
                <c:pt idx="3014">
                  <c:v>40910</c:v>
                </c:pt>
                <c:pt idx="3015">
                  <c:v>40911</c:v>
                </c:pt>
                <c:pt idx="3016">
                  <c:v>40912</c:v>
                </c:pt>
                <c:pt idx="3017">
                  <c:v>40913</c:v>
                </c:pt>
                <c:pt idx="3018">
                  <c:v>40914</c:v>
                </c:pt>
                <c:pt idx="3019">
                  <c:v>40917</c:v>
                </c:pt>
                <c:pt idx="3020">
                  <c:v>40918</c:v>
                </c:pt>
                <c:pt idx="3021">
                  <c:v>40919</c:v>
                </c:pt>
                <c:pt idx="3022">
                  <c:v>40920</c:v>
                </c:pt>
                <c:pt idx="3023">
                  <c:v>40921</c:v>
                </c:pt>
                <c:pt idx="3024">
                  <c:v>40924</c:v>
                </c:pt>
                <c:pt idx="3025">
                  <c:v>40925</c:v>
                </c:pt>
                <c:pt idx="3026">
                  <c:v>40926</c:v>
                </c:pt>
                <c:pt idx="3027">
                  <c:v>40927</c:v>
                </c:pt>
                <c:pt idx="3028">
                  <c:v>40928</c:v>
                </c:pt>
                <c:pt idx="3029">
                  <c:v>40931</c:v>
                </c:pt>
                <c:pt idx="3030">
                  <c:v>40932</c:v>
                </c:pt>
                <c:pt idx="3031">
                  <c:v>40933</c:v>
                </c:pt>
                <c:pt idx="3032">
                  <c:v>40934</c:v>
                </c:pt>
                <c:pt idx="3033">
                  <c:v>40935</c:v>
                </c:pt>
                <c:pt idx="3034">
                  <c:v>40938</c:v>
                </c:pt>
                <c:pt idx="3035">
                  <c:v>40939</c:v>
                </c:pt>
                <c:pt idx="3036">
                  <c:v>40940</c:v>
                </c:pt>
                <c:pt idx="3037">
                  <c:v>40941</c:v>
                </c:pt>
                <c:pt idx="3038">
                  <c:v>40942</c:v>
                </c:pt>
                <c:pt idx="3039">
                  <c:v>40945</c:v>
                </c:pt>
                <c:pt idx="3040">
                  <c:v>40946</c:v>
                </c:pt>
                <c:pt idx="3041">
                  <c:v>40947</c:v>
                </c:pt>
                <c:pt idx="3042">
                  <c:v>40948</c:v>
                </c:pt>
                <c:pt idx="3043">
                  <c:v>40949</c:v>
                </c:pt>
                <c:pt idx="3044">
                  <c:v>40952</c:v>
                </c:pt>
                <c:pt idx="3045">
                  <c:v>40953</c:v>
                </c:pt>
                <c:pt idx="3046">
                  <c:v>40954</c:v>
                </c:pt>
                <c:pt idx="3047">
                  <c:v>40955</c:v>
                </c:pt>
                <c:pt idx="3048">
                  <c:v>40956</c:v>
                </c:pt>
                <c:pt idx="3049">
                  <c:v>40961</c:v>
                </c:pt>
                <c:pt idx="3050">
                  <c:v>40962</c:v>
                </c:pt>
                <c:pt idx="3051">
                  <c:v>40963</c:v>
                </c:pt>
                <c:pt idx="3052">
                  <c:v>40966</c:v>
                </c:pt>
                <c:pt idx="3053">
                  <c:v>40967</c:v>
                </c:pt>
                <c:pt idx="3054">
                  <c:v>40968</c:v>
                </c:pt>
                <c:pt idx="3055">
                  <c:v>40969</c:v>
                </c:pt>
                <c:pt idx="3056">
                  <c:v>40970</c:v>
                </c:pt>
                <c:pt idx="3057">
                  <c:v>40973</c:v>
                </c:pt>
                <c:pt idx="3058">
                  <c:v>40974</c:v>
                </c:pt>
                <c:pt idx="3059">
                  <c:v>40975</c:v>
                </c:pt>
                <c:pt idx="3060">
                  <c:v>40976</c:v>
                </c:pt>
                <c:pt idx="3061">
                  <c:v>40977</c:v>
                </c:pt>
                <c:pt idx="3062">
                  <c:v>40980</c:v>
                </c:pt>
                <c:pt idx="3063">
                  <c:v>40981</c:v>
                </c:pt>
                <c:pt idx="3064">
                  <c:v>40982</c:v>
                </c:pt>
                <c:pt idx="3065">
                  <c:v>40983</c:v>
                </c:pt>
                <c:pt idx="3066">
                  <c:v>40984</c:v>
                </c:pt>
                <c:pt idx="3067">
                  <c:v>40987</c:v>
                </c:pt>
                <c:pt idx="3068">
                  <c:v>40988</c:v>
                </c:pt>
                <c:pt idx="3069">
                  <c:v>40989</c:v>
                </c:pt>
                <c:pt idx="3070">
                  <c:v>40990</c:v>
                </c:pt>
                <c:pt idx="3071">
                  <c:v>40991</c:v>
                </c:pt>
                <c:pt idx="3072">
                  <c:v>40994</c:v>
                </c:pt>
                <c:pt idx="3073">
                  <c:v>40995</c:v>
                </c:pt>
                <c:pt idx="3074">
                  <c:v>40996</c:v>
                </c:pt>
                <c:pt idx="3075">
                  <c:v>40997</c:v>
                </c:pt>
                <c:pt idx="3076">
                  <c:v>40998</c:v>
                </c:pt>
                <c:pt idx="3077">
                  <c:v>41001</c:v>
                </c:pt>
                <c:pt idx="3078">
                  <c:v>41002</c:v>
                </c:pt>
                <c:pt idx="3079">
                  <c:v>41003</c:v>
                </c:pt>
                <c:pt idx="3080">
                  <c:v>41004</c:v>
                </c:pt>
                <c:pt idx="3081">
                  <c:v>41008</c:v>
                </c:pt>
                <c:pt idx="3082">
                  <c:v>41009</c:v>
                </c:pt>
                <c:pt idx="3083">
                  <c:v>41010</c:v>
                </c:pt>
                <c:pt idx="3084">
                  <c:v>41011</c:v>
                </c:pt>
                <c:pt idx="3085">
                  <c:v>41012</c:v>
                </c:pt>
                <c:pt idx="3086">
                  <c:v>41015</c:v>
                </c:pt>
                <c:pt idx="3087">
                  <c:v>41016</c:v>
                </c:pt>
                <c:pt idx="3088">
                  <c:v>41017</c:v>
                </c:pt>
                <c:pt idx="3089">
                  <c:v>41018</c:v>
                </c:pt>
                <c:pt idx="3090">
                  <c:v>41019</c:v>
                </c:pt>
                <c:pt idx="3091">
                  <c:v>41022</c:v>
                </c:pt>
                <c:pt idx="3092">
                  <c:v>41023</c:v>
                </c:pt>
                <c:pt idx="3093">
                  <c:v>41024</c:v>
                </c:pt>
                <c:pt idx="3094">
                  <c:v>41025</c:v>
                </c:pt>
                <c:pt idx="3095">
                  <c:v>41026</c:v>
                </c:pt>
                <c:pt idx="3096">
                  <c:v>41029</c:v>
                </c:pt>
                <c:pt idx="3097">
                  <c:v>41031</c:v>
                </c:pt>
                <c:pt idx="3098">
                  <c:v>41032</c:v>
                </c:pt>
                <c:pt idx="3099">
                  <c:v>41033</c:v>
                </c:pt>
                <c:pt idx="3100">
                  <c:v>41036</c:v>
                </c:pt>
                <c:pt idx="3101">
                  <c:v>41037</c:v>
                </c:pt>
                <c:pt idx="3102">
                  <c:v>41038</c:v>
                </c:pt>
                <c:pt idx="3103">
                  <c:v>41039</c:v>
                </c:pt>
                <c:pt idx="3104">
                  <c:v>41040</c:v>
                </c:pt>
                <c:pt idx="3105">
                  <c:v>41043</c:v>
                </c:pt>
                <c:pt idx="3106">
                  <c:v>41044</c:v>
                </c:pt>
                <c:pt idx="3107">
                  <c:v>41045</c:v>
                </c:pt>
                <c:pt idx="3108">
                  <c:v>41046</c:v>
                </c:pt>
                <c:pt idx="3109">
                  <c:v>41047</c:v>
                </c:pt>
                <c:pt idx="3110">
                  <c:v>41050</c:v>
                </c:pt>
                <c:pt idx="3111">
                  <c:v>41051</c:v>
                </c:pt>
                <c:pt idx="3112">
                  <c:v>41052</c:v>
                </c:pt>
                <c:pt idx="3113">
                  <c:v>41053</c:v>
                </c:pt>
                <c:pt idx="3114">
                  <c:v>41054</c:v>
                </c:pt>
                <c:pt idx="3115">
                  <c:v>41057</c:v>
                </c:pt>
                <c:pt idx="3116">
                  <c:v>41058</c:v>
                </c:pt>
                <c:pt idx="3117">
                  <c:v>41059</c:v>
                </c:pt>
                <c:pt idx="3118">
                  <c:v>41060</c:v>
                </c:pt>
                <c:pt idx="3119">
                  <c:v>41061</c:v>
                </c:pt>
                <c:pt idx="3120">
                  <c:v>41064</c:v>
                </c:pt>
                <c:pt idx="3121">
                  <c:v>41065</c:v>
                </c:pt>
                <c:pt idx="3122">
                  <c:v>41066</c:v>
                </c:pt>
                <c:pt idx="3123">
                  <c:v>41068</c:v>
                </c:pt>
                <c:pt idx="3124">
                  <c:v>41071</c:v>
                </c:pt>
                <c:pt idx="3125">
                  <c:v>41072</c:v>
                </c:pt>
                <c:pt idx="3126">
                  <c:v>41073</c:v>
                </c:pt>
                <c:pt idx="3127">
                  <c:v>41074</c:v>
                </c:pt>
                <c:pt idx="3128">
                  <c:v>41075</c:v>
                </c:pt>
                <c:pt idx="3129">
                  <c:v>41078</c:v>
                </c:pt>
                <c:pt idx="3130">
                  <c:v>41079</c:v>
                </c:pt>
                <c:pt idx="3131">
                  <c:v>41080</c:v>
                </c:pt>
                <c:pt idx="3132">
                  <c:v>41081</c:v>
                </c:pt>
                <c:pt idx="3133">
                  <c:v>41082</c:v>
                </c:pt>
                <c:pt idx="3134">
                  <c:v>41085</c:v>
                </c:pt>
                <c:pt idx="3135">
                  <c:v>41086</c:v>
                </c:pt>
                <c:pt idx="3136">
                  <c:v>41087</c:v>
                </c:pt>
                <c:pt idx="3137">
                  <c:v>41088</c:v>
                </c:pt>
                <c:pt idx="3138">
                  <c:v>41089</c:v>
                </c:pt>
                <c:pt idx="3139">
                  <c:v>41092</c:v>
                </c:pt>
                <c:pt idx="3140">
                  <c:v>41093</c:v>
                </c:pt>
                <c:pt idx="3141">
                  <c:v>41094</c:v>
                </c:pt>
                <c:pt idx="3142">
                  <c:v>41095</c:v>
                </c:pt>
                <c:pt idx="3143">
                  <c:v>41096</c:v>
                </c:pt>
                <c:pt idx="3144">
                  <c:v>41099</c:v>
                </c:pt>
                <c:pt idx="3145">
                  <c:v>41100</c:v>
                </c:pt>
                <c:pt idx="3146">
                  <c:v>41101</c:v>
                </c:pt>
                <c:pt idx="3147">
                  <c:v>41102</c:v>
                </c:pt>
                <c:pt idx="3148">
                  <c:v>41103</c:v>
                </c:pt>
                <c:pt idx="3149">
                  <c:v>41106</c:v>
                </c:pt>
                <c:pt idx="3150">
                  <c:v>41107</c:v>
                </c:pt>
                <c:pt idx="3151">
                  <c:v>41108</c:v>
                </c:pt>
                <c:pt idx="3152">
                  <c:v>41109</c:v>
                </c:pt>
                <c:pt idx="3153">
                  <c:v>41110</c:v>
                </c:pt>
                <c:pt idx="3154">
                  <c:v>41113</c:v>
                </c:pt>
                <c:pt idx="3155">
                  <c:v>41114</c:v>
                </c:pt>
                <c:pt idx="3156">
                  <c:v>41115</c:v>
                </c:pt>
                <c:pt idx="3157">
                  <c:v>41116</c:v>
                </c:pt>
                <c:pt idx="3158">
                  <c:v>41117</c:v>
                </c:pt>
                <c:pt idx="3159">
                  <c:v>41120</c:v>
                </c:pt>
                <c:pt idx="3160">
                  <c:v>41121</c:v>
                </c:pt>
                <c:pt idx="3161">
                  <c:v>41122</c:v>
                </c:pt>
                <c:pt idx="3162">
                  <c:v>41123</c:v>
                </c:pt>
                <c:pt idx="3163">
                  <c:v>41124</c:v>
                </c:pt>
                <c:pt idx="3164">
                  <c:v>41127</c:v>
                </c:pt>
                <c:pt idx="3165">
                  <c:v>41128</c:v>
                </c:pt>
                <c:pt idx="3166">
                  <c:v>41129</c:v>
                </c:pt>
                <c:pt idx="3167">
                  <c:v>41130</c:v>
                </c:pt>
                <c:pt idx="3168">
                  <c:v>41131</c:v>
                </c:pt>
                <c:pt idx="3169">
                  <c:v>41134</c:v>
                </c:pt>
                <c:pt idx="3170">
                  <c:v>41135</c:v>
                </c:pt>
                <c:pt idx="3171">
                  <c:v>41136</c:v>
                </c:pt>
                <c:pt idx="3172">
                  <c:v>41137</c:v>
                </c:pt>
                <c:pt idx="3173">
                  <c:v>41138</c:v>
                </c:pt>
                <c:pt idx="3174">
                  <c:v>41141</c:v>
                </c:pt>
                <c:pt idx="3175">
                  <c:v>41142</c:v>
                </c:pt>
                <c:pt idx="3176">
                  <c:v>41143</c:v>
                </c:pt>
                <c:pt idx="3177">
                  <c:v>41144</c:v>
                </c:pt>
                <c:pt idx="3178">
                  <c:v>41145</c:v>
                </c:pt>
                <c:pt idx="3179">
                  <c:v>41148</c:v>
                </c:pt>
                <c:pt idx="3180">
                  <c:v>41149</c:v>
                </c:pt>
                <c:pt idx="3181">
                  <c:v>41150</c:v>
                </c:pt>
                <c:pt idx="3182">
                  <c:v>41151</c:v>
                </c:pt>
                <c:pt idx="3183">
                  <c:v>41152</c:v>
                </c:pt>
                <c:pt idx="3184">
                  <c:v>41155</c:v>
                </c:pt>
                <c:pt idx="3185">
                  <c:v>41156</c:v>
                </c:pt>
                <c:pt idx="3186">
                  <c:v>41157</c:v>
                </c:pt>
                <c:pt idx="3187">
                  <c:v>41158</c:v>
                </c:pt>
                <c:pt idx="3188">
                  <c:v>41162</c:v>
                </c:pt>
                <c:pt idx="3189">
                  <c:v>41163</c:v>
                </c:pt>
                <c:pt idx="3190">
                  <c:v>41164</c:v>
                </c:pt>
                <c:pt idx="3191">
                  <c:v>41165</c:v>
                </c:pt>
                <c:pt idx="3192">
                  <c:v>41166</c:v>
                </c:pt>
                <c:pt idx="3193">
                  <c:v>41169</c:v>
                </c:pt>
                <c:pt idx="3194">
                  <c:v>41170</c:v>
                </c:pt>
                <c:pt idx="3195">
                  <c:v>41171</c:v>
                </c:pt>
                <c:pt idx="3196">
                  <c:v>41172</c:v>
                </c:pt>
                <c:pt idx="3197">
                  <c:v>41173</c:v>
                </c:pt>
                <c:pt idx="3198">
                  <c:v>41176</c:v>
                </c:pt>
                <c:pt idx="3199">
                  <c:v>41177</c:v>
                </c:pt>
                <c:pt idx="3200">
                  <c:v>41178</c:v>
                </c:pt>
                <c:pt idx="3201">
                  <c:v>41179</c:v>
                </c:pt>
                <c:pt idx="3202">
                  <c:v>41180</c:v>
                </c:pt>
                <c:pt idx="3203">
                  <c:v>41183</c:v>
                </c:pt>
                <c:pt idx="3204">
                  <c:v>41184</c:v>
                </c:pt>
                <c:pt idx="3205">
                  <c:v>41185</c:v>
                </c:pt>
                <c:pt idx="3206">
                  <c:v>41186</c:v>
                </c:pt>
                <c:pt idx="3207">
                  <c:v>41187</c:v>
                </c:pt>
                <c:pt idx="3208">
                  <c:v>41190</c:v>
                </c:pt>
                <c:pt idx="3209">
                  <c:v>41191</c:v>
                </c:pt>
                <c:pt idx="3210">
                  <c:v>41192</c:v>
                </c:pt>
                <c:pt idx="3211">
                  <c:v>41193</c:v>
                </c:pt>
                <c:pt idx="3212">
                  <c:v>41197</c:v>
                </c:pt>
                <c:pt idx="3213">
                  <c:v>41198</c:v>
                </c:pt>
                <c:pt idx="3214">
                  <c:v>41199</c:v>
                </c:pt>
                <c:pt idx="3215">
                  <c:v>41200</c:v>
                </c:pt>
                <c:pt idx="3216">
                  <c:v>41201</c:v>
                </c:pt>
                <c:pt idx="3217">
                  <c:v>41204</c:v>
                </c:pt>
                <c:pt idx="3218">
                  <c:v>41205</c:v>
                </c:pt>
                <c:pt idx="3219">
                  <c:v>41206</c:v>
                </c:pt>
                <c:pt idx="3220">
                  <c:v>41207</c:v>
                </c:pt>
                <c:pt idx="3221">
                  <c:v>41208</c:v>
                </c:pt>
                <c:pt idx="3222">
                  <c:v>41211</c:v>
                </c:pt>
                <c:pt idx="3223">
                  <c:v>41212</c:v>
                </c:pt>
                <c:pt idx="3224">
                  <c:v>41213</c:v>
                </c:pt>
                <c:pt idx="3225">
                  <c:v>41214</c:v>
                </c:pt>
                <c:pt idx="3226">
                  <c:v>41218</c:v>
                </c:pt>
                <c:pt idx="3227">
                  <c:v>41219</c:v>
                </c:pt>
                <c:pt idx="3228">
                  <c:v>41220</c:v>
                </c:pt>
                <c:pt idx="3229">
                  <c:v>41221</c:v>
                </c:pt>
                <c:pt idx="3230">
                  <c:v>41222</c:v>
                </c:pt>
                <c:pt idx="3231">
                  <c:v>41225</c:v>
                </c:pt>
                <c:pt idx="3232">
                  <c:v>41226</c:v>
                </c:pt>
                <c:pt idx="3233">
                  <c:v>41227</c:v>
                </c:pt>
                <c:pt idx="3234">
                  <c:v>41229</c:v>
                </c:pt>
                <c:pt idx="3235">
                  <c:v>41232</c:v>
                </c:pt>
                <c:pt idx="3236">
                  <c:v>41233</c:v>
                </c:pt>
                <c:pt idx="3237">
                  <c:v>41234</c:v>
                </c:pt>
                <c:pt idx="3238">
                  <c:v>41235</c:v>
                </c:pt>
                <c:pt idx="3239">
                  <c:v>41236</c:v>
                </c:pt>
                <c:pt idx="3240">
                  <c:v>41239</c:v>
                </c:pt>
                <c:pt idx="3241">
                  <c:v>41240</c:v>
                </c:pt>
                <c:pt idx="3242">
                  <c:v>41241</c:v>
                </c:pt>
                <c:pt idx="3243">
                  <c:v>41242</c:v>
                </c:pt>
                <c:pt idx="3244">
                  <c:v>41243</c:v>
                </c:pt>
                <c:pt idx="3245">
                  <c:v>41246</c:v>
                </c:pt>
                <c:pt idx="3246">
                  <c:v>41247</c:v>
                </c:pt>
                <c:pt idx="3247">
                  <c:v>41248</c:v>
                </c:pt>
                <c:pt idx="3248">
                  <c:v>41249</c:v>
                </c:pt>
                <c:pt idx="3249">
                  <c:v>41250</c:v>
                </c:pt>
                <c:pt idx="3250">
                  <c:v>41253</c:v>
                </c:pt>
                <c:pt idx="3251">
                  <c:v>41254</c:v>
                </c:pt>
                <c:pt idx="3252">
                  <c:v>41255</c:v>
                </c:pt>
                <c:pt idx="3253">
                  <c:v>41256</c:v>
                </c:pt>
                <c:pt idx="3254">
                  <c:v>41257</c:v>
                </c:pt>
                <c:pt idx="3255">
                  <c:v>41260</c:v>
                </c:pt>
                <c:pt idx="3256">
                  <c:v>41261</c:v>
                </c:pt>
                <c:pt idx="3257">
                  <c:v>41262</c:v>
                </c:pt>
                <c:pt idx="3258">
                  <c:v>41263</c:v>
                </c:pt>
                <c:pt idx="3259">
                  <c:v>41264</c:v>
                </c:pt>
                <c:pt idx="3260">
                  <c:v>41267</c:v>
                </c:pt>
                <c:pt idx="3261">
                  <c:v>41269</c:v>
                </c:pt>
                <c:pt idx="3262">
                  <c:v>41270</c:v>
                </c:pt>
                <c:pt idx="3263">
                  <c:v>41271</c:v>
                </c:pt>
                <c:pt idx="3264">
                  <c:v>41274</c:v>
                </c:pt>
                <c:pt idx="3265">
                  <c:v>41276</c:v>
                </c:pt>
                <c:pt idx="3266">
                  <c:v>41277</c:v>
                </c:pt>
                <c:pt idx="3267">
                  <c:v>41278</c:v>
                </c:pt>
                <c:pt idx="3268">
                  <c:v>41281</c:v>
                </c:pt>
                <c:pt idx="3269">
                  <c:v>41282</c:v>
                </c:pt>
                <c:pt idx="3270">
                  <c:v>41283</c:v>
                </c:pt>
                <c:pt idx="3271">
                  <c:v>41284</c:v>
                </c:pt>
                <c:pt idx="3272">
                  <c:v>41285</c:v>
                </c:pt>
                <c:pt idx="3273">
                  <c:v>41288</c:v>
                </c:pt>
                <c:pt idx="3274">
                  <c:v>41289</c:v>
                </c:pt>
                <c:pt idx="3275">
                  <c:v>41290</c:v>
                </c:pt>
                <c:pt idx="3276">
                  <c:v>41291</c:v>
                </c:pt>
                <c:pt idx="3277">
                  <c:v>41292</c:v>
                </c:pt>
                <c:pt idx="3278">
                  <c:v>41295</c:v>
                </c:pt>
                <c:pt idx="3279">
                  <c:v>41296</c:v>
                </c:pt>
                <c:pt idx="3280">
                  <c:v>41297</c:v>
                </c:pt>
                <c:pt idx="3281">
                  <c:v>41298</c:v>
                </c:pt>
                <c:pt idx="3282">
                  <c:v>41299</c:v>
                </c:pt>
                <c:pt idx="3283">
                  <c:v>41302</c:v>
                </c:pt>
                <c:pt idx="3284">
                  <c:v>41303</c:v>
                </c:pt>
                <c:pt idx="3285">
                  <c:v>41304</c:v>
                </c:pt>
                <c:pt idx="3286">
                  <c:v>41305</c:v>
                </c:pt>
                <c:pt idx="3287">
                  <c:v>41306</c:v>
                </c:pt>
                <c:pt idx="3288">
                  <c:v>41309</c:v>
                </c:pt>
                <c:pt idx="3289">
                  <c:v>41310</c:v>
                </c:pt>
                <c:pt idx="3290">
                  <c:v>41311</c:v>
                </c:pt>
                <c:pt idx="3291">
                  <c:v>41312</c:v>
                </c:pt>
                <c:pt idx="3292">
                  <c:v>41313</c:v>
                </c:pt>
                <c:pt idx="3293">
                  <c:v>41318</c:v>
                </c:pt>
                <c:pt idx="3294">
                  <c:v>41319</c:v>
                </c:pt>
                <c:pt idx="3295">
                  <c:v>41320</c:v>
                </c:pt>
                <c:pt idx="3296">
                  <c:v>41323</c:v>
                </c:pt>
                <c:pt idx="3297">
                  <c:v>41324</c:v>
                </c:pt>
                <c:pt idx="3298">
                  <c:v>41325</c:v>
                </c:pt>
                <c:pt idx="3299">
                  <c:v>41326</c:v>
                </c:pt>
                <c:pt idx="3300">
                  <c:v>41327</c:v>
                </c:pt>
                <c:pt idx="3301">
                  <c:v>41330</c:v>
                </c:pt>
                <c:pt idx="3302">
                  <c:v>41331</c:v>
                </c:pt>
                <c:pt idx="3303">
                  <c:v>41332</c:v>
                </c:pt>
                <c:pt idx="3304">
                  <c:v>41333</c:v>
                </c:pt>
                <c:pt idx="3305">
                  <c:v>41334</c:v>
                </c:pt>
                <c:pt idx="3306">
                  <c:v>41337</c:v>
                </c:pt>
                <c:pt idx="3307">
                  <c:v>41338</c:v>
                </c:pt>
                <c:pt idx="3308">
                  <c:v>41339</c:v>
                </c:pt>
                <c:pt idx="3309">
                  <c:v>41340</c:v>
                </c:pt>
                <c:pt idx="3310">
                  <c:v>41341</c:v>
                </c:pt>
                <c:pt idx="3311">
                  <c:v>41344</c:v>
                </c:pt>
                <c:pt idx="3312">
                  <c:v>41345</c:v>
                </c:pt>
                <c:pt idx="3313">
                  <c:v>41346</c:v>
                </c:pt>
                <c:pt idx="3314">
                  <c:v>41347</c:v>
                </c:pt>
                <c:pt idx="3315">
                  <c:v>41348</c:v>
                </c:pt>
                <c:pt idx="3316">
                  <c:v>41351</c:v>
                </c:pt>
                <c:pt idx="3317">
                  <c:v>41352</c:v>
                </c:pt>
                <c:pt idx="3318">
                  <c:v>41353</c:v>
                </c:pt>
                <c:pt idx="3319">
                  <c:v>41354</c:v>
                </c:pt>
                <c:pt idx="3320">
                  <c:v>41355</c:v>
                </c:pt>
                <c:pt idx="3321">
                  <c:v>41358</c:v>
                </c:pt>
                <c:pt idx="3322">
                  <c:v>41359</c:v>
                </c:pt>
                <c:pt idx="3323">
                  <c:v>41360</c:v>
                </c:pt>
                <c:pt idx="3324">
                  <c:v>41361</c:v>
                </c:pt>
                <c:pt idx="3325">
                  <c:v>41365</c:v>
                </c:pt>
                <c:pt idx="3326">
                  <c:v>41366</c:v>
                </c:pt>
                <c:pt idx="3327">
                  <c:v>41367</c:v>
                </c:pt>
                <c:pt idx="3328">
                  <c:v>41368</c:v>
                </c:pt>
                <c:pt idx="3329">
                  <c:v>41369</c:v>
                </c:pt>
                <c:pt idx="3330">
                  <c:v>41372</c:v>
                </c:pt>
                <c:pt idx="3331">
                  <c:v>41373</c:v>
                </c:pt>
                <c:pt idx="3332">
                  <c:v>41374</c:v>
                </c:pt>
                <c:pt idx="3333">
                  <c:v>41375</c:v>
                </c:pt>
                <c:pt idx="3334">
                  <c:v>41376</c:v>
                </c:pt>
                <c:pt idx="3335">
                  <c:v>41379</c:v>
                </c:pt>
                <c:pt idx="3336">
                  <c:v>41380</c:v>
                </c:pt>
                <c:pt idx="3337">
                  <c:v>41381</c:v>
                </c:pt>
                <c:pt idx="3338">
                  <c:v>41382</c:v>
                </c:pt>
                <c:pt idx="3339">
                  <c:v>41383</c:v>
                </c:pt>
                <c:pt idx="3340">
                  <c:v>41386</c:v>
                </c:pt>
                <c:pt idx="3341">
                  <c:v>41387</c:v>
                </c:pt>
                <c:pt idx="3342">
                  <c:v>41388</c:v>
                </c:pt>
                <c:pt idx="3343">
                  <c:v>41389</c:v>
                </c:pt>
                <c:pt idx="3344">
                  <c:v>41390</c:v>
                </c:pt>
                <c:pt idx="3345">
                  <c:v>41393</c:v>
                </c:pt>
                <c:pt idx="3346">
                  <c:v>41394</c:v>
                </c:pt>
                <c:pt idx="3347">
                  <c:v>41396</c:v>
                </c:pt>
                <c:pt idx="3348">
                  <c:v>41397</c:v>
                </c:pt>
                <c:pt idx="3349">
                  <c:v>41400</c:v>
                </c:pt>
                <c:pt idx="3350">
                  <c:v>41401</c:v>
                </c:pt>
                <c:pt idx="3351">
                  <c:v>41402</c:v>
                </c:pt>
                <c:pt idx="3352">
                  <c:v>41403</c:v>
                </c:pt>
                <c:pt idx="3353">
                  <c:v>41404</c:v>
                </c:pt>
                <c:pt idx="3354">
                  <c:v>41407</c:v>
                </c:pt>
                <c:pt idx="3355">
                  <c:v>41408</c:v>
                </c:pt>
                <c:pt idx="3356">
                  <c:v>41409</c:v>
                </c:pt>
                <c:pt idx="3357">
                  <c:v>41410</c:v>
                </c:pt>
                <c:pt idx="3358">
                  <c:v>41411</c:v>
                </c:pt>
                <c:pt idx="3359">
                  <c:v>41414</c:v>
                </c:pt>
                <c:pt idx="3360">
                  <c:v>41415</c:v>
                </c:pt>
                <c:pt idx="3361">
                  <c:v>41416</c:v>
                </c:pt>
                <c:pt idx="3362">
                  <c:v>41417</c:v>
                </c:pt>
                <c:pt idx="3363">
                  <c:v>41418</c:v>
                </c:pt>
                <c:pt idx="3364">
                  <c:v>41421</c:v>
                </c:pt>
                <c:pt idx="3365">
                  <c:v>41422</c:v>
                </c:pt>
                <c:pt idx="3366">
                  <c:v>41423</c:v>
                </c:pt>
                <c:pt idx="3367">
                  <c:v>41425</c:v>
                </c:pt>
                <c:pt idx="3368">
                  <c:v>41428</c:v>
                </c:pt>
                <c:pt idx="3369">
                  <c:v>41429</c:v>
                </c:pt>
                <c:pt idx="3370">
                  <c:v>41430</c:v>
                </c:pt>
                <c:pt idx="3371">
                  <c:v>41431</c:v>
                </c:pt>
                <c:pt idx="3372">
                  <c:v>41432</c:v>
                </c:pt>
                <c:pt idx="3373">
                  <c:v>41435</c:v>
                </c:pt>
                <c:pt idx="3374">
                  <c:v>41436</c:v>
                </c:pt>
                <c:pt idx="3375">
                  <c:v>41437</c:v>
                </c:pt>
                <c:pt idx="3376">
                  <c:v>41438</c:v>
                </c:pt>
                <c:pt idx="3377">
                  <c:v>41439</c:v>
                </c:pt>
                <c:pt idx="3378">
                  <c:v>41442</c:v>
                </c:pt>
                <c:pt idx="3379">
                  <c:v>41443</c:v>
                </c:pt>
                <c:pt idx="3380">
                  <c:v>41444</c:v>
                </c:pt>
                <c:pt idx="3381">
                  <c:v>41445</c:v>
                </c:pt>
                <c:pt idx="3382">
                  <c:v>41446</c:v>
                </c:pt>
                <c:pt idx="3383">
                  <c:v>41449</c:v>
                </c:pt>
                <c:pt idx="3384">
                  <c:v>41450</c:v>
                </c:pt>
                <c:pt idx="3385">
                  <c:v>41451</c:v>
                </c:pt>
                <c:pt idx="3386">
                  <c:v>41452</c:v>
                </c:pt>
                <c:pt idx="3387">
                  <c:v>41453</c:v>
                </c:pt>
                <c:pt idx="3388">
                  <c:v>41456</c:v>
                </c:pt>
                <c:pt idx="3389">
                  <c:v>41457</c:v>
                </c:pt>
                <c:pt idx="3390">
                  <c:v>41458</c:v>
                </c:pt>
                <c:pt idx="3391">
                  <c:v>41459</c:v>
                </c:pt>
                <c:pt idx="3392">
                  <c:v>41460</c:v>
                </c:pt>
                <c:pt idx="3393">
                  <c:v>41463</c:v>
                </c:pt>
                <c:pt idx="3394">
                  <c:v>41464</c:v>
                </c:pt>
                <c:pt idx="3395">
                  <c:v>41465</c:v>
                </c:pt>
                <c:pt idx="3396">
                  <c:v>41466</c:v>
                </c:pt>
                <c:pt idx="3397">
                  <c:v>41467</c:v>
                </c:pt>
                <c:pt idx="3398">
                  <c:v>41470</c:v>
                </c:pt>
                <c:pt idx="3399">
                  <c:v>41471</c:v>
                </c:pt>
                <c:pt idx="3400">
                  <c:v>41472</c:v>
                </c:pt>
                <c:pt idx="3401">
                  <c:v>41473</c:v>
                </c:pt>
                <c:pt idx="3402">
                  <c:v>41474</c:v>
                </c:pt>
                <c:pt idx="3403">
                  <c:v>41477</c:v>
                </c:pt>
                <c:pt idx="3404">
                  <c:v>41478</c:v>
                </c:pt>
                <c:pt idx="3405">
                  <c:v>41479</c:v>
                </c:pt>
                <c:pt idx="3406">
                  <c:v>41480</c:v>
                </c:pt>
                <c:pt idx="3407">
                  <c:v>41481</c:v>
                </c:pt>
                <c:pt idx="3408">
                  <c:v>41484</c:v>
                </c:pt>
                <c:pt idx="3409">
                  <c:v>41485</c:v>
                </c:pt>
                <c:pt idx="3410">
                  <c:v>41486</c:v>
                </c:pt>
                <c:pt idx="3411">
                  <c:v>41487</c:v>
                </c:pt>
                <c:pt idx="3412">
                  <c:v>41488</c:v>
                </c:pt>
                <c:pt idx="3413">
                  <c:v>41491</c:v>
                </c:pt>
                <c:pt idx="3414">
                  <c:v>41492</c:v>
                </c:pt>
                <c:pt idx="3415">
                  <c:v>41493</c:v>
                </c:pt>
                <c:pt idx="3416">
                  <c:v>41494</c:v>
                </c:pt>
                <c:pt idx="3417">
                  <c:v>41495</c:v>
                </c:pt>
                <c:pt idx="3418">
                  <c:v>41498</c:v>
                </c:pt>
                <c:pt idx="3419">
                  <c:v>41499</c:v>
                </c:pt>
                <c:pt idx="3420">
                  <c:v>41500</c:v>
                </c:pt>
                <c:pt idx="3421">
                  <c:v>41501</c:v>
                </c:pt>
                <c:pt idx="3422">
                  <c:v>41502</c:v>
                </c:pt>
                <c:pt idx="3423">
                  <c:v>41505</c:v>
                </c:pt>
                <c:pt idx="3424">
                  <c:v>41506</c:v>
                </c:pt>
                <c:pt idx="3425">
                  <c:v>41507</c:v>
                </c:pt>
                <c:pt idx="3426">
                  <c:v>41508</c:v>
                </c:pt>
                <c:pt idx="3427">
                  <c:v>41509</c:v>
                </c:pt>
                <c:pt idx="3428">
                  <c:v>41512</c:v>
                </c:pt>
                <c:pt idx="3429">
                  <c:v>41513</c:v>
                </c:pt>
                <c:pt idx="3430">
                  <c:v>41514</c:v>
                </c:pt>
                <c:pt idx="3431">
                  <c:v>41515</c:v>
                </c:pt>
                <c:pt idx="3432">
                  <c:v>41516</c:v>
                </c:pt>
                <c:pt idx="3433">
                  <c:v>41519</c:v>
                </c:pt>
                <c:pt idx="3434">
                  <c:v>41520</c:v>
                </c:pt>
                <c:pt idx="3435">
                  <c:v>41521</c:v>
                </c:pt>
                <c:pt idx="3436">
                  <c:v>41522</c:v>
                </c:pt>
                <c:pt idx="3437">
                  <c:v>41523</c:v>
                </c:pt>
                <c:pt idx="3438">
                  <c:v>41526</c:v>
                </c:pt>
                <c:pt idx="3439">
                  <c:v>41527</c:v>
                </c:pt>
                <c:pt idx="3440">
                  <c:v>41528</c:v>
                </c:pt>
                <c:pt idx="3441">
                  <c:v>41529</c:v>
                </c:pt>
                <c:pt idx="3442">
                  <c:v>41530</c:v>
                </c:pt>
                <c:pt idx="3443">
                  <c:v>41533</c:v>
                </c:pt>
                <c:pt idx="3444">
                  <c:v>41534</c:v>
                </c:pt>
                <c:pt idx="3445">
                  <c:v>41535</c:v>
                </c:pt>
                <c:pt idx="3446">
                  <c:v>41536</c:v>
                </c:pt>
                <c:pt idx="3447">
                  <c:v>41537</c:v>
                </c:pt>
                <c:pt idx="3448">
                  <c:v>41540</c:v>
                </c:pt>
                <c:pt idx="3449">
                  <c:v>41541</c:v>
                </c:pt>
                <c:pt idx="3450">
                  <c:v>41542</c:v>
                </c:pt>
                <c:pt idx="3451">
                  <c:v>41543</c:v>
                </c:pt>
                <c:pt idx="3452">
                  <c:v>41544</c:v>
                </c:pt>
                <c:pt idx="3453">
                  <c:v>41547</c:v>
                </c:pt>
                <c:pt idx="3454">
                  <c:v>41548</c:v>
                </c:pt>
                <c:pt idx="3455">
                  <c:v>41549</c:v>
                </c:pt>
                <c:pt idx="3456">
                  <c:v>41550</c:v>
                </c:pt>
                <c:pt idx="3457">
                  <c:v>41551</c:v>
                </c:pt>
                <c:pt idx="3458">
                  <c:v>41554</c:v>
                </c:pt>
                <c:pt idx="3459">
                  <c:v>41555</c:v>
                </c:pt>
                <c:pt idx="3460">
                  <c:v>41556</c:v>
                </c:pt>
                <c:pt idx="3461">
                  <c:v>41557</c:v>
                </c:pt>
                <c:pt idx="3462">
                  <c:v>41558</c:v>
                </c:pt>
                <c:pt idx="3463">
                  <c:v>41561</c:v>
                </c:pt>
                <c:pt idx="3464">
                  <c:v>41562</c:v>
                </c:pt>
                <c:pt idx="3465">
                  <c:v>41563</c:v>
                </c:pt>
                <c:pt idx="3466">
                  <c:v>41564</c:v>
                </c:pt>
                <c:pt idx="3467">
                  <c:v>41565</c:v>
                </c:pt>
                <c:pt idx="3468">
                  <c:v>41568</c:v>
                </c:pt>
                <c:pt idx="3469">
                  <c:v>41569</c:v>
                </c:pt>
                <c:pt idx="3470">
                  <c:v>41570</c:v>
                </c:pt>
                <c:pt idx="3471">
                  <c:v>41571</c:v>
                </c:pt>
                <c:pt idx="3472">
                  <c:v>41572</c:v>
                </c:pt>
                <c:pt idx="3473">
                  <c:v>41575</c:v>
                </c:pt>
                <c:pt idx="3474">
                  <c:v>41576</c:v>
                </c:pt>
                <c:pt idx="3475">
                  <c:v>41577</c:v>
                </c:pt>
                <c:pt idx="3476">
                  <c:v>41578</c:v>
                </c:pt>
                <c:pt idx="3477">
                  <c:v>41579</c:v>
                </c:pt>
                <c:pt idx="3478">
                  <c:v>41582</c:v>
                </c:pt>
                <c:pt idx="3479">
                  <c:v>41583</c:v>
                </c:pt>
                <c:pt idx="3480">
                  <c:v>41584</c:v>
                </c:pt>
                <c:pt idx="3481">
                  <c:v>41585</c:v>
                </c:pt>
                <c:pt idx="3482">
                  <c:v>41586</c:v>
                </c:pt>
                <c:pt idx="3483">
                  <c:v>41589</c:v>
                </c:pt>
                <c:pt idx="3484">
                  <c:v>41590</c:v>
                </c:pt>
                <c:pt idx="3485">
                  <c:v>41591</c:v>
                </c:pt>
                <c:pt idx="3486">
                  <c:v>41592</c:v>
                </c:pt>
                <c:pt idx="3487">
                  <c:v>41596</c:v>
                </c:pt>
                <c:pt idx="3488">
                  <c:v>41598</c:v>
                </c:pt>
                <c:pt idx="3489">
                  <c:v>41599</c:v>
                </c:pt>
                <c:pt idx="3490">
                  <c:v>41600</c:v>
                </c:pt>
                <c:pt idx="3491">
                  <c:v>41603</c:v>
                </c:pt>
                <c:pt idx="3492">
                  <c:v>41604</c:v>
                </c:pt>
                <c:pt idx="3493">
                  <c:v>41605</c:v>
                </c:pt>
                <c:pt idx="3494">
                  <c:v>41606</c:v>
                </c:pt>
                <c:pt idx="3495">
                  <c:v>41607</c:v>
                </c:pt>
                <c:pt idx="3496">
                  <c:v>41610</c:v>
                </c:pt>
                <c:pt idx="3497">
                  <c:v>41611</c:v>
                </c:pt>
                <c:pt idx="3498">
                  <c:v>41612</c:v>
                </c:pt>
                <c:pt idx="3499">
                  <c:v>41613</c:v>
                </c:pt>
                <c:pt idx="3500">
                  <c:v>41614</c:v>
                </c:pt>
                <c:pt idx="3501">
                  <c:v>41617</c:v>
                </c:pt>
                <c:pt idx="3502">
                  <c:v>41618</c:v>
                </c:pt>
                <c:pt idx="3503">
                  <c:v>41619</c:v>
                </c:pt>
                <c:pt idx="3504">
                  <c:v>41620</c:v>
                </c:pt>
                <c:pt idx="3505">
                  <c:v>41621</c:v>
                </c:pt>
                <c:pt idx="3506">
                  <c:v>41624</c:v>
                </c:pt>
                <c:pt idx="3507">
                  <c:v>41626</c:v>
                </c:pt>
                <c:pt idx="3508">
                  <c:v>41627</c:v>
                </c:pt>
                <c:pt idx="3509">
                  <c:v>41628</c:v>
                </c:pt>
                <c:pt idx="3510">
                  <c:v>41631</c:v>
                </c:pt>
                <c:pt idx="3511">
                  <c:v>41632</c:v>
                </c:pt>
                <c:pt idx="3512">
                  <c:v>41634</c:v>
                </c:pt>
                <c:pt idx="3513">
                  <c:v>41635</c:v>
                </c:pt>
                <c:pt idx="3514">
                  <c:v>41638</c:v>
                </c:pt>
                <c:pt idx="3515">
                  <c:v>41639</c:v>
                </c:pt>
                <c:pt idx="3516">
                  <c:v>41641</c:v>
                </c:pt>
                <c:pt idx="3517">
                  <c:v>41642</c:v>
                </c:pt>
                <c:pt idx="3518">
                  <c:v>41645</c:v>
                </c:pt>
                <c:pt idx="3519">
                  <c:v>41646</c:v>
                </c:pt>
                <c:pt idx="3520">
                  <c:v>41647</c:v>
                </c:pt>
                <c:pt idx="3521">
                  <c:v>41648</c:v>
                </c:pt>
                <c:pt idx="3522">
                  <c:v>41649</c:v>
                </c:pt>
                <c:pt idx="3523">
                  <c:v>41652</c:v>
                </c:pt>
                <c:pt idx="3524">
                  <c:v>41653</c:v>
                </c:pt>
                <c:pt idx="3525">
                  <c:v>41654</c:v>
                </c:pt>
                <c:pt idx="3526">
                  <c:v>41655</c:v>
                </c:pt>
                <c:pt idx="3527">
                  <c:v>41656</c:v>
                </c:pt>
                <c:pt idx="3528">
                  <c:v>41659</c:v>
                </c:pt>
                <c:pt idx="3529">
                  <c:v>41660</c:v>
                </c:pt>
                <c:pt idx="3530">
                  <c:v>41661</c:v>
                </c:pt>
                <c:pt idx="3531">
                  <c:v>41662</c:v>
                </c:pt>
                <c:pt idx="3532">
                  <c:v>41663</c:v>
                </c:pt>
                <c:pt idx="3533">
                  <c:v>41666</c:v>
                </c:pt>
                <c:pt idx="3534">
                  <c:v>41667</c:v>
                </c:pt>
                <c:pt idx="3535">
                  <c:v>41668</c:v>
                </c:pt>
                <c:pt idx="3536">
                  <c:v>41669</c:v>
                </c:pt>
                <c:pt idx="3537">
                  <c:v>41670</c:v>
                </c:pt>
                <c:pt idx="3538">
                  <c:v>41673</c:v>
                </c:pt>
                <c:pt idx="3539">
                  <c:v>41674</c:v>
                </c:pt>
                <c:pt idx="3540">
                  <c:v>41675</c:v>
                </c:pt>
                <c:pt idx="3541">
                  <c:v>41676</c:v>
                </c:pt>
                <c:pt idx="3542">
                  <c:v>41677</c:v>
                </c:pt>
                <c:pt idx="3543">
                  <c:v>41680</c:v>
                </c:pt>
                <c:pt idx="3544">
                  <c:v>41681</c:v>
                </c:pt>
                <c:pt idx="3545">
                  <c:v>41682</c:v>
                </c:pt>
                <c:pt idx="3546">
                  <c:v>41683</c:v>
                </c:pt>
                <c:pt idx="3547">
                  <c:v>41684</c:v>
                </c:pt>
                <c:pt idx="3548">
                  <c:v>41687</c:v>
                </c:pt>
                <c:pt idx="3549">
                  <c:v>41688</c:v>
                </c:pt>
                <c:pt idx="3550">
                  <c:v>41689</c:v>
                </c:pt>
                <c:pt idx="3551">
                  <c:v>41690</c:v>
                </c:pt>
                <c:pt idx="3552">
                  <c:v>41691</c:v>
                </c:pt>
                <c:pt idx="3553">
                  <c:v>41694</c:v>
                </c:pt>
                <c:pt idx="3554">
                  <c:v>41695</c:v>
                </c:pt>
                <c:pt idx="3555">
                  <c:v>41696</c:v>
                </c:pt>
                <c:pt idx="3556">
                  <c:v>41697</c:v>
                </c:pt>
                <c:pt idx="3557">
                  <c:v>41698</c:v>
                </c:pt>
                <c:pt idx="3558">
                  <c:v>41703</c:v>
                </c:pt>
                <c:pt idx="3559">
                  <c:v>41704</c:v>
                </c:pt>
                <c:pt idx="3560">
                  <c:v>41705</c:v>
                </c:pt>
                <c:pt idx="3561">
                  <c:v>41708</c:v>
                </c:pt>
                <c:pt idx="3562">
                  <c:v>41709</c:v>
                </c:pt>
                <c:pt idx="3563">
                  <c:v>41710</c:v>
                </c:pt>
                <c:pt idx="3564">
                  <c:v>41711</c:v>
                </c:pt>
                <c:pt idx="3565">
                  <c:v>41712</c:v>
                </c:pt>
                <c:pt idx="3566">
                  <c:v>41715</c:v>
                </c:pt>
                <c:pt idx="3567">
                  <c:v>41716</c:v>
                </c:pt>
                <c:pt idx="3568">
                  <c:v>41717</c:v>
                </c:pt>
                <c:pt idx="3569">
                  <c:v>41718</c:v>
                </c:pt>
                <c:pt idx="3570">
                  <c:v>41719</c:v>
                </c:pt>
                <c:pt idx="3571">
                  <c:v>41722</c:v>
                </c:pt>
                <c:pt idx="3572">
                  <c:v>41723</c:v>
                </c:pt>
                <c:pt idx="3573">
                  <c:v>41724</c:v>
                </c:pt>
                <c:pt idx="3574">
                  <c:v>41725</c:v>
                </c:pt>
                <c:pt idx="3575">
                  <c:v>41726</c:v>
                </c:pt>
                <c:pt idx="3576">
                  <c:v>41729</c:v>
                </c:pt>
                <c:pt idx="3577">
                  <c:v>41730</c:v>
                </c:pt>
                <c:pt idx="3578">
                  <c:v>41731</c:v>
                </c:pt>
                <c:pt idx="3579">
                  <c:v>41732</c:v>
                </c:pt>
                <c:pt idx="3580">
                  <c:v>41733</c:v>
                </c:pt>
                <c:pt idx="3581">
                  <c:v>41736</c:v>
                </c:pt>
                <c:pt idx="3582">
                  <c:v>41737</c:v>
                </c:pt>
                <c:pt idx="3583">
                  <c:v>41738</c:v>
                </c:pt>
                <c:pt idx="3584">
                  <c:v>41739</c:v>
                </c:pt>
                <c:pt idx="3585">
                  <c:v>41740</c:v>
                </c:pt>
                <c:pt idx="3586">
                  <c:v>41743</c:v>
                </c:pt>
                <c:pt idx="3587">
                  <c:v>41744</c:v>
                </c:pt>
                <c:pt idx="3588">
                  <c:v>41745</c:v>
                </c:pt>
                <c:pt idx="3589">
                  <c:v>41746</c:v>
                </c:pt>
                <c:pt idx="3590">
                  <c:v>41751</c:v>
                </c:pt>
                <c:pt idx="3591">
                  <c:v>41752</c:v>
                </c:pt>
                <c:pt idx="3592">
                  <c:v>41753</c:v>
                </c:pt>
                <c:pt idx="3593">
                  <c:v>41754</c:v>
                </c:pt>
                <c:pt idx="3594">
                  <c:v>41757</c:v>
                </c:pt>
                <c:pt idx="3595">
                  <c:v>41758</c:v>
                </c:pt>
                <c:pt idx="3596">
                  <c:v>41759</c:v>
                </c:pt>
                <c:pt idx="3597">
                  <c:v>41761</c:v>
                </c:pt>
                <c:pt idx="3598">
                  <c:v>41764</c:v>
                </c:pt>
                <c:pt idx="3599">
                  <c:v>41765</c:v>
                </c:pt>
                <c:pt idx="3600">
                  <c:v>41766</c:v>
                </c:pt>
                <c:pt idx="3601">
                  <c:v>41767</c:v>
                </c:pt>
                <c:pt idx="3602">
                  <c:v>41768</c:v>
                </c:pt>
                <c:pt idx="3603">
                  <c:v>41771</c:v>
                </c:pt>
                <c:pt idx="3604">
                  <c:v>41772</c:v>
                </c:pt>
                <c:pt idx="3605">
                  <c:v>41773</c:v>
                </c:pt>
                <c:pt idx="3606">
                  <c:v>41774</c:v>
                </c:pt>
                <c:pt idx="3607">
                  <c:v>41775</c:v>
                </c:pt>
                <c:pt idx="3608">
                  <c:v>41778</c:v>
                </c:pt>
                <c:pt idx="3609">
                  <c:v>41779</c:v>
                </c:pt>
                <c:pt idx="3610">
                  <c:v>41780</c:v>
                </c:pt>
                <c:pt idx="3611">
                  <c:v>41781</c:v>
                </c:pt>
                <c:pt idx="3612">
                  <c:v>41782</c:v>
                </c:pt>
                <c:pt idx="3613">
                  <c:v>41785</c:v>
                </c:pt>
                <c:pt idx="3614">
                  <c:v>41786</c:v>
                </c:pt>
                <c:pt idx="3615">
                  <c:v>41787</c:v>
                </c:pt>
                <c:pt idx="3616">
                  <c:v>41788</c:v>
                </c:pt>
                <c:pt idx="3617">
                  <c:v>41789</c:v>
                </c:pt>
                <c:pt idx="3618">
                  <c:v>41792</c:v>
                </c:pt>
                <c:pt idx="3619">
                  <c:v>41793</c:v>
                </c:pt>
                <c:pt idx="3620">
                  <c:v>41794</c:v>
                </c:pt>
                <c:pt idx="3621">
                  <c:v>41795</c:v>
                </c:pt>
                <c:pt idx="3622">
                  <c:v>41796</c:v>
                </c:pt>
                <c:pt idx="3623">
                  <c:v>41799</c:v>
                </c:pt>
                <c:pt idx="3624">
                  <c:v>41800</c:v>
                </c:pt>
                <c:pt idx="3625">
                  <c:v>41801</c:v>
                </c:pt>
                <c:pt idx="3626">
                  <c:v>41802</c:v>
                </c:pt>
                <c:pt idx="3627">
                  <c:v>41803</c:v>
                </c:pt>
                <c:pt idx="3628">
                  <c:v>41806</c:v>
                </c:pt>
                <c:pt idx="3629">
                  <c:v>41807</c:v>
                </c:pt>
                <c:pt idx="3630">
                  <c:v>41808</c:v>
                </c:pt>
                <c:pt idx="3631">
                  <c:v>41810</c:v>
                </c:pt>
                <c:pt idx="3632">
                  <c:v>41813</c:v>
                </c:pt>
                <c:pt idx="3633">
                  <c:v>41814</c:v>
                </c:pt>
                <c:pt idx="3634">
                  <c:v>41815</c:v>
                </c:pt>
                <c:pt idx="3635">
                  <c:v>41816</c:v>
                </c:pt>
                <c:pt idx="3636">
                  <c:v>41817</c:v>
                </c:pt>
                <c:pt idx="3637">
                  <c:v>41820</c:v>
                </c:pt>
                <c:pt idx="3638">
                  <c:v>41821</c:v>
                </c:pt>
                <c:pt idx="3639">
                  <c:v>41822</c:v>
                </c:pt>
                <c:pt idx="3640">
                  <c:v>41823</c:v>
                </c:pt>
                <c:pt idx="3641">
                  <c:v>41824</c:v>
                </c:pt>
                <c:pt idx="3642">
                  <c:v>41827</c:v>
                </c:pt>
                <c:pt idx="3643">
                  <c:v>41828</c:v>
                </c:pt>
                <c:pt idx="3644">
                  <c:v>41829</c:v>
                </c:pt>
                <c:pt idx="3645">
                  <c:v>41830</c:v>
                </c:pt>
                <c:pt idx="3646">
                  <c:v>41831</c:v>
                </c:pt>
                <c:pt idx="3647">
                  <c:v>41834</c:v>
                </c:pt>
                <c:pt idx="3648">
                  <c:v>41835</c:v>
                </c:pt>
                <c:pt idx="3649">
                  <c:v>41836</c:v>
                </c:pt>
                <c:pt idx="3650">
                  <c:v>41837</c:v>
                </c:pt>
                <c:pt idx="3651">
                  <c:v>41838</c:v>
                </c:pt>
                <c:pt idx="3652">
                  <c:v>41841</c:v>
                </c:pt>
                <c:pt idx="3653">
                  <c:v>41842</c:v>
                </c:pt>
                <c:pt idx="3654">
                  <c:v>41843</c:v>
                </c:pt>
                <c:pt idx="3655">
                  <c:v>41844</c:v>
                </c:pt>
                <c:pt idx="3656">
                  <c:v>41845</c:v>
                </c:pt>
                <c:pt idx="3657">
                  <c:v>41848</c:v>
                </c:pt>
                <c:pt idx="3658">
                  <c:v>41849</c:v>
                </c:pt>
                <c:pt idx="3659">
                  <c:v>41850</c:v>
                </c:pt>
                <c:pt idx="3660">
                  <c:v>41851</c:v>
                </c:pt>
                <c:pt idx="3661">
                  <c:v>41852</c:v>
                </c:pt>
                <c:pt idx="3662">
                  <c:v>41855</c:v>
                </c:pt>
                <c:pt idx="3663">
                  <c:v>41856</c:v>
                </c:pt>
                <c:pt idx="3664">
                  <c:v>41857</c:v>
                </c:pt>
                <c:pt idx="3665">
                  <c:v>41858</c:v>
                </c:pt>
                <c:pt idx="3666">
                  <c:v>41859</c:v>
                </c:pt>
                <c:pt idx="3667">
                  <c:v>41862</c:v>
                </c:pt>
                <c:pt idx="3668">
                  <c:v>41863</c:v>
                </c:pt>
                <c:pt idx="3669">
                  <c:v>41864</c:v>
                </c:pt>
                <c:pt idx="3670">
                  <c:v>41865</c:v>
                </c:pt>
                <c:pt idx="3671">
                  <c:v>41866</c:v>
                </c:pt>
                <c:pt idx="3672">
                  <c:v>41869</c:v>
                </c:pt>
                <c:pt idx="3673">
                  <c:v>41870</c:v>
                </c:pt>
                <c:pt idx="3674">
                  <c:v>41871</c:v>
                </c:pt>
                <c:pt idx="3675">
                  <c:v>41872</c:v>
                </c:pt>
                <c:pt idx="3676">
                  <c:v>41873</c:v>
                </c:pt>
                <c:pt idx="3677">
                  <c:v>41876</c:v>
                </c:pt>
                <c:pt idx="3678">
                  <c:v>41877</c:v>
                </c:pt>
                <c:pt idx="3679">
                  <c:v>41878</c:v>
                </c:pt>
                <c:pt idx="3680">
                  <c:v>41879</c:v>
                </c:pt>
                <c:pt idx="3681">
                  <c:v>41880</c:v>
                </c:pt>
                <c:pt idx="3682">
                  <c:v>41883</c:v>
                </c:pt>
                <c:pt idx="3683">
                  <c:v>41884</c:v>
                </c:pt>
                <c:pt idx="3684">
                  <c:v>41885</c:v>
                </c:pt>
                <c:pt idx="3685">
                  <c:v>41886</c:v>
                </c:pt>
                <c:pt idx="3686">
                  <c:v>41887</c:v>
                </c:pt>
                <c:pt idx="3687">
                  <c:v>41890</c:v>
                </c:pt>
                <c:pt idx="3688">
                  <c:v>41891</c:v>
                </c:pt>
                <c:pt idx="3689">
                  <c:v>41892</c:v>
                </c:pt>
                <c:pt idx="3690">
                  <c:v>41893</c:v>
                </c:pt>
                <c:pt idx="3691">
                  <c:v>41894</c:v>
                </c:pt>
                <c:pt idx="3692">
                  <c:v>41897</c:v>
                </c:pt>
                <c:pt idx="3693">
                  <c:v>41898</c:v>
                </c:pt>
                <c:pt idx="3694">
                  <c:v>41899</c:v>
                </c:pt>
                <c:pt idx="3695">
                  <c:v>41900</c:v>
                </c:pt>
                <c:pt idx="3696">
                  <c:v>41901</c:v>
                </c:pt>
                <c:pt idx="3697">
                  <c:v>41904</c:v>
                </c:pt>
                <c:pt idx="3698">
                  <c:v>41905</c:v>
                </c:pt>
                <c:pt idx="3699">
                  <c:v>41906</c:v>
                </c:pt>
                <c:pt idx="3700">
                  <c:v>41907</c:v>
                </c:pt>
                <c:pt idx="3701">
                  <c:v>41908</c:v>
                </c:pt>
                <c:pt idx="3702">
                  <c:v>41911</c:v>
                </c:pt>
                <c:pt idx="3703">
                  <c:v>41912</c:v>
                </c:pt>
                <c:pt idx="3704">
                  <c:v>41913</c:v>
                </c:pt>
                <c:pt idx="3705">
                  <c:v>41914</c:v>
                </c:pt>
                <c:pt idx="3706">
                  <c:v>41915</c:v>
                </c:pt>
                <c:pt idx="3707">
                  <c:v>41918</c:v>
                </c:pt>
                <c:pt idx="3708">
                  <c:v>41919</c:v>
                </c:pt>
                <c:pt idx="3709">
                  <c:v>41920</c:v>
                </c:pt>
                <c:pt idx="3710">
                  <c:v>41921</c:v>
                </c:pt>
                <c:pt idx="3711">
                  <c:v>41922</c:v>
                </c:pt>
                <c:pt idx="3712">
                  <c:v>41925</c:v>
                </c:pt>
                <c:pt idx="3713">
                  <c:v>41926</c:v>
                </c:pt>
                <c:pt idx="3714">
                  <c:v>41927</c:v>
                </c:pt>
                <c:pt idx="3715">
                  <c:v>41928</c:v>
                </c:pt>
                <c:pt idx="3716">
                  <c:v>41929</c:v>
                </c:pt>
                <c:pt idx="3717">
                  <c:v>41932</c:v>
                </c:pt>
                <c:pt idx="3718">
                  <c:v>41933</c:v>
                </c:pt>
                <c:pt idx="3719">
                  <c:v>41934</c:v>
                </c:pt>
                <c:pt idx="3720">
                  <c:v>41935</c:v>
                </c:pt>
                <c:pt idx="3721">
                  <c:v>41936</c:v>
                </c:pt>
                <c:pt idx="3722">
                  <c:v>41939</c:v>
                </c:pt>
                <c:pt idx="3723">
                  <c:v>41940</c:v>
                </c:pt>
                <c:pt idx="3724">
                  <c:v>41941</c:v>
                </c:pt>
                <c:pt idx="3725">
                  <c:v>41942</c:v>
                </c:pt>
                <c:pt idx="3726">
                  <c:v>41943</c:v>
                </c:pt>
                <c:pt idx="3727">
                  <c:v>41946</c:v>
                </c:pt>
                <c:pt idx="3728">
                  <c:v>41947</c:v>
                </c:pt>
                <c:pt idx="3729">
                  <c:v>41948</c:v>
                </c:pt>
                <c:pt idx="3730">
                  <c:v>41949</c:v>
                </c:pt>
                <c:pt idx="3731">
                  <c:v>41950</c:v>
                </c:pt>
                <c:pt idx="3732">
                  <c:v>41953</c:v>
                </c:pt>
                <c:pt idx="3733">
                  <c:v>41954</c:v>
                </c:pt>
                <c:pt idx="3734">
                  <c:v>41955</c:v>
                </c:pt>
                <c:pt idx="3735">
                  <c:v>41956</c:v>
                </c:pt>
                <c:pt idx="3736">
                  <c:v>41957</c:v>
                </c:pt>
                <c:pt idx="3737">
                  <c:v>41960</c:v>
                </c:pt>
                <c:pt idx="3738">
                  <c:v>41961</c:v>
                </c:pt>
                <c:pt idx="3739">
                  <c:v>41962</c:v>
                </c:pt>
                <c:pt idx="3740">
                  <c:v>41963</c:v>
                </c:pt>
                <c:pt idx="3741">
                  <c:v>41964</c:v>
                </c:pt>
                <c:pt idx="3742">
                  <c:v>41967</c:v>
                </c:pt>
                <c:pt idx="3743">
                  <c:v>41968</c:v>
                </c:pt>
                <c:pt idx="3744">
                  <c:v>41969</c:v>
                </c:pt>
                <c:pt idx="3745">
                  <c:v>41970</c:v>
                </c:pt>
                <c:pt idx="3746">
                  <c:v>41971</c:v>
                </c:pt>
                <c:pt idx="3747">
                  <c:v>41974</c:v>
                </c:pt>
                <c:pt idx="3748">
                  <c:v>41975</c:v>
                </c:pt>
                <c:pt idx="3749">
                  <c:v>41976</c:v>
                </c:pt>
                <c:pt idx="3750">
                  <c:v>41977</c:v>
                </c:pt>
                <c:pt idx="3751">
                  <c:v>41978</c:v>
                </c:pt>
                <c:pt idx="3752">
                  <c:v>41981</c:v>
                </c:pt>
                <c:pt idx="3753">
                  <c:v>41982</c:v>
                </c:pt>
                <c:pt idx="3754">
                  <c:v>41983</c:v>
                </c:pt>
                <c:pt idx="3755">
                  <c:v>41984</c:v>
                </c:pt>
                <c:pt idx="3756">
                  <c:v>41985</c:v>
                </c:pt>
                <c:pt idx="3757">
                  <c:v>41988</c:v>
                </c:pt>
                <c:pt idx="3758">
                  <c:v>41989</c:v>
                </c:pt>
                <c:pt idx="3759">
                  <c:v>41990</c:v>
                </c:pt>
                <c:pt idx="3760">
                  <c:v>41991</c:v>
                </c:pt>
                <c:pt idx="3761">
                  <c:v>41992</c:v>
                </c:pt>
                <c:pt idx="3762">
                  <c:v>41995</c:v>
                </c:pt>
                <c:pt idx="3763">
                  <c:v>41996</c:v>
                </c:pt>
                <c:pt idx="3764">
                  <c:v>41997</c:v>
                </c:pt>
                <c:pt idx="3765">
                  <c:v>41999</c:v>
                </c:pt>
                <c:pt idx="3766">
                  <c:v>42002</c:v>
                </c:pt>
                <c:pt idx="3767">
                  <c:v>42003</c:v>
                </c:pt>
                <c:pt idx="3768">
                  <c:v>42004</c:v>
                </c:pt>
                <c:pt idx="3769">
                  <c:v>42006</c:v>
                </c:pt>
                <c:pt idx="3770">
                  <c:v>42009</c:v>
                </c:pt>
                <c:pt idx="3771">
                  <c:v>42010</c:v>
                </c:pt>
                <c:pt idx="3772">
                  <c:v>42011</c:v>
                </c:pt>
                <c:pt idx="3773">
                  <c:v>42012</c:v>
                </c:pt>
                <c:pt idx="3774">
                  <c:v>42013</c:v>
                </c:pt>
                <c:pt idx="3775">
                  <c:v>42016</c:v>
                </c:pt>
                <c:pt idx="3776">
                  <c:v>42017</c:v>
                </c:pt>
                <c:pt idx="3777">
                  <c:v>42018</c:v>
                </c:pt>
                <c:pt idx="3778">
                  <c:v>42019</c:v>
                </c:pt>
                <c:pt idx="3779">
                  <c:v>42020</c:v>
                </c:pt>
                <c:pt idx="3780">
                  <c:v>42023</c:v>
                </c:pt>
                <c:pt idx="3781">
                  <c:v>42024</c:v>
                </c:pt>
                <c:pt idx="3782">
                  <c:v>42025</c:v>
                </c:pt>
                <c:pt idx="3783">
                  <c:v>42026</c:v>
                </c:pt>
                <c:pt idx="3784">
                  <c:v>42027</c:v>
                </c:pt>
                <c:pt idx="3785">
                  <c:v>42030</c:v>
                </c:pt>
                <c:pt idx="3786">
                  <c:v>42031</c:v>
                </c:pt>
                <c:pt idx="3787">
                  <c:v>42032</c:v>
                </c:pt>
                <c:pt idx="3788">
                  <c:v>42033</c:v>
                </c:pt>
                <c:pt idx="3789">
                  <c:v>42034</c:v>
                </c:pt>
                <c:pt idx="3790">
                  <c:v>42037</c:v>
                </c:pt>
                <c:pt idx="3791">
                  <c:v>42038</c:v>
                </c:pt>
                <c:pt idx="3792">
                  <c:v>42039</c:v>
                </c:pt>
                <c:pt idx="3793">
                  <c:v>42040</c:v>
                </c:pt>
                <c:pt idx="3794">
                  <c:v>42041</c:v>
                </c:pt>
                <c:pt idx="3795">
                  <c:v>42044</c:v>
                </c:pt>
                <c:pt idx="3796">
                  <c:v>42045</c:v>
                </c:pt>
                <c:pt idx="3797">
                  <c:v>42046</c:v>
                </c:pt>
                <c:pt idx="3798">
                  <c:v>42047</c:v>
                </c:pt>
                <c:pt idx="3799">
                  <c:v>42048</c:v>
                </c:pt>
                <c:pt idx="3800">
                  <c:v>42053</c:v>
                </c:pt>
                <c:pt idx="3801">
                  <c:v>42054</c:v>
                </c:pt>
                <c:pt idx="3802">
                  <c:v>42055</c:v>
                </c:pt>
                <c:pt idx="3803">
                  <c:v>42058</c:v>
                </c:pt>
                <c:pt idx="3804">
                  <c:v>42059</c:v>
                </c:pt>
                <c:pt idx="3805">
                  <c:v>42060</c:v>
                </c:pt>
                <c:pt idx="3806">
                  <c:v>42061</c:v>
                </c:pt>
                <c:pt idx="3807">
                  <c:v>42062</c:v>
                </c:pt>
                <c:pt idx="3808">
                  <c:v>42065</c:v>
                </c:pt>
                <c:pt idx="3809">
                  <c:v>42066</c:v>
                </c:pt>
                <c:pt idx="3810">
                  <c:v>42067</c:v>
                </c:pt>
                <c:pt idx="3811">
                  <c:v>42068</c:v>
                </c:pt>
                <c:pt idx="3812">
                  <c:v>42069</c:v>
                </c:pt>
                <c:pt idx="3813">
                  <c:v>42072</c:v>
                </c:pt>
                <c:pt idx="3814">
                  <c:v>42073</c:v>
                </c:pt>
                <c:pt idx="3815">
                  <c:v>42074</c:v>
                </c:pt>
                <c:pt idx="3816">
                  <c:v>42075</c:v>
                </c:pt>
                <c:pt idx="3817">
                  <c:v>42076</c:v>
                </c:pt>
                <c:pt idx="3818">
                  <c:v>42079</c:v>
                </c:pt>
                <c:pt idx="3819">
                  <c:v>42080</c:v>
                </c:pt>
                <c:pt idx="3820">
                  <c:v>42081</c:v>
                </c:pt>
                <c:pt idx="3821">
                  <c:v>42082</c:v>
                </c:pt>
                <c:pt idx="3822">
                  <c:v>42083</c:v>
                </c:pt>
                <c:pt idx="3823">
                  <c:v>42086</c:v>
                </c:pt>
                <c:pt idx="3824">
                  <c:v>42087</c:v>
                </c:pt>
                <c:pt idx="3825">
                  <c:v>42088</c:v>
                </c:pt>
                <c:pt idx="3826">
                  <c:v>42089</c:v>
                </c:pt>
                <c:pt idx="3827">
                  <c:v>42090</c:v>
                </c:pt>
                <c:pt idx="3828">
                  <c:v>42093</c:v>
                </c:pt>
                <c:pt idx="3829">
                  <c:v>42094</c:v>
                </c:pt>
                <c:pt idx="3830">
                  <c:v>42095</c:v>
                </c:pt>
                <c:pt idx="3831">
                  <c:v>42096</c:v>
                </c:pt>
                <c:pt idx="3832">
                  <c:v>42100</c:v>
                </c:pt>
                <c:pt idx="3833">
                  <c:v>42101</c:v>
                </c:pt>
                <c:pt idx="3834">
                  <c:v>42102</c:v>
                </c:pt>
                <c:pt idx="3835">
                  <c:v>42103</c:v>
                </c:pt>
                <c:pt idx="3836">
                  <c:v>42104</c:v>
                </c:pt>
                <c:pt idx="3837">
                  <c:v>42107</c:v>
                </c:pt>
                <c:pt idx="3838">
                  <c:v>42108</c:v>
                </c:pt>
                <c:pt idx="3839">
                  <c:v>42109</c:v>
                </c:pt>
                <c:pt idx="3840">
                  <c:v>42110</c:v>
                </c:pt>
                <c:pt idx="3841">
                  <c:v>42111</c:v>
                </c:pt>
                <c:pt idx="3842">
                  <c:v>42114</c:v>
                </c:pt>
                <c:pt idx="3843">
                  <c:v>42116</c:v>
                </c:pt>
                <c:pt idx="3844">
                  <c:v>42117</c:v>
                </c:pt>
                <c:pt idx="3845">
                  <c:v>42118</c:v>
                </c:pt>
                <c:pt idx="3846">
                  <c:v>42121</c:v>
                </c:pt>
                <c:pt idx="3847">
                  <c:v>42122</c:v>
                </c:pt>
                <c:pt idx="3848">
                  <c:v>42123</c:v>
                </c:pt>
                <c:pt idx="3849">
                  <c:v>42124</c:v>
                </c:pt>
                <c:pt idx="3850">
                  <c:v>42128</c:v>
                </c:pt>
                <c:pt idx="3851">
                  <c:v>42129</c:v>
                </c:pt>
                <c:pt idx="3852">
                  <c:v>42130</c:v>
                </c:pt>
                <c:pt idx="3853">
                  <c:v>42131</c:v>
                </c:pt>
                <c:pt idx="3854">
                  <c:v>42132</c:v>
                </c:pt>
                <c:pt idx="3855">
                  <c:v>42135</c:v>
                </c:pt>
                <c:pt idx="3856">
                  <c:v>42136</c:v>
                </c:pt>
                <c:pt idx="3857">
                  <c:v>42137</c:v>
                </c:pt>
                <c:pt idx="3858">
                  <c:v>42138</c:v>
                </c:pt>
                <c:pt idx="3859">
                  <c:v>42139</c:v>
                </c:pt>
                <c:pt idx="3860">
                  <c:v>42142</c:v>
                </c:pt>
                <c:pt idx="3861">
                  <c:v>42143</c:v>
                </c:pt>
                <c:pt idx="3862">
                  <c:v>42144</c:v>
                </c:pt>
                <c:pt idx="3863">
                  <c:v>42145</c:v>
                </c:pt>
                <c:pt idx="3864">
                  <c:v>42146</c:v>
                </c:pt>
                <c:pt idx="3865">
                  <c:v>42149</c:v>
                </c:pt>
                <c:pt idx="3866">
                  <c:v>42150</c:v>
                </c:pt>
                <c:pt idx="3867">
                  <c:v>42151</c:v>
                </c:pt>
                <c:pt idx="3868">
                  <c:v>42152</c:v>
                </c:pt>
                <c:pt idx="3869">
                  <c:v>42153</c:v>
                </c:pt>
                <c:pt idx="3870">
                  <c:v>42156</c:v>
                </c:pt>
                <c:pt idx="3871">
                  <c:v>42157</c:v>
                </c:pt>
                <c:pt idx="3872">
                  <c:v>42158</c:v>
                </c:pt>
                <c:pt idx="3873">
                  <c:v>42160</c:v>
                </c:pt>
                <c:pt idx="3874">
                  <c:v>42163</c:v>
                </c:pt>
                <c:pt idx="3875">
                  <c:v>42164</c:v>
                </c:pt>
                <c:pt idx="3876">
                  <c:v>42165</c:v>
                </c:pt>
                <c:pt idx="3877">
                  <c:v>42166</c:v>
                </c:pt>
                <c:pt idx="3878">
                  <c:v>42167</c:v>
                </c:pt>
                <c:pt idx="3879">
                  <c:v>42170</c:v>
                </c:pt>
                <c:pt idx="3880">
                  <c:v>42171</c:v>
                </c:pt>
                <c:pt idx="3881">
                  <c:v>42172</c:v>
                </c:pt>
                <c:pt idx="3882">
                  <c:v>42173</c:v>
                </c:pt>
                <c:pt idx="3883">
                  <c:v>42174</c:v>
                </c:pt>
                <c:pt idx="3884">
                  <c:v>42177</c:v>
                </c:pt>
                <c:pt idx="3885">
                  <c:v>42178</c:v>
                </c:pt>
                <c:pt idx="3886">
                  <c:v>42179</c:v>
                </c:pt>
                <c:pt idx="3887">
                  <c:v>42180</c:v>
                </c:pt>
                <c:pt idx="3888">
                  <c:v>42181</c:v>
                </c:pt>
                <c:pt idx="3889">
                  <c:v>42184</c:v>
                </c:pt>
                <c:pt idx="3890">
                  <c:v>42185</c:v>
                </c:pt>
                <c:pt idx="3891">
                  <c:v>42186</c:v>
                </c:pt>
                <c:pt idx="3892">
                  <c:v>42187</c:v>
                </c:pt>
                <c:pt idx="3893">
                  <c:v>42188</c:v>
                </c:pt>
                <c:pt idx="3894">
                  <c:v>42191</c:v>
                </c:pt>
                <c:pt idx="3895">
                  <c:v>42192</c:v>
                </c:pt>
                <c:pt idx="3896">
                  <c:v>42193</c:v>
                </c:pt>
                <c:pt idx="3897">
                  <c:v>42194</c:v>
                </c:pt>
                <c:pt idx="3898">
                  <c:v>42195</c:v>
                </c:pt>
                <c:pt idx="3899">
                  <c:v>42198</c:v>
                </c:pt>
                <c:pt idx="3900">
                  <c:v>42199</c:v>
                </c:pt>
                <c:pt idx="3901">
                  <c:v>42200</c:v>
                </c:pt>
                <c:pt idx="3902">
                  <c:v>42201</c:v>
                </c:pt>
                <c:pt idx="3903">
                  <c:v>42202</c:v>
                </c:pt>
                <c:pt idx="3904">
                  <c:v>42205</c:v>
                </c:pt>
                <c:pt idx="3905">
                  <c:v>42206</c:v>
                </c:pt>
                <c:pt idx="3906">
                  <c:v>42207</c:v>
                </c:pt>
                <c:pt idx="3907">
                  <c:v>42208</c:v>
                </c:pt>
                <c:pt idx="3908">
                  <c:v>42209</c:v>
                </c:pt>
                <c:pt idx="3909">
                  <c:v>42212</c:v>
                </c:pt>
                <c:pt idx="3910">
                  <c:v>42213</c:v>
                </c:pt>
                <c:pt idx="3911">
                  <c:v>42214</c:v>
                </c:pt>
                <c:pt idx="3912">
                  <c:v>42215</c:v>
                </c:pt>
                <c:pt idx="3913">
                  <c:v>42216</c:v>
                </c:pt>
                <c:pt idx="3914">
                  <c:v>42219</c:v>
                </c:pt>
                <c:pt idx="3915">
                  <c:v>42220</c:v>
                </c:pt>
                <c:pt idx="3916">
                  <c:v>42221</c:v>
                </c:pt>
                <c:pt idx="3917">
                  <c:v>42222</c:v>
                </c:pt>
                <c:pt idx="3918">
                  <c:v>42223</c:v>
                </c:pt>
                <c:pt idx="3919">
                  <c:v>42226</c:v>
                </c:pt>
                <c:pt idx="3920">
                  <c:v>42227</c:v>
                </c:pt>
                <c:pt idx="3921">
                  <c:v>42228</c:v>
                </c:pt>
                <c:pt idx="3922">
                  <c:v>42229</c:v>
                </c:pt>
                <c:pt idx="3923">
                  <c:v>42230</c:v>
                </c:pt>
                <c:pt idx="3924">
                  <c:v>42233</c:v>
                </c:pt>
                <c:pt idx="3925">
                  <c:v>42234</c:v>
                </c:pt>
                <c:pt idx="3926">
                  <c:v>42235</c:v>
                </c:pt>
                <c:pt idx="3927">
                  <c:v>42236</c:v>
                </c:pt>
                <c:pt idx="3928">
                  <c:v>42237</c:v>
                </c:pt>
                <c:pt idx="3929">
                  <c:v>42240</c:v>
                </c:pt>
                <c:pt idx="3930">
                  <c:v>42241</c:v>
                </c:pt>
                <c:pt idx="3931">
                  <c:v>42242</c:v>
                </c:pt>
                <c:pt idx="3932">
                  <c:v>42243</c:v>
                </c:pt>
                <c:pt idx="3933">
                  <c:v>42244</c:v>
                </c:pt>
                <c:pt idx="3934">
                  <c:v>42247</c:v>
                </c:pt>
                <c:pt idx="3935">
                  <c:v>42248</c:v>
                </c:pt>
                <c:pt idx="3936">
                  <c:v>42249</c:v>
                </c:pt>
                <c:pt idx="3937">
                  <c:v>42250</c:v>
                </c:pt>
                <c:pt idx="3938">
                  <c:v>42251</c:v>
                </c:pt>
                <c:pt idx="3939">
                  <c:v>42255</c:v>
                </c:pt>
                <c:pt idx="3940">
                  <c:v>42256</c:v>
                </c:pt>
                <c:pt idx="3941">
                  <c:v>42257</c:v>
                </c:pt>
                <c:pt idx="3942">
                  <c:v>42258</c:v>
                </c:pt>
                <c:pt idx="3943">
                  <c:v>42261</c:v>
                </c:pt>
                <c:pt idx="3944">
                  <c:v>42262</c:v>
                </c:pt>
                <c:pt idx="3945">
                  <c:v>42263</c:v>
                </c:pt>
                <c:pt idx="3946">
                  <c:v>42264</c:v>
                </c:pt>
                <c:pt idx="3947">
                  <c:v>42265</c:v>
                </c:pt>
                <c:pt idx="3948">
                  <c:v>42268</c:v>
                </c:pt>
                <c:pt idx="3949">
                  <c:v>42269</c:v>
                </c:pt>
                <c:pt idx="3950">
                  <c:v>42270</c:v>
                </c:pt>
                <c:pt idx="3951">
                  <c:v>42271</c:v>
                </c:pt>
                <c:pt idx="3952">
                  <c:v>42272</c:v>
                </c:pt>
                <c:pt idx="3953">
                  <c:v>42275</c:v>
                </c:pt>
                <c:pt idx="3954">
                  <c:v>42276</c:v>
                </c:pt>
                <c:pt idx="3955">
                  <c:v>42277</c:v>
                </c:pt>
                <c:pt idx="3956">
                  <c:v>42278</c:v>
                </c:pt>
                <c:pt idx="3957">
                  <c:v>42279</c:v>
                </c:pt>
                <c:pt idx="3958">
                  <c:v>42282</c:v>
                </c:pt>
                <c:pt idx="3959">
                  <c:v>42283</c:v>
                </c:pt>
                <c:pt idx="3960">
                  <c:v>42284</c:v>
                </c:pt>
                <c:pt idx="3961">
                  <c:v>42285</c:v>
                </c:pt>
                <c:pt idx="3962">
                  <c:v>42286</c:v>
                </c:pt>
                <c:pt idx="3963">
                  <c:v>42290</c:v>
                </c:pt>
                <c:pt idx="3964">
                  <c:v>42291</c:v>
                </c:pt>
                <c:pt idx="3965">
                  <c:v>42292</c:v>
                </c:pt>
                <c:pt idx="3966">
                  <c:v>42293</c:v>
                </c:pt>
                <c:pt idx="3967">
                  <c:v>42296</c:v>
                </c:pt>
                <c:pt idx="3968">
                  <c:v>42297</c:v>
                </c:pt>
                <c:pt idx="3969">
                  <c:v>42298</c:v>
                </c:pt>
                <c:pt idx="3970">
                  <c:v>42299</c:v>
                </c:pt>
                <c:pt idx="3971">
                  <c:v>42300</c:v>
                </c:pt>
                <c:pt idx="3972">
                  <c:v>42303</c:v>
                </c:pt>
                <c:pt idx="3973">
                  <c:v>42304</c:v>
                </c:pt>
                <c:pt idx="3974">
                  <c:v>42305</c:v>
                </c:pt>
                <c:pt idx="3975">
                  <c:v>42306</c:v>
                </c:pt>
                <c:pt idx="3976">
                  <c:v>42307</c:v>
                </c:pt>
                <c:pt idx="3977">
                  <c:v>42311</c:v>
                </c:pt>
                <c:pt idx="3978">
                  <c:v>42312</c:v>
                </c:pt>
                <c:pt idx="3979">
                  <c:v>42313</c:v>
                </c:pt>
                <c:pt idx="3980">
                  <c:v>42314</c:v>
                </c:pt>
                <c:pt idx="3981">
                  <c:v>42317</c:v>
                </c:pt>
                <c:pt idx="3982">
                  <c:v>42318</c:v>
                </c:pt>
                <c:pt idx="3983">
                  <c:v>42319</c:v>
                </c:pt>
                <c:pt idx="3984">
                  <c:v>42320</c:v>
                </c:pt>
                <c:pt idx="3985">
                  <c:v>42321</c:v>
                </c:pt>
                <c:pt idx="3986">
                  <c:v>42324</c:v>
                </c:pt>
                <c:pt idx="3987">
                  <c:v>42325</c:v>
                </c:pt>
                <c:pt idx="3988">
                  <c:v>42326</c:v>
                </c:pt>
                <c:pt idx="3989">
                  <c:v>42327</c:v>
                </c:pt>
                <c:pt idx="3990">
                  <c:v>42328</c:v>
                </c:pt>
                <c:pt idx="3991">
                  <c:v>42331</c:v>
                </c:pt>
                <c:pt idx="3992">
                  <c:v>42332</c:v>
                </c:pt>
                <c:pt idx="3993">
                  <c:v>42333</c:v>
                </c:pt>
                <c:pt idx="3994">
                  <c:v>42334</c:v>
                </c:pt>
                <c:pt idx="3995">
                  <c:v>42335</c:v>
                </c:pt>
                <c:pt idx="3996">
                  <c:v>42338</c:v>
                </c:pt>
                <c:pt idx="3997">
                  <c:v>42339</c:v>
                </c:pt>
                <c:pt idx="3998">
                  <c:v>42340</c:v>
                </c:pt>
                <c:pt idx="3999">
                  <c:v>42341</c:v>
                </c:pt>
                <c:pt idx="4000">
                  <c:v>42345</c:v>
                </c:pt>
                <c:pt idx="4001">
                  <c:v>42346</c:v>
                </c:pt>
                <c:pt idx="4002">
                  <c:v>42347</c:v>
                </c:pt>
                <c:pt idx="4003">
                  <c:v>42348</c:v>
                </c:pt>
                <c:pt idx="4004">
                  <c:v>42349</c:v>
                </c:pt>
                <c:pt idx="4005">
                  <c:v>42352</c:v>
                </c:pt>
                <c:pt idx="4006">
                  <c:v>42353</c:v>
                </c:pt>
                <c:pt idx="4007">
                  <c:v>42354</c:v>
                </c:pt>
                <c:pt idx="4008">
                  <c:v>42355</c:v>
                </c:pt>
                <c:pt idx="4009">
                  <c:v>42356</c:v>
                </c:pt>
                <c:pt idx="4010">
                  <c:v>42359</c:v>
                </c:pt>
                <c:pt idx="4011">
                  <c:v>42360</c:v>
                </c:pt>
                <c:pt idx="4012">
                  <c:v>42361</c:v>
                </c:pt>
                <c:pt idx="4013">
                  <c:v>42362</c:v>
                </c:pt>
                <c:pt idx="4014">
                  <c:v>42366</c:v>
                </c:pt>
                <c:pt idx="4015">
                  <c:v>42367</c:v>
                </c:pt>
                <c:pt idx="4016">
                  <c:v>42368</c:v>
                </c:pt>
                <c:pt idx="4017">
                  <c:v>42369</c:v>
                </c:pt>
                <c:pt idx="4018">
                  <c:v>42373</c:v>
                </c:pt>
                <c:pt idx="4019">
                  <c:v>42374</c:v>
                </c:pt>
                <c:pt idx="4020">
                  <c:v>42375</c:v>
                </c:pt>
                <c:pt idx="4021">
                  <c:v>42376</c:v>
                </c:pt>
                <c:pt idx="4022">
                  <c:v>42377</c:v>
                </c:pt>
                <c:pt idx="4023">
                  <c:v>42380</c:v>
                </c:pt>
                <c:pt idx="4024">
                  <c:v>42381</c:v>
                </c:pt>
                <c:pt idx="4025">
                  <c:v>42382</c:v>
                </c:pt>
                <c:pt idx="4026">
                  <c:v>42383</c:v>
                </c:pt>
                <c:pt idx="4027">
                  <c:v>42384</c:v>
                </c:pt>
                <c:pt idx="4028">
                  <c:v>42387</c:v>
                </c:pt>
                <c:pt idx="4029">
                  <c:v>42388</c:v>
                </c:pt>
                <c:pt idx="4030">
                  <c:v>42389</c:v>
                </c:pt>
                <c:pt idx="4031">
                  <c:v>42390</c:v>
                </c:pt>
                <c:pt idx="4032">
                  <c:v>42391</c:v>
                </c:pt>
                <c:pt idx="4033">
                  <c:v>42394</c:v>
                </c:pt>
                <c:pt idx="4034">
                  <c:v>42395</c:v>
                </c:pt>
                <c:pt idx="4035">
                  <c:v>42396</c:v>
                </c:pt>
                <c:pt idx="4036">
                  <c:v>42397</c:v>
                </c:pt>
                <c:pt idx="4037">
                  <c:v>42398</c:v>
                </c:pt>
                <c:pt idx="4038">
                  <c:v>42401</c:v>
                </c:pt>
                <c:pt idx="4039">
                  <c:v>42402</c:v>
                </c:pt>
                <c:pt idx="4040">
                  <c:v>42403</c:v>
                </c:pt>
                <c:pt idx="4041">
                  <c:v>42404</c:v>
                </c:pt>
                <c:pt idx="4042">
                  <c:v>42405</c:v>
                </c:pt>
                <c:pt idx="4043">
                  <c:v>42410</c:v>
                </c:pt>
                <c:pt idx="4044">
                  <c:v>42411</c:v>
                </c:pt>
                <c:pt idx="4045">
                  <c:v>42412</c:v>
                </c:pt>
                <c:pt idx="4046">
                  <c:v>42415</c:v>
                </c:pt>
                <c:pt idx="4047">
                  <c:v>42416</c:v>
                </c:pt>
                <c:pt idx="4048">
                  <c:v>42417</c:v>
                </c:pt>
                <c:pt idx="4049">
                  <c:v>42418</c:v>
                </c:pt>
                <c:pt idx="4050">
                  <c:v>42419</c:v>
                </c:pt>
                <c:pt idx="4051">
                  <c:v>42422</c:v>
                </c:pt>
                <c:pt idx="4052">
                  <c:v>42423</c:v>
                </c:pt>
                <c:pt idx="4053">
                  <c:v>42424</c:v>
                </c:pt>
                <c:pt idx="4054">
                  <c:v>42425</c:v>
                </c:pt>
                <c:pt idx="4055">
                  <c:v>42426</c:v>
                </c:pt>
                <c:pt idx="4056">
                  <c:v>42429</c:v>
                </c:pt>
                <c:pt idx="4057">
                  <c:v>42430</c:v>
                </c:pt>
                <c:pt idx="4058">
                  <c:v>42431</c:v>
                </c:pt>
                <c:pt idx="4059">
                  <c:v>42432</c:v>
                </c:pt>
                <c:pt idx="4060">
                  <c:v>42433</c:v>
                </c:pt>
                <c:pt idx="4061">
                  <c:v>42436</c:v>
                </c:pt>
                <c:pt idx="4062">
                  <c:v>42437</c:v>
                </c:pt>
                <c:pt idx="4063">
                  <c:v>42438</c:v>
                </c:pt>
                <c:pt idx="4064">
                  <c:v>42439</c:v>
                </c:pt>
                <c:pt idx="4065">
                  <c:v>42440</c:v>
                </c:pt>
                <c:pt idx="4066">
                  <c:v>42443</c:v>
                </c:pt>
                <c:pt idx="4067">
                  <c:v>42444</c:v>
                </c:pt>
                <c:pt idx="4068">
                  <c:v>42445</c:v>
                </c:pt>
                <c:pt idx="4069">
                  <c:v>42446</c:v>
                </c:pt>
                <c:pt idx="4070">
                  <c:v>42447</c:v>
                </c:pt>
                <c:pt idx="4071">
                  <c:v>42450</c:v>
                </c:pt>
                <c:pt idx="4072">
                  <c:v>42451</c:v>
                </c:pt>
                <c:pt idx="4073">
                  <c:v>42452</c:v>
                </c:pt>
                <c:pt idx="4074">
                  <c:v>42453</c:v>
                </c:pt>
                <c:pt idx="4075">
                  <c:v>42457</c:v>
                </c:pt>
                <c:pt idx="4076">
                  <c:v>42458</c:v>
                </c:pt>
                <c:pt idx="4077">
                  <c:v>42459</c:v>
                </c:pt>
                <c:pt idx="4078">
                  <c:v>42460</c:v>
                </c:pt>
                <c:pt idx="4079">
                  <c:v>42461</c:v>
                </c:pt>
                <c:pt idx="4080">
                  <c:v>42464</c:v>
                </c:pt>
                <c:pt idx="4081">
                  <c:v>42465</c:v>
                </c:pt>
                <c:pt idx="4082">
                  <c:v>42466</c:v>
                </c:pt>
                <c:pt idx="4083">
                  <c:v>42467</c:v>
                </c:pt>
                <c:pt idx="4084">
                  <c:v>42468</c:v>
                </c:pt>
                <c:pt idx="4085">
                  <c:v>42471</c:v>
                </c:pt>
                <c:pt idx="4086">
                  <c:v>42472</c:v>
                </c:pt>
                <c:pt idx="4087">
                  <c:v>42473</c:v>
                </c:pt>
                <c:pt idx="4088">
                  <c:v>42474</c:v>
                </c:pt>
                <c:pt idx="4089">
                  <c:v>42475</c:v>
                </c:pt>
                <c:pt idx="4090">
                  <c:v>42478</c:v>
                </c:pt>
                <c:pt idx="4091">
                  <c:v>42479</c:v>
                </c:pt>
                <c:pt idx="4092">
                  <c:v>42480</c:v>
                </c:pt>
                <c:pt idx="4093">
                  <c:v>42482</c:v>
                </c:pt>
                <c:pt idx="4094">
                  <c:v>42485</c:v>
                </c:pt>
                <c:pt idx="4095">
                  <c:v>42486</c:v>
                </c:pt>
                <c:pt idx="4096">
                  <c:v>42487</c:v>
                </c:pt>
                <c:pt idx="4097">
                  <c:v>42488</c:v>
                </c:pt>
                <c:pt idx="4098">
                  <c:v>42489</c:v>
                </c:pt>
                <c:pt idx="4099">
                  <c:v>42492</c:v>
                </c:pt>
                <c:pt idx="4100">
                  <c:v>42493</c:v>
                </c:pt>
                <c:pt idx="4101">
                  <c:v>42494</c:v>
                </c:pt>
                <c:pt idx="4102">
                  <c:v>42495</c:v>
                </c:pt>
                <c:pt idx="4103">
                  <c:v>42496</c:v>
                </c:pt>
                <c:pt idx="4104">
                  <c:v>42499</c:v>
                </c:pt>
                <c:pt idx="4105">
                  <c:v>42500</c:v>
                </c:pt>
                <c:pt idx="4106">
                  <c:v>42501</c:v>
                </c:pt>
                <c:pt idx="4107">
                  <c:v>42502</c:v>
                </c:pt>
                <c:pt idx="4108">
                  <c:v>42503</c:v>
                </c:pt>
                <c:pt idx="4109">
                  <c:v>42506</c:v>
                </c:pt>
                <c:pt idx="4110">
                  <c:v>42507</c:v>
                </c:pt>
                <c:pt idx="4111">
                  <c:v>42508</c:v>
                </c:pt>
                <c:pt idx="4112">
                  <c:v>42509</c:v>
                </c:pt>
                <c:pt idx="4113">
                  <c:v>42510</c:v>
                </c:pt>
                <c:pt idx="4114">
                  <c:v>42513</c:v>
                </c:pt>
                <c:pt idx="4115">
                  <c:v>42514</c:v>
                </c:pt>
                <c:pt idx="4116">
                  <c:v>42515</c:v>
                </c:pt>
                <c:pt idx="4117">
                  <c:v>42517</c:v>
                </c:pt>
                <c:pt idx="4118">
                  <c:v>42520</c:v>
                </c:pt>
                <c:pt idx="4119">
                  <c:v>42521</c:v>
                </c:pt>
                <c:pt idx="4120">
                  <c:v>42522</c:v>
                </c:pt>
                <c:pt idx="4121">
                  <c:v>42523</c:v>
                </c:pt>
                <c:pt idx="4122">
                  <c:v>42524</c:v>
                </c:pt>
                <c:pt idx="4123">
                  <c:v>42527</c:v>
                </c:pt>
                <c:pt idx="4124">
                  <c:v>42528</c:v>
                </c:pt>
                <c:pt idx="4125">
                  <c:v>42529</c:v>
                </c:pt>
                <c:pt idx="4126">
                  <c:v>42530</c:v>
                </c:pt>
                <c:pt idx="4127">
                  <c:v>42531</c:v>
                </c:pt>
                <c:pt idx="4128">
                  <c:v>42534</c:v>
                </c:pt>
                <c:pt idx="4129">
                  <c:v>42535</c:v>
                </c:pt>
                <c:pt idx="4130">
                  <c:v>42536</c:v>
                </c:pt>
                <c:pt idx="4131">
                  <c:v>42537</c:v>
                </c:pt>
                <c:pt idx="4132">
                  <c:v>42538</c:v>
                </c:pt>
                <c:pt idx="4133">
                  <c:v>42541</c:v>
                </c:pt>
                <c:pt idx="4134">
                  <c:v>42542</c:v>
                </c:pt>
                <c:pt idx="4135">
                  <c:v>42543</c:v>
                </c:pt>
                <c:pt idx="4136">
                  <c:v>42544</c:v>
                </c:pt>
                <c:pt idx="4137">
                  <c:v>42545</c:v>
                </c:pt>
                <c:pt idx="4138">
                  <c:v>42548</c:v>
                </c:pt>
                <c:pt idx="4139">
                  <c:v>42549</c:v>
                </c:pt>
                <c:pt idx="4140">
                  <c:v>42550</c:v>
                </c:pt>
                <c:pt idx="4141">
                  <c:v>42551</c:v>
                </c:pt>
                <c:pt idx="4142">
                  <c:v>42552</c:v>
                </c:pt>
                <c:pt idx="4143">
                  <c:v>42555</c:v>
                </c:pt>
                <c:pt idx="4144">
                  <c:v>42556</c:v>
                </c:pt>
                <c:pt idx="4145">
                  <c:v>42557</c:v>
                </c:pt>
                <c:pt idx="4146">
                  <c:v>42558</c:v>
                </c:pt>
                <c:pt idx="4147">
                  <c:v>42559</c:v>
                </c:pt>
                <c:pt idx="4148">
                  <c:v>42562</c:v>
                </c:pt>
                <c:pt idx="4149">
                  <c:v>42563</c:v>
                </c:pt>
                <c:pt idx="4150">
                  <c:v>42564</c:v>
                </c:pt>
                <c:pt idx="4151">
                  <c:v>42565</c:v>
                </c:pt>
                <c:pt idx="4152">
                  <c:v>42566</c:v>
                </c:pt>
                <c:pt idx="4153">
                  <c:v>42569</c:v>
                </c:pt>
                <c:pt idx="4154">
                  <c:v>42570</c:v>
                </c:pt>
                <c:pt idx="4155">
                  <c:v>42571</c:v>
                </c:pt>
                <c:pt idx="4156">
                  <c:v>42572</c:v>
                </c:pt>
                <c:pt idx="4157">
                  <c:v>42573</c:v>
                </c:pt>
                <c:pt idx="4158">
                  <c:v>42576</c:v>
                </c:pt>
                <c:pt idx="4159">
                  <c:v>42577</c:v>
                </c:pt>
                <c:pt idx="4160">
                  <c:v>42578</c:v>
                </c:pt>
                <c:pt idx="4161">
                  <c:v>42579</c:v>
                </c:pt>
                <c:pt idx="4162">
                  <c:v>42580</c:v>
                </c:pt>
                <c:pt idx="4163">
                  <c:v>42583</c:v>
                </c:pt>
                <c:pt idx="4164">
                  <c:v>42584</c:v>
                </c:pt>
                <c:pt idx="4165">
                  <c:v>42585</c:v>
                </c:pt>
                <c:pt idx="4166">
                  <c:v>42586</c:v>
                </c:pt>
                <c:pt idx="4167">
                  <c:v>42587</c:v>
                </c:pt>
                <c:pt idx="4168">
                  <c:v>42590</c:v>
                </c:pt>
                <c:pt idx="4169">
                  <c:v>42591</c:v>
                </c:pt>
                <c:pt idx="4170">
                  <c:v>42592</c:v>
                </c:pt>
                <c:pt idx="4171">
                  <c:v>42593</c:v>
                </c:pt>
                <c:pt idx="4172">
                  <c:v>42594</c:v>
                </c:pt>
                <c:pt idx="4173">
                  <c:v>42597</c:v>
                </c:pt>
                <c:pt idx="4174">
                  <c:v>42598</c:v>
                </c:pt>
                <c:pt idx="4175">
                  <c:v>42599</c:v>
                </c:pt>
                <c:pt idx="4176">
                  <c:v>42600</c:v>
                </c:pt>
                <c:pt idx="4177">
                  <c:v>42601</c:v>
                </c:pt>
                <c:pt idx="4178">
                  <c:v>42604</c:v>
                </c:pt>
                <c:pt idx="4179">
                  <c:v>42605</c:v>
                </c:pt>
                <c:pt idx="4180">
                  <c:v>42606</c:v>
                </c:pt>
                <c:pt idx="4181">
                  <c:v>42607</c:v>
                </c:pt>
                <c:pt idx="4182">
                  <c:v>42608</c:v>
                </c:pt>
                <c:pt idx="4183">
                  <c:v>42611</c:v>
                </c:pt>
                <c:pt idx="4184">
                  <c:v>42612</c:v>
                </c:pt>
                <c:pt idx="4185">
                  <c:v>42613</c:v>
                </c:pt>
                <c:pt idx="4186">
                  <c:v>42614</c:v>
                </c:pt>
                <c:pt idx="4187">
                  <c:v>42615</c:v>
                </c:pt>
                <c:pt idx="4188">
                  <c:v>42618</c:v>
                </c:pt>
                <c:pt idx="4189">
                  <c:v>42619</c:v>
                </c:pt>
                <c:pt idx="4190">
                  <c:v>42621</c:v>
                </c:pt>
                <c:pt idx="4191">
                  <c:v>42622</c:v>
                </c:pt>
                <c:pt idx="4192">
                  <c:v>42625</c:v>
                </c:pt>
                <c:pt idx="4193">
                  <c:v>42626</c:v>
                </c:pt>
                <c:pt idx="4194">
                  <c:v>42627</c:v>
                </c:pt>
                <c:pt idx="4195">
                  <c:v>42628</c:v>
                </c:pt>
                <c:pt idx="4196">
                  <c:v>42629</c:v>
                </c:pt>
                <c:pt idx="4197">
                  <c:v>42632</c:v>
                </c:pt>
                <c:pt idx="4198">
                  <c:v>42633</c:v>
                </c:pt>
                <c:pt idx="4199">
                  <c:v>42634</c:v>
                </c:pt>
                <c:pt idx="4200">
                  <c:v>42635</c:v>
                </c:pt>
                <c:pt idx="4201">
                  <c:v>42636</c:v>
                </c:pt>
                <c:pt idx="4202">
                  <c:v>42639</c:v>
                </c:pt>
                <c:pt idx="4203">
                  <c:v>42640</c:v>
                </c:pt>
                <c:pt idx="4204">
                  <c:v>42641</c:v>
                </c:pt>
                <c:pt idx="4205">
                  <c:v>42642</c:v>
                </c:pt>
                <c:pt idx="4206">
                  <c:v>42643</c:v>
                </c:pt>
                <c:pt idx="4207">
                  <c:v>42646</c:v>
                </c:pt>
                <c:pt idx="4208">
                  <c:v>42647</c:v>
                </c:pt>
                <c:pt idx="4209">
                  <c:v>42648</c:v>
                </c:pt>
                <c:pt idx="4210">
                  <c:v>42649</c:v>
                </c:pt>
                <c:pt idx="4211">
                  <c:v>42650</c:v>
                </c:pt>
                <c:pt idx="4212">
                  <c:v>42653</c:v>
                </c:pt>
                <c:pt idx="4213">
                  <c:v>42654</c:v>
                </c:pt>
                <c:pt idx="4214">
                  <c:v>42656</c:v>
                </c:pt>
                <c:pt idx="4215">
                  <c:v>42657</c:v>
                </c:pt>
                <c:pt idx="4216">
                  <c:v>42660</c:v>
                </c:pt>
                <c:pt idx="4217">
                  <c:v>42661</c:v>
                </c:pt>
                <c:pt idx="4218">
                  <c:v>42662</c:v>
                </c:pt>
                <c:pt idx="4219">
                  <c:v>42663</c:v>
                </c:pt>
                <c:pt idx="4220">
                  <c:v>42664</c:v>
                </c:pt>
                <c:pt idx="4221">
                  <c:v>42667</c:v>
                </c:pt>
                <c:pt idx="4222">
                  <c:v>42668</c:v>
                </c:pt>
                <c:pt idx="4223">
                  <c:v>42669</c:v>
                </c:pt>
                <c:pt idx="4224">
                  <c:v>42670</c:v>
                </c:pt>
                <c:pt idx="4225">
                  <c:v>42671</c:v>
                </c:pt>
                <c:pt idx="4226">
                  <c:v>42674</c:v>
                </c:pt>
                <c:pt idx="4227">
                  <c:v>42675</c:v>
                </c:pt>
                <c:pt idx="4228">
                  <c:v>42677</c:v>
                </c:pt>
                <c:pt idx="4229">
                  <c:v>42678</c:v>
                </c:pt>
                <c:pt idx="4230">
                  <c:v>42681</c:v>
                </c:pt>
                <c:pt idx="4231">
                  <c:v>42682</c:v>
                </c:pt>
                <c:pt idx="4232">
                  <c:v>42683</c:v>
                </c:pt>
                <c:pt idx="4233">
                  <c:v>42684</c:v>
                </c:pt>
                <c:pt idx="4234">
                  <c:v>42685</c:v>
                </c:pt>
                <c:pt idx="4235">
                  <c:v>42688</c:v>
                </c:pt>
                <c:pt idx="4236">
                  <c:v>42690</c:v>
                </c:pt>
                <c:pt idx="4237">
                  <c:v>42691</c:v>
                </c:pt>
                <c:pt idx="4238">
                  <c:v>42692</c:v>
                </c:pt>
                <c:pt idx="4239">
                  <c:v>42695</c:v>
                </c:pt>
                <c:pt idx="4240">
                  <c:v>42696</c:v>
                </c:pt>
                <c:pt idx="4241">
                  <c:v>42697</c:v>
                </c:pt>
                <c:pt idx="4242">
                  <c:v>42698</c:v>
                </c:pt>
                <c:pt idx="4243">
                  <c:v>42699</c:v>
                </c:pt>
                <c:pt idx="4244">
                  <c:v>42702</c:v>
                </c:pt>
                <c:pt idx="4245">
                  <c:v>42703</c:v>
                </c:pt>
                <c:pt idx="4246">
                  <c:v>42704</c:v>
                </c:pt>
                <c:pt idx="4247">
                  <c:v>42705</c:v>
                </c:pt>
                <c:pt idx="4248">
                  <c:v>42706</c:v>
                </c:pt>
                <c:pt idx="4249">
                  <c:v>42709</c:v>
                </c:pt>
                <c:pt idx="4250">
                  <c:v>42710</c:v>
                </c:pt>
                <c:pt idx="4251">
                  <c:v>42711</c:v>
                </c:pt>
                <c:pt idx="4252">
                  <c:v>42712</c:v>
                </c:pt>
                <c:pt idx="4253">
                  <c:v>42713</c:v>
                </c:pt>
                <c:pt idx="4254">
                  <c:v>42716</c:v>
                </c:pt>
                <c:pt idx="4255">
                  <c:v>42717</c:v>
                </c:pt>
                <c:pt idx="4256">
                  <c:v>42718</c:v>
                </c:pt>
                <c:pt idx="4257">
                  <c:v>42719</c:v>
                </c:pt>
                <c:pt idx="4258">
                  <c:v>42720</c:v>
                </c:pt>
                <c:pt idx="4259">
                  <c:v>42723</c:v>
                </c:pt>
                <c:pt idx="4260">
                  <c:v>42724</c:v>
                </c:pt>
                <c:pt idx="4261">
                  <c:v>42725</c:v>
                </c:pt>
                <c:pt idx="4262">
                  <c:v>42726</c:v>
                </c:pt>
                <c:pt idx="4263">
                  <c:v>42727</c:v>
                </c:pt>
                <c:pt idx="4264">
                  <c:v>42730</c:v>
                </c:pt>
                <c:pt idx="4265">
                  <c:v>42731</c:v>
                </c:pt>
                <c:pt idx="4266">
                  <c:v>42732</c:v>
                </c:pt>
                <c:pt idx="4267">
                  <c:v>42733</c:v>
                </c:pt>
                <c:pt idx="4268">
                  <c:v>42734</c:v>
                </c:pt>
                <c:pt idx="4269">
                  <c:v>42737</c:v>
                </c:pt>
                <c:pt idx="4270">
                  <c:v>42738</c:v>
                </c:pt>
                <c:pt idx="4271">
                  <c:v>42739</c:v>
                </c:pt>
                <c:pt idx="4272">
                  <c:v>42740</c:v>
                </c:pt>
                <c:pt idx="4273">
                  <c:v>42741</c:v>
                </c:pt>
                <c:pt idx="4274">
                  <c:v>42744</c:v>
                </c:pt>
                <c:pt idx="4275">
                  <c:v>42745</c:v>
                </c:pt>
                <c:pt idx="4276">
                  <c:v>42746</c:v>
                </c:pt>
                <c:pt idx="4277">
                  <c:v>42747</c:v>
                </c:pt>
                <c:pt idx="4278">
                  <c:v>42748</c:v>
                </c:pt>
                <c:pt idx="4279">
                  <c:v>42751</c:v>
                </c:pt>
                <c:pt idx="4280">
                  <c:v>42752</c:v>
                </c:pt>
                <c:pt idx="4281">
                  <c:v>42753</c:v>
                </c:pt>
                <c:pt idx="4282">
                  <c:v>42754</c:v>
                </c:pt>
                <c:pt idx="4283">
                  <c:v>42755</c:v>
                </c:pt>
                <c:pt idx="4284">
                  <c:v>42758</c:v>
                </c:pt>
                <c:pt idx="4285">
                  <c:v>42759</c:v>
                </c:pt>
                <c:pt idx="4286">
                  <c:v>42760</c:v>
                </c:pt>
                <c:pt idx="4287">
                  <c:v>42761</c:v>
                </c:pt>
                <c:pt idx="4288">
                  <c:v>42762</c:v>
                </c:pt>
                <c:pt idx="4289">
                  <c:v>42765</c:v>
                </c:pt>
                <c:pt idx="4290">
                  <c:v>42766</c:v>
                </c:pt>
                <c:pt idx="4291">
                  <c:v>42767</c:v>
                </c:pt>
                <c:pt idx="4292">
                  <c:v>42768</c:v>
                </c:pt>
                <c:pt idx="4293">
                  <c:v>42769</c:v>
                </c:pt>
              </c:numCache>
            </c:numRef>
          </c:cat>
          <c:val>
            <c:numRef>
              <c:f>Plan1!$B$2:$B$4295</c:f>
              <c:numCache>
                <c:formatCode>General</c:formatCode>
                <c:ptCount val="4294"/>
                <c:pt idx="0">
                  <c:v>0.16585068955000001</c:v>
                </c:pt>
                <c:pt idx="1">
                  <c:v>0.16585193044999999</c:v>
                </c:pt>
                <c:pt idx="2">
                  <c:v>0.16592133115000002</c:v>
                </c:pt>
                <c:pt idx="3">
                  <c:v>0.16598995590000001</c:v>
                </c:pt>
                <c:pt idx="4">
                  <c:v>0.16605860790000002</c:v>
                </c:pt>
                <c:pt idx="5">
                  <c:v>0.16623437305000002</c:v>
                </c:pt>
                <c:pt idx="6">
                  <c:v>0.16630380095</c:v>
                </c:pt>
                <c:pt idx="7">
                  <c:v>0.16589760865</c:v>
                </c:pt>
                <c:pt idx="8">
                  <c:v>0.1659092244</c:v>
                </c:pt>
                <c:pt idx="9">
                  <c:v>0.16597926265000001</c:v>
                </c:pt>
                <c:pt idx="10">
                  <c:v>0.16614754700000001</c:v>
                </c:pt>
                <c:pt idx="11">
                  <c:v>0.16621695409999998</c:v>
                </c:pt>
                <c:pt idx="12">
                  <c:v>0.16628638980000002</c:v>
                </c:pt>
                <c:pt idx="13">
                  <c:v>0.16635585235</c:v>
                </c:pt>
                <c:pt idx="14">
                  <c:v>0.16642534805</c:v>
                </c:pt>
                <c:pt idx="15">
                  <c:v>0.16566459930000002</c:v>
                </c:pt>
                <c:pt idx="16">
                  <c:v>0.16478462515</c:v>
                </c:pt>
                <c:pt idx="17">
                  <c:v>0.16486376580000001</c:v>
                </c:pt>
                <c:pt idx="18">
                  <c:v>0.1649320155</c:v>
                </c:pt>
                <c:pt idx="19">
                  <c:v>0.16499377115</c:v>
                </c:pt>
                <c:pt idx="20">
                  <c:v>0.16508284615000002</c:v>
                </c:pt>
                <c:pt idx="21">
                  <c:v>0.1645623588</c:v>
                </c:pt>
                <c:pt idx="22">
                  <c:v>0.16456306875000001</c:v>
                </c:pt>
                <c:pt idx="23">
                  <c:v>0.16463173880000001</c:v>
                </c:pt>
                <c:pt idx="24">
                  <c:v>0.1646996305</c:v>
                </c:pt>
                <c:pt idx="25">
                  <c:v>0.16486601255000002</c:v>
                </c:pt>
                <c:pt idx="26">
                  <c:v>0.1649339997</c:v>
                </c:pt>
                <c:pt idx="27">
                  <c:v>0.16500201595</c:v>
                </c:pt>
                <c:pt idx="28">
                  <c:v>0.16507005665000002</c:v>
                </c:pt>
                <c:pt idx="29">
                  <c:v>0.165138126</c:v>
                </c:pt>
                <c:pt idx="30">
                  <c:v>0.16482038415</c:v>
                </c:pt>
                <c:pt idx="31">
                  <c:v>0.16483819044999998</c:v>
                </c:pt>
                <c:pt idx="32">
                  <c:v>0.16490627659999998</c:v>
                </c:pt>
                <c:pt idx="33">
                  <c:v>0.16497405269999998</c:v>
                </c:pt>
                <c:pt idx="34">
                  <c:v>0.16504185865000001</c:v>
                </c:pt>
                <c:pt idx="35">
                  <c:v>0.16520859969999999</c:v>
                </c:pt>
                <c:pt idx="36">
                  <c:v>0.16527650019999998</c:v>
                </c:pt>
                <c:pt idx="37">
                  <c:v>0.16443502930000001</c:v>
                </c:pt>
                <c:pt idx="38">
                  <c:v>0.16353180355000002</c:v>
                </c:pt>
                <c:pt idx="39">
                  <c:v>0.16360648794999999</c:v>
                </c:pt>
                <c:pt idx="40">
                  <c:v>0.16377531819999999</c:v>
                </c:pt>
                <c:pt idx="41">
                  <c:v>0.16375230905000002</c:v>
                </c:pt>
                <c:pt idx="42">
                  <c:v>0.16322307575</c:v>
                </c:pt>
                <c:pt idx="43">
                  <c:v>0.16322377605000002</c:v>
                </c:pt>
                <c:pt idx="44">
                  <c:v>0.16328789465000002</c:v>
                </c:pt>
                <c:pt idx="45">
                  <c:v>0.16355490235</c:v>
                </c:pt>
                <c:pt idx="46">
                  <c:v>0.16361833075000001</c:v>
                </c:pt>
                <c:pt idx="47">
                  <c:v>0.16368178130000002</c:v>
                </c:pt>
                <c:pt idx="48">
                  <c:v>0.16335975464999999</c:v>
                </c:pt>
                <c:pt idx="49">
                  <c:v>0.1633753523</c:v>
                </c:pt>
                <c:pt idx="50">
                  <c:v>0.16343949845</c:v>
                </c:pt>
                <c:pt idx="51">
                  <c:v>0.16350307984999998</c:v>
                </c:pt>
                <c:pt idx="52">
                  <c:v>0.16356668739999999</c:v>
                </c:pt>
                <c:pt idx="53">
                  <c:v>0.1637321226</c:v>
                </c:pt>
                <c:pt idx="54">
                  <c:v>0.16379581769999998</c:v>
                </c:pt>
                <c:pt idx="55">
                  <c:v>0.16385954215000001</c:v>
                </c:pt>
                <c:pt idx="56">
                  <c:v>0.1630032347</c:v>
                </c:pt>
                <c:pt idx="57">
                  <c:v>0.16210175565000001</c:v>
                </c:pt>
                <c:pt idx="58">
                  <c:v>0.16162178325000001</c:v>
                </c:pt>
                <c:pt idx="59">
                  <c:v>0.1616742931</c:v>
                </c:pt>
                <c:pt idx="60">
                  <c:v>0.16173780085</c:v>
                </c:pt>
                <c:pt idx="61">
                  <c:v>0.16171139405000001</c:v>
                </c:pt>
                <c:pt idx="62">
                  <c:v>0.161758385</c:v>
                </c:pt>
                <c:pt idx="63">
                  <c:v>0.16130236549999999</c:v>
                </c:pt>
                <c:pt idx="64">
                  <c:v>0.16130612055000002</c:v>
                </c:pt>
                <c:pt idx="65">
                  <c:v>0.1613642468</c:v>
                </c:pt>
                <c:pt idx="66">
                  <c:v>0.16142197819999998</c:v>
                </c:pt>
                <c:pt idx="67">
                  <c:v>0.16091935600000001</c:v>
                </c:pt>
                <c:pt idx="68">
                  <c:v>0.16107966225000001</c:v>
                </c:pt>
                <c:pt idx="69">
                  <c:v>0.1611442424</c:v>
                </c:pt>
                <c:pt idx="70">
                  <c:v>0.16071748959999999</c:v>
                </c:pt>
                <c:pt idx="71">
                  <c:v>0.16073677605</c:v>
                </c:pt>
                <c:pt idx="72">
                  <c:v>0.16080160459999998</c:v>
                </c:pt>
                <c:pt idx="73">
                  <c:v>0.16096184625000001</c:v>
                </c:pt>
                <c:pt idx="74">
                  <c:v>0.16102632944999998</c:v>
                </c:pt>
                <c:pt idx="75">
                  <c:v>0.16109083900000001</c:v>
                </c:pt>
                <c:pt idx="76">
                  <c:v>0.16115537145</c:v>
                </c:pt>
                <c:pt idx="77">
                  <c:v>0.16040184290000001</c:v>
                </c:pt>
                <c:pt idx="78">
                  <c:v>0.15909396084999999</c:v>
                </c:pt>
                <c:pt idx="79">
                  <c:v>0.15916592219999998</c:v>
                </c:pt>
                <c:pt idx="80">
                  <c:v>0.15922924115000001</c:v>
                </c:pt>
                <c:pt idx="81">
                  <c:v>0.15886579515000002</c:v>
                </c:pt>
                <c:pt idx="82">
                  <c:v>0.1583930731</c:v>
                </c:pt>
                <c:pt idx="83">
                  <c:v>0.15839621540000001</c:v>
                </c:pt>
                <c:pt idx="84">
                  <c:v>0.15846093790000002</c:v>
                </c:pt>
                <c:pt idx="85">
                  <c:v>0.15852496205000002</c:v>
                </c:pt>
                <c:pt idx="86">
                  <c:v>0.15868604784999998</c:v>
                </c:pt>
                <c:pt idx="87">
                  <c:v>0.15875016365</c:v>
                </c:pt>
                <c:pt idx="88">
                  <c:v>0.15881430615</c:v>
                </c:pt>
                <c:pt idx="89">
                  <c:v>0.16424737250999999</c:v>
                </c:pt>
                <c:pt idx="90">
                  <c:v>0.16381809022999999</c:v>
                </c:pt>
                <c:pt idx="91">
                  <c:v>0.16394749838999997</c:v>
                </c:pt>
                <c:pt idx="92">
                  <c:v>0.16401507566999998</c:v>
                </c:pt>
                <c:pt idx="93">
                  <c:v>0.16408227861999999</c:v>
                </c:pt>
                <c:pt idx="94">
                  <c:v>0.16414950772</c:v>
                </c:pt>
                <c:pt idx="95">
                  <c:v>0.16421676502999999</c:v>
                </c:pt>
                <c:pt idx="96">
                  <c:v>0.16438747125</c:v>
                </c:pt>
                <c:pt idx="97">
                  <c:v>0.16351222706999999</c:v>
                </c:pt>
                <c:pt idx="98">
                  <c:v>0.16262917034999999</c:v>
                </c:pt>
                <c:pt idx="99">
                  <c:v>0.16270813984999999</c:v>
                </c:pt>
                <c:pt idx="100">
                  <c:v>0.16277617356999999</c:v>
                </c:pt>
                <c:pt idx="101">
                  <c:v>0.16236774409000002</c:v>
                </c:pt>
                <c:pt idx="102">
                  <c:v>0.16194734139</c:v>
                </c:pt>
                <c:pt idx="103">
                  <c:v>0.16200789722</c:v>
                </c:pt>
                <c:pt idx="104">
                  <c:v>0.16146478781000001</c:v>
                </c:pt>
                <c:pt idx="105">
                  <c:v>0.16148292399</c:v>
                </c:pt>
                <c:pt idx="106">
                  <c:v>0.16164815847</c:v>
                </c:pt>
                <c:pt idx="107">
                  <c:v>0.16171397265999998</c:v>
                </c:pt>
                <c:pt idx="108">
                  <c:v>0.16177981262000002</c:v>
                </c:pt>
                <c:pt idx="109">
                  <c:v>0.16184568052000001</c:v>
                </c:pt>
                <c:pt idx="110">
                  <c:v>0.1619115743</c:v>
                </c:pt>
                <c:pt idx="111">
                  <c:v>0.16156845371</c:v>
                </c:pt>
                <c:pt idx="112">
                  <c:v>0.16150664338999998</c:v>
                </c:pt>
                <c:pt idx="113">
                  <c:v>0.16157278290999999</c:v>
                </c:pt>
                <c:pt idx="114">
                  <c:v>0.16163859863999999</c:v>
                </c:pt>
                <c:pt idx="115">
                  <c:v>0.16170443937000001</c:v>
                </c:pt>
                <c:pt idx="116">
                  <c:v>0.16186947653</c:v>
                </c:pt>
                <c:pt idx="117">
                  <c:v>0.16193541625999999</c:v>
                </c:pt>
                <c:pt idx="118">
                  <c:v>0.16200138090000002</c:v>
                </c:pt>
                <c:pt idx="119">
                  <c:v>0.16116244322000001</c:v>
                </c:pt>
                <c:pt idx="120">
                  <c:v>0.16038474927000002</c:v>
                </c:pt>
                <c:pt idx="121">
                  <c:v>0.1598971837</c:v>
                </c:pt>
                <c:pt idx="122">
                  <c:v>0.15953632246000002</c:v>
                </c:pt>
                <c:pt idx="123">
                  <c:v>0.15960324934</c:v>
                </c:pt>
                <c:pt idx="124">
                  <c:v>0.15957848119000001</c:v>
                </c:pt>
                <c:pt idx="125">
                  <c:v>0.15911233433999999</c:v>
                </c:pt>
                <c:pt idx="126">
                  <c:v>0.15913448373</c:v>
                </c:pt>
                <c:pt idx="127">
                  <c:v>0.15919689955999999</c:v>
                </c:pt>
                <c:pt idx="128">
                  <c:v>0.15925902056999999</c:v>
                </c:pt>
                <c:pt idx="129">
                  <c:v>0.15932116240999999</c:v>
                </c:pt>
                <c:pt idx="130">
                  <c:v>0.15887373166999999</c:v>
                </c:pt>
                <c:pt idx="131">
                  <c:v>0.15884144567</c:v>
                </c:pt>
                <c:pt idx="132">
                  <c:v>0.15839591956000001</c:v>
                </c:pt>
                <c:pt idx="133">
                  <c:v>0.15842539876</c:v>
                </c:pt>
                <c:pt idx="134">
                  <c:v>0.1584873292</c:v>
                </c:pt>
                <c:pt idx="135">
                  <c:v>0.15864870344000001</c:v>
                </c:pt>
                <c:pt idx="136">
                  <c:v>0.15871043294000001</c:v>
                </c:pt>
                <c:pt idx="137">
                  <c:v>0.15877218844999999</c:v>
                </c:pt>
                <c:pt idx="138">
                  <c:v>0.15883396625999999</c:v>
                </c:pt>
                <c:pt idx="139">
                  <c:v>0.15889576873</c:v>
                </c:pt>
                <c:pt idx="140">
                  <c:v>0.15806092553999998</c:v>
                </c:pt>
                <c:pt idx="141">
                  <c:v>0.15721862969</c:v>
                </c:pt>
                <c:pt idx="142">
                  <c:v>0.15728621356</c:v>
                </c:pt>
                <c:pt idx="143">
                  <c:v>0.15678296718000001</c:v>
                </c:pt>
                <c:pt idx="144">
                  <c:v>0.15642345318</c:v>
                </c:pt>
                <c:pt idx="145">
                  <c:v>0.15649290468999999</c:v>
                </c:pt>
                <c:pt idx="146">
                  <c:v>0.15591787305000002</c:v>
                </c:pt>
                <c:pt idx="147">
                  <c:v>0.15593943136999999</c:v>
                </c:pt>
                <c:pt idx="148">
                  <c:v>0.15599848875</c:v>
                </c:pt>
                <c:pt idx="149">
                  <c:v>0.15605724017</c:v>
                </c:pt>
                <c:pt idx="150">
                  <c:v>0.15621143552</c:v>
                </c:pt>
                <c:pt idx="151">
                  <c:v>0.15627026572</c:v>
                </c:pt>
                <c:pt idx="152">
                  <c:v>0.15632912224000001</c:v>
                </c:pt>
                <c:pt idx="153">
                  <c:v>0.15616209580000001</c:v>
                </c:pt>
                <c:pt idx="154">
                  <c:v>0.15613460322</c:v>
                </c:pt>
                <c:pt idx="155">
                  <c:v>0.15577396875999999</c:v>
                </c:pt>
                <c:pt idx="156">
                  <c:v>0.15580633193999999</c:v>
                </c:pt>
                <c:pt idx="157">
                  <c:v>0.15586495553999999</c:v>
                </c:pt>
                <c:pt idx="158">
                  <c:v>0.15592347898</c:v>
                </c:pt>
                <c:pt idx="159">
                  <c:v>0.15598202469</c:v>
                </c:pt>
                <c:pt idx="160">
                  <c:v>0.15613583213999999</c:v>
                </c:pt>
                <c:pt idx="161">
                  <c:v>0.15619445806000001</c:v>
                </c:pt>
                <c:pt idx="162">
                  <c:v>0.15527605927999999</c:v>
                </c:pt>
                <c:pt idx="163">
                  <c:v>0.15440965327</c:v>
                </c:pt>
                <c:pt idx="164">
                  <c:v>0.15447382355</c:v>
                </c:pt>
                <c:pt idx="165">
                  <c:v>0.15404100484</c:v>
                </c:pt>
                <c:pt idx="166">
                  <c:v>0.15369723381</c:v>
                </c:pt>
                <c:pt idx="167">
                  <c:v>0.15366840008000002</c:v>
                </c:pt>
                <c:pt idx="168">
                  <c:v>0.15371819716999999</c:v>
                </c:pt>
                <c:pt idx="169">
                  <c:v>0.15314059865999999</c:v>
                </c:pt>
                <c:pt idx="170">
                  <c:v>0.15325924093000001</c:v>
                </c:pt>
                <c:pt idx="171">
                  <c:v>0.15331628513999998</c:v>
                </c:pt>
                <c:pt idx="172">
                  <c:v>0.15337318904</c:v>
                </c:pt>
                <c:pt idx="173">
                  <c:v>0.15347701397999999</c:v>
                </c:pt>
                <c:pt idx="174">
                  <c:v>0.20840593766999999</c:v>
                </c:pt>
                <c:pt idx="175">
                  <c:v>0.20787747626</c:v>
                </c:pt>
                <c:pt idx="176">
                  <c:v>0.20792327506</c:v>
                </c:pt>
                <c:pt idx="177">
                  <c:v>0.20799243128</c:v>
                </c:pt>
                <c:pt idx="178">
                  <c:v>0.20806145559</c:v>
                </c:pt>
                <c:pt idx="179">
                  <c:v>0.20824157838999999</c:v>
                </c:pt>
                <c:pt idx="180">
                  <c:v>0.20831068762000002</c:v>
                </c:pt>
                <c:pt idx="181">
                  <c:v>0.20837981994999999</c:v>
                </c:pt>
                <c:pt idx="182">
                  <c:v>0.20844897844999999</c:v>
                </c:pt>
                <c:pt idx="183">
                  <c:v>0.20851815853</c:v>
                </c:pt>
                <c:pt idx="184">
                  <c:v>0.20765116791999999</c:v>
                </c:pt>
                <c:pt idx="185">
                  <c:v>0.20686453596000001</c:v>
                </c:pt>
                <c:pt idx="186">
                  <c:v>0.20635488954</c:v>
                </c:pt>
                <c:pt idx="187">
                  <c:v>0.20601160212</c:v>
                </c:pt>
                <c:pt idx="188">
                  <c:v>0.20608189322999998</c:v>
                </c:pt>
                <c:pt idx="189">
                  <c:v>0.20558512806999998</c:v>
                </c:pt>
                <c:pt idx="190">
                  <c:v>0.20561979746</c:v>
                </c:pt>
                <c:pt idx="191">
                  <c:v>0.21199682810000001</c:v>
                </c:pt>
                <c:pt idx="192">
                  <c:v>0.21206601383000001</c:v>
                </c:pt>
                <c:pt idx="193">
                  <c:v>0.21213178066999999</c:v>
                </c:pt>
                <c:pt idx="194">
                  <c:v>0.21232056549</c:v>
                </c:pt>
                <c:pt idx="195">
                  <c:v>0.21217168008000001</c:v>
                </c:pt>
                <c:pt idx="196">
                  <c:v>0.21216561608000001</c:v>
                </c:pt>
                <c:pt idx="197">
                  <c:v>0.21176891315000002</c:v>
                </c:pt>
                <c:pt idx="198">
                  <c:v>0.21193614021999999</c:v>
                </c:pt>
                <c:pt idx="199">
                  <c:v>0.21200454869999999</c:v>
                </c:pt>
                <c:pt idx="200">
                  <c:v>0.21207289074999999</c:v>
                </c:pt>
                <c:pt idx="201">
                  <c:v>0.21214125293</c:v>
                </c:pt>
                <c:pt idx="202">
                  <c:v>0.21220964438000001</c:v>
                </c:pt>
                <c:pt idx="203">
                  <c:v>0.21139622158000002</c:v>
                </c:pt>
                <c:pt idx="204">
                  <c:v>0.21055960209999999</c:v>
                </c:pt>
                <c:pt idx="205">
                  <c:v>0.21063659237000001</c:v>
                </c:pt>
                <c:pt idx="206">
                  <c:v>0.21070698611000002</c:v>
                </c:pt>
                <c:pt idx="207">
                  <c:v>0.21019062309</c:v>
                </c:pt>
                <c:pt idx="208">
                  <c:v>0.20959851248</c:v>
                </c:pt>
                <c:pt idx="209">
                  <c:v>0.20959706684000001</c:v>
                </c:pt>
                <c:pt idx="210">
                  <c:v>0.20917342672</c:v>
                </c:pt>
                <c:pt idx="211">
                  <c:v>0.20927637109</c:v>
                </c:pt>
                <c:pt idx="212">
                  <c:v>0.20945749630999999</c:v>
                </c:pt>
                <c:pt idx="213">
                  <c:v>0.20952300228999998</c:v>
                </c:pt>
                <c:pt idx="214">
                  <c:v>0.20959461771000001</c:v>
                </c:pt>
                <c:pt idx="215">
                  <c:v>0.20966321468000002</c:v>
                </c:pt>
                <c:pt idx="216">
                  <c:v>0.20951944424000002</c:v>
                </c:pt>
                <c:pt idx="217">
                  <c:v>0.20909877903000001</c:v>
                </c:pt>
                <c:pt idx="218">
                  <c:v>0.20915343697</c:v>
                </c:pt>
                <c:pt idx="219">
                  <c:v>0.20927818040000001</c:v>
                </c:pt>
                <c:pt idx="220">
                  <c:v>0.20934661571999999</c:v>
                </c:pt>
                <c:pt idx="221">
                  <c:v>0.20952779840999999</c:v>
                </c:pt>
                <c:pt idx="222">
                  <c:v>0.20959632584000001</c:v>
                </c:pt>
                <c:pt idx="223">
                  <c:v>0.20966487058000002</c:v>
                </c:pt>
                <c:pt idx="224">
                  <c:v>0.20872253253</c:v>
                </c:pt>
                <c:pt idx="225">
                  <c:v>0.20789279441</c:v>
                </c:pt>
                <c:pt idx="226">
                  <c:v>0.20748782428999998</c:v>
                </c:pt>
                <c:pt idx="227">
                  <c:v>0.20715713041</c:v>
                </c:pt>
                <c:pt idx="228">
                  <c:v>0.2069728425</c:v>
                </c:pt>
                <c:pt idx="229">
                  <c:v>0.20687553525999999</c:v>
                </c:pt>
                <c:pt idx="230">
                  <c:v>0.20653173455000001</c:v>
                </c:pt>
                <c:pt idx="231">
                  <c:v>0.20669764453</c:v>
                </c:pt>
                <c:pt idx="232">
                  <c:v>0.20021565493000001</c:v>
                </c:pt>
                <c:pt idx="233">
                  <c:v>0.19947138105000001</c:v>
                </c:pt>
                <c:pt idx="234">
                  <c:v>0.19954300876</c:v>
                </c:pt>
                <c:pt idx="235">
                  <c:v>0.19961162049</c:v>
                </c:pt>
                <c:pt idx="236">
                  <c:v>0.19956478776</c:v>
                </c:pt>
                <c:pt idx="237">
                  <c:v>0.19903487704</c:v>
                </c:pt>
                <c:pt idx="238">
                  <c:v>0.19909385069999999</c:v>
                </c:pt>
                <c:pt idx="239">
                  <c:v>0.19916228694999999</c:v>
                </c:pt>
                <c:pt idx="240">
                  <c:v>0.19923070789</c:v>
                </c:pt>
                <c:pt idx="241">
                  <c:v>0.19941054213999998</c:v>
                </c:pt>
                <c:pt idx="242">
                  <c:v>0.19947905463999999</c:v>
                </c:pt>
                <c:pt idx="243">
                  <c:v>0.19954759244999998</c:v>
                </c:pt>
                <c:pt idx="244">
                  <c:v>0.19961615333999999</c:v>
                </c:pt>
                <c:pt idx="245">
                  <c:v>0.19968473753999999</c:v>
                </c:pt>
                <c:pt idx="246">
                  <c:v>0.19742646721000001</c:v>
                </c:pt>
                <c:pt idx="247">
                  <c:v>0.19608365111000001</c:v>
                </c:pt>
                <c:pt idx="248">
                  <c:v>0.19575267531999999</c:v>
                </c:pt>
                <c:pt idx="249">
                  <c:v>0.19555002574000002</c:v>
                </c:pt>
                <c:pt idx="250">
                  <c:v>0.19526540809000001</c:v>
                </c:pt>
                <c:pt idx="251">
                  <c:v>0.19531017756999999</c:v>
                </c:pt>
                <c:pt idx="252">
                  <c:v>0.19537248431999998</c:v>
                </c:pt>
                <c:pt idx="253">
                  <c:v>0.19543472097</c:v>
                </c:pt>
                <c:pt idx="254">
                  <c:v>0.19560016977</c:v>
                </c:pt>
                <c:pt idx="255">
                  <c:v>0.19566378237000001</c:v>
                </c:pt>
                <c:pt idx="256">
                  <c:v>0.19521134702000001</c:v>
                </c:pt>
                <c:pt idx="257">
                  <c:v>0.19520736279000001</c:v>
                </c:pt>
                <c:pt idx="258">
                  <c:v>0.19526851712000001</c:v>
                </c:pt>
                <c:pt idx="259">
                  <c:v>0.19489132538999998</c:v>
                </c:pt>
                <c:pt idx="260">
                  <c:v>0.19495236696000001</c:v>
                </c:pt>
                <c:pt idx="261">
                  <c:v>0.19538193780999999</c:v>
                </c:pt>
                <c:pt idx="262">
                  <c:v>0.14600827778</c:v>
                </c:pt>
                <c:pt idx="263">
                  <c:v>0.14605925853000001</c:v>
                </c:pt>
                <c:pt idx="264">
                  <c:v>0.14620010841999997</c:v>
                </c:pt>
                <c:pt idx="265">
                  <c:v>0.13837365372999999</c:v>
                </c:pt>
                <c:pt idx="266">
                  <c:v>0.13755831780000002</c:v>
                </c:pt>
                <c:pt idx="267">
                  <c:v>0.13761716977999999</c:v>
                </c:pt>
                <c:pt idx="268">
                  <c:v>0.13766933180999999</c:v>
                </c:pt>
                <c:pt idx="269">
                  <c:v>0.13683665181000002</c:v>
                </c:pt>
                <c:pt idx="270">
                  <c:v>0.13635905096000001</c:v>
                </c:pt>
                <c:pt idx="271">
                  <c:v>0.13640881097999999</c:v>
                </c:pt>
                <c:pt idx="272">
                  <c:v>0.14913546363999999</c:v>
                </c:pt>
                <c:pt idx="273">
                  <c:v>0.14917934783</c:v>
                </c:pt>
                <c:pt idx="274">
                  <c:v>0.14932629905</c:v>
                </c:pt>
                <c:pt idx="275">
                  <c:v>0.14938128675999998</c:v>
                </c:pt>
                <c:pt idx="276">
                  <c:v>0.14943629518000001</c:v>
                </c:pt>
                <c:pt idx="277">
                  <c:v>0.14949132180000002</c:v>
                </c:pt>
                <c:pt idx="278">
                  <c:v>0.14954637068999999</c:v>
                </c:pt>
                <c:pt idx="279">
                  <c:v>0.14944688306999998</c:v>
                </c:pt>
                <c:pt idx="280">
                  <c:v>0.14944931330000003</c:v>
                </c:pt>
                <c:pt idx="281">
                  <c:v>0.14950428606999999</c:v>
                </c:pt>
                <c:pt idx="282">
                  <c:v>0.14955927591999998</c:v>
                </c:pt>
                <c:pt idx="283">
                  <c:v>0.16611990856</c:v>
                </c:pt>
                <c:pt idx="284">
                  <c:v>0.16628470069999998</c:v>
                </c:pt>
                <c:pt idx="285">
                  <c:v>0.16634580816</c:v>
                </c:pt>
                <c:pt idx="286">
                  <c:v>0.16640693240000001</c:v>
                </c:pt>
                <c:pt idx="287">
                  <c:v>0.16646808197999999</c:v>
                </c:pt>
                <c:pt idx="288">
                  <c:v>0.16565737137</c:v>
                </c:pt>
                <c:pt idx="289">
                  <c:v>0.16412718568000001</c:v>
                </c:pt>
                <c:pt idx="290">
                  <c:v>0.16348899292999999</c:v>
                </c:pt>
                <c:pt idx="291">
                  <c:v>0.16345707131000001</c:v>
                </c:pt>
                <c:pt idx="292">
                  <c:v>0.16350192996999999</c:v>
                </c:pt>
                <c:pt idx="293">
                  <c:v>0.16356021533000001</c:v>
                </c:pt>
                <c:pt idx="294">
                  <c:v>0.16361851962999999</c:v>
                </c:pt>
                <c:pt idx="295">
                  <c:v>0.16367684654</c:v>
                </c:pt>
                <c:pt idx="296">
                  <c:v>0.16373519461000002</c:v>
                </c:pt>
                <c:pt idx="297">
                  <c:v>0.16366489672000001</c:v>
                </c:pt>
                <c:pt idx="298">
                  <c:v>0.16367978862999999</c:v>
                </c:pt>
                <c:pt idx="299">
                  <c:v>0.16373807713999999</c:v>
                </c:pt>
                <c:pt idx="300">
                  <c:v>0.16379638496000001</c:v>
                </c:pt>
                <c:pt idx="301">
                  <c:v>0.16332698389</c:v>
                </c:pt>
                <c:pt idx="302">
                  <c:v>0.16349467056</c:v>
                </c:pt>
                <c:pt idx="303">
                  <c:v>0.16355300524000002</c:v>
                </c:pt>
                <c:pt idx="304">
                  <c:v>0.16361136430000001</c:v>
                </c:pt>
                <c:pt idx="305">
                  <c:v>0.16363495206000001</c:v>
                </c:pt>
                <c:pt idx="306">
                  <c:v>0.16258381275</c:v>
                </c:pt>
                <c:pt idx="307">
                  <c:v>0.16194714681</c:v>
                </c:pt>
                <c:pt idx="308">
                  <c:v>0.16145464111999999</c:v>
                </c:pt>
                <c:pt idx="309">
                  <c:v>0.16113244675999999</c:v>
                </c:pt>
                <c:pt idx="310">
                  <c:v>0.16093420318000001</c:v>
                </c:pt>
                <c:pt idx="311">
                  <c:v>0.16084297492999999</c:v>
                </c:pt>
                <c:pt idx="312">
                  <c:v>0.16066745937000002</c:v>
                </c:pt>
                <c:pt idx="313">
                  <c:v>0.16059591620999999</c:v>
                </c:pt>
                <c:pt idx="314">
                  <c:v>0.16065699487999999</c:v>
                </c:pt>
                <c:pt idx="315">
                  <c:v>0.16071805897999999</c:v>
                </c:pt>
                <c:pt idx="316">
                  <c:v>0.16077914455</c:v>
                </c:pt>
                <c:pt idx="317">
                  <c:v>0.16093921979</c:v>
                </c:pt>
                <c:pt idx="318">
                  <c:v>0.16070329238</c:v>
                </c:pt>
                <c:pt idx="319">
                  <c:v>0.16071714921999999</c:v>
                </c:pt>
                <c:pt idx="320">
                  <c:v>0.16077816784000001</c:v>
                </c:pt>
                <c:pt idx="321">
                  <c:v>0.16060972458</c:v>
                </c:pt>
                <c:pt idx="322">
                  <c:v>0.16051791281</c:v>
                </c:pt>
                <c:pt idx="323">
                  <c:v>0.16058042249000001</c:v>
                </c:pt>
                <c:pt idx="324">
                  <c:v>0.16064175144999998</c:v>
                </c:pt>
                <c:pt idx="325">
                  <c:v>0.16070310438999999</c:v>
                </c:pt>
                <c:pt idx="326">
                  <c:v>0.15954326578</c:v>
                </c:pt>
                <c:pt idx="327">
                  <c:v>0.16276237122999998</c:v>
                </c:pt>
                <c:pt idx="328">
                  <c:v>0.16283411306000001</c:v>
                </c:pt>
                <c:pt idx="329">
                  <c:v>0.16289835072</c:v>
                </c:pt>
                <c:pt idx="330">
                  <c:v>0.16234185612999999</c:v>
                </c:pt>
                <c:pt idx="331">
                  <c:v>0.16188595316999999</c:v>
                </c:pt>
                <c:pt idx="332">
                  <c:v>0.16159617921</c:v>
                </c:pt>
                <c:pt idx="333">
                  <c:v>0.16153315191000001</c:v>
                </c:pt>
                <c:pt idx="334">
                  <c:v>0.16159580156</c:v>
                </c:pt>
                <c:pt idx="335">
                  <c:v>0.16176054315000002</c:v>
                </c:pt>
                <c:pt idx="336">
                  <c:v>0.16182325097</c:v>
                </c:pt>
                <c:pt idx="337">
                  <c:v>0.16188598508999999</c:v>
                </c:pt>
                <c:pt idx="338">
                  <c:v>0.16172547206999999</c:v>
                </c:pt>
                <c:pt idx="339">
                  <c:v>0.16174770896999999</c:v>
                </c:pt>
                <c:pt idx="340">
                  <c:v>0.16185011965000001</c:v>
                </c:pt>
                <c:pt idx="341">
                  <c:v>0.16150535715</c:v>
                </c:pt>
                <c:pt idx="342">
                  <c:v>0.16141292971000001</c:v>
                </c:pt>
                <c:pt idx="343">
                  <c:v>0.16147732443000001</c:v>
                </c:pt>
                <c:pt idx="344">
                  <c:v>0.16154014193000002</c:v>
                </c:pt>
                <c:pt idx="345">
                  <c:v>0.16170458344999999</c:v>
                </c:pt>
                <c:pt idx="346">
                  <c:v>0.16176748802000002</c:v>
                </c:pt>
                <c:pt idx="347">
                  <c:v>0.29601478432</c:v>
                </c:pt>
                <c:pt idx="348">
                  <c:v>0.29535139507999997</c:v>
                </c:pt>
                <c:pt idx="349">
                  <c:v>0.29545814081999999</c:v>
                </c:pt>
                <c:pt idx="350">
                  <c:v>0.29509709126</c:v>
                </c:pt>
                <c:pt idx="351">
                  <c:v>0.29459778945999998</c:v>
                </c:pt>
                <c:pt idx="352">
                  <c:v>0.29464833730000001</c:v>
                </c:pt>
                <c:pt idx="353">
                  <c:v>0.29474830849</c:v>
                </c:pt>
                <c:pt idx="354">
                  <c:v>0.29471820089999995</c:v>
                </c:pt>
                <c:pt idx="355">
                  <c:v>0.29490240805000001</c:v>
                </c:pt>
                <c:pt idx="356">
                  <c:v>0.31890945476999999</c:v>
                </c:pt>
                <c:pt idx="357">
                  <c:v>0.31901545685999999</c:v>
                </c:pt>
                <c:pt idx="358">
                  <c:v>0.31912149710000004</c:v>
                </c:pt>
                <c:pt idx="359">
                  <c:v>0.31922757574999999</c:v>
                </c:pt>
                <c:pt idx="360">
                  <c:v>0.31931891823000003</c:v>
                </c:pt>
                <c:pt idx="361">
                  <c:v>0.31938837742000004</c:v>
                </c:pt>
                <c:pt idx="362">
                  <c:v>0.31943588818000002</c:v>
                </c:pt>
                <c:pt idx="363">
                  <c:v>0.31922281637</c:v>
                </c:pt>
                <c:pt idx="364">
                  <c:v>0.31936594760000003</c:v>
                </c:pt>
                <c:pt idx="365">
                  <c:v>0.31947277480000003</c:v>
                </c:pt>
                <c:pt idx="366">
                  <c:v>0.32278548537000001</c:v>
                </c:pt>
                <c:pt idx="367">
                  <c:v>0.32289230686000003</c:v>
                </c:pt>
                <c:pt idx="368">
                  <c:v>0.32299916511999999</c:v>
                </c:pt>
                <c:pt idx="369">
                  <c:v>0.32215508119999997</c:v>
                </c:pt>
                <c:pt idx="370">
                  <c:v>0.32156090918000002</c:v>
                </c:pt>
                <c:pt idx="371">
                  <c:v>0.32103976400000001</c:v>
                </c:pt>
                <c:pt idx="372">
                  <c:v>0.34718636061000002</c:v>
                </c:pt>
                <c:pt idx="373">
                  <c:v>0.34708604930999998</c:v>
                </c:pt>
                <c:pt idx="374">
                  <c:v>0.34717252695</c:v>
                </c:pt>
                <c:pt idx="375">
                  <c:v>0.34716839386000004</c:v>
                </c:pt>
                <c:pt idx="376">
                  <c:v>0.34728589741000004</c:v>
                </c:pt>
                <c:pt idx="377">
                  <c:v>0.34740342775999999</c:v>
                </c:pt>
                <c:pt idx="378">
                  <c:v>0.34752100862000002</c:v>
                </c:pt>
                <c:pt idx="379">
                  <c:v>0.34784607212000002</c:v>
                </c:pt>
                <c:pt idx="380">
                  <c:v>0.34775397808999997</c:v>
                </c:pt>
                <c:pt idx="381">
                  <c:v>0.34783867824000003</c:v>
                </c:pt>
                <c:pt idx="382">
                  <c:v>0.34795634805000003</c:v>
                </c:pt>
                <c:pt idx="383">
                  <c:v>0.34793456048999999</c:v>
                </c:pt>
                <c:pt idx="384">
                  <c:v>0.34780789385000005</c:v>
                </c:pt>
                <c:pt idx="385">
                  <c:v>0.34778207313999998</c:v>
                </c:pt>
                <c:pt idx="386">
                  <c:v>0.34790311222000003</c:v>
                </c:pt>
                <c:pt idx="387">
                  <c:v>0.34802188511999999</c:v>
                </c:pt>
                <c:pt idx="388">
                  <c:v>0.34814070579</c:v>
                </c:pt>
                <c:pt idx="389">
                  <c:v>0.34744722810000001</c:v>
                </c:pt>
                <c:pt idx="390">
                  <c:v>0.34682516826999998</c:v>
                </c:pt>
                <c:pt idx="391">
                  <c:v>0.34695750694999999</c:v>
                </c:pt>
                <c:pt idx="392">
                  <c:v>0.34707957791000005</c:v>
                </c:pt>
                <c:pt idx="393">
                  <c:v>0.34559727461</c:v>
                </c:pt>
                <c:pt idx="394">
                  <c:v>0.34504675007000002</c:v>
                </c:pt>
                <c:pt idx="395">
                  <c:v>0.34512865885000005</c:v>
                </c:pt>
                <c:pt idx="396">
                  <c:v>0.34517813256000002</c:v>
                </c:pt>
                <c:pt idx="397">
                  <c:v>0.34521499150000001</c:v>
                </c:pt>
                <c:pt idx="398">
                  <c:v>0.34521276769999998</c:v>
                </c:pt>
                <c:pt idx="399">
                  <c:v>0.34553641272000002</c:v>
                </c:pt>
                <c:pt idx="400">
                  <c:v>0.34565741557999996</c:v>
                </c:pt>
                <c:pt idx="401">
                  <c:v>0.34577846379000005</c:v>
                </c:pt>
                <c:pt idx="402">
                  <c:v>0.34589955401</c:v>
                </c:pt>
                <c:pt idx="403">
                  <c:v>0.34586587082999998</c:v>
                </c:pt>
                <c:pt idx="404">
                  <c:v>0.34596969293000002</c:v>
                </c:pt>
                <c:pt idx="405">
                  <c:v>0.34602914482999997</c:v>
                </c:pt>
                <c:pt idx="406">
                  <c:v>0.34575910289</c:v>
                </c:pt>
                <c:pt idx="407">
                  <c:v>0.34573425524000001</c:v>
                </c:pt>
                <c:pt idx="408">
                  <c:v>0.34585692227999998</c:v>
                </c:pt>
                <c:pt idx="409">
                  <c:v>0.34618067824999998</c:v>
                </c:pt>
                <c:pt idx="410">
                  <c:v>0.34630154018000003</c:v>
                </c:pt>
                <c:pt idx="411">
                  <c:v>0.34642244393999999</c:v>
                </c:pt>
                <c:pt idx="412">
                  <c:v>0.34550883780000002</c:v>
                </c:pt>
                <c:pt idx="413">
                  <c:v>0.34489271464999999</c:v>
                </c:pt>
                <c:pt idx="414">
                  <c:v>0.34366647352999996</c:v>
                </c:pt>
                <c:pt idx="415">
                  <c:v>0.34323995623000003</c:v>
                </c:pt>
                <c:pt idx="416">
                  <c:v>0.34308236610000004</c:v>
                </c:pt>
                <c:pt idx="417">
                  <c:v>0.34315631612000003</c:v>
                </c:pt>
                <c:pt idx="418">
                  <c:v>0.34327513932999998</c:v>
                </c:pt>
                <c:pt idx="419">
                  <c:v>0.34350745878</c:v>
                </c:pt>
                <c:pt idx="420">
                  <c:v>0.34347676075</c:v>
                </c:pt>
                <c:pt idx="421">
                  <c:v>0.34359570548000001</c:v>
                </c:pt>
                <c:pt idx="422">
                  <c:v>0.34371469049000003</c:v>
                </c:pt>
                <c:pt idx="423">
                  <c:v>0.34400925174000002</c:v>
                </c:pt>
                <c:pt idx="424">
                  <c:v>0.34410091385000002</c:v>
                </c:pt>
                <c:pt idx="425">
                  <c:v>0.35169439208999997</c:v>
                </c:pt>
                <c:pt idx="426">
                  <c:v>0.35166543377999998</c:v>
                </c:pt>
                <c:pt idx="427">
                  <c:v>0.35172658744000002</c:v>
                </c:pt>
                <c:pt idx="428">
                  <c:v>0.35164815385000003</c:v>
                </c:pt>
                <c:pt idx="429">
                  <c:v>0.35163613149</c:v>
                </c:pt>
                <c:pt idx="430">
                  <c:v>0.35175803399</c:v>
                </c:pt>
                <c:pt idx="431">
                  <c:v>0.35187859574000002</c:v>
                </c:pt>
                <c:pt idx="432">
                  <c:v>0.35613775447000001</c:v>
                </c:pt>
                <c:pt idx="433">
                  <c:v>0.35536606007999999</c:v>
                </c:pt>
                <c:pt idx="434">
                  <c:v>0.35478537472000005</c:v>
                </c:pt>
                <c:pt idx="435">
                  <c:v>0.35491473748000002</c:v>
                </c:pt>
                <c:pt idx="436">
                  <c:v>0.35346236823000005</c:v>
                </c:pt>
                <c:pt idx="437">
                  <c:v>0.35305108277999997</c:v>
                </c:pt>
                <c:pt idx="438">
                  <c:v>0.35533725768000002</c:v>
                </c:pt>
                <c:pt idx="439">
                  <c:v>0.35533129750999998</c:v>
                </c:pt>
                <c:pt idx="440">
                  <c:v>0.35533531099999999</c:v>
                </c:pt>
                <c:pt idx="441">
                  <c:v>0.35545686157</c:v>
                </c:pt>
                <c:pt idx="442">
                  <c:v>0.35557845424000001</c:v>
                </c:pt>
                <c:pt idx="443">
                  <c:v>0.35591087669999999</c:v>
                </c:pt>
                <c:pt idx="444">
                  <c:v>0.35603262881000003</c:v>
                </c:pt>
                <c:pt idx="445">
                  <c:v>0.35602298183999997</c:v>
                </c:pt>
                <c:pt idx="446">
                  <c:v>0.35612042379000003</c:v>
                </c:pt>
                <c:pt idx="447">
                  <c:v>0.35590094545000001</c:v>
                </c:pt>
                <c:pt idx="448">
                  <c:v>0.35577631217</c:v>
                </c:pt>
                <c:pt idx="449">
                  <c:v>0.35590016720000001</c:v>
                </c:pt>
                <c:pt idx="450">
                  <c:v>0.35602221208999996</c:v>
                </c:pt>
                <c:pt idx="451">
                  <c:v>0.35614430498999999</c:v>
                </c:pt>
                <c:pt idx="452">
                  <c:v>0.35647716795000001</c:v>
                </c:pt>
                <c:pt idx="453">
                  <c:v>0.35535595531000003</c:v>
                </c:pt>
                <c:pt idx="454">
                  <c:v>0.35476010412999998</c:v>
                </c:pt>
                <c:pt idx="455">
                  <c:v>0.35437168566000005</c:v>
                </c:pt>
                <c:pt idx="456">
                  <c:v>0.35449310768000003</c:v>
                </c:pt>
                <c:pt idx="457">
                  <c:v>0.35302405062999997</c:v>
                </c:pt>
                <c:pt idx="458">
                  <c:v>0.35261937032000001</c:v>
                </c:pt>
                <c:pt idx="459">
                  <c:v>0.35274313536000002</c:v>
                </c:pt>
                <c:pt idx="460">
                  <c:v>0.35286169789999999</c:v>
                </c:pt>
                <c:pt idx="461">
                  <c:v>0.35462903007000002</c:v>
                </c:pt>
                <c:pt idx="462">
                  <c:v>0.35463907707999998</c:v>
                </c:pt>
                <c:pt idx="463">
                  <c:v>0.35475819172</c:v>
                </c:pt>
                <c:pt idx="464">
                  <c:v>0.35487734091000001</c:v>
                </c:pt>
                <c:pt idx="465">
                  <c:v>0.35571528935000002</c:v>
                </c:pt>
                <c:pt idx="466">
                  <c:v>0.35586510500000001</c:v>
                </c:pt>
                <c:pt idx="467">
                  <c:v>0.35569459219999999</c:v>
                </c:pt>
                <c:pt idx="468">
                  <c:v>0.35569687792999999</c:v>
                </c:pt>
                <c:pt idx="469">
                  <c:v>0.35551002239000001</c:v>
                </c:pt>
                <c:pt idx="470">
                  <c:v>0.35564116376999999</c:v>
                </c:pt>
                <c:pt idx="471">
                  <c:v>0.34121868398999999</c:v>
                </c:pt>
                <c:pt idx="472">
                  <c:v>0.34133431831</c:v>
                </c:pt>
                <c:pt idx="473">
                  <c:v>0.34144998966000001</c:v>
                </c:pt>
                <c:pt idx="474">
                  <c:v>0.33831581477999995</c:v>
                </c:pt>
                <c:pt idx="475">
                  <c:v>0.33792390100000003</c:v>
                </c:pt>
                <c:pt idx="476">
                  <c:v>0.33644546005000003</c:v>
                </c:pt>
                <c:pt idx="477">
                  <c:v>0.33605568818000003</c:v>
                </c:pt>
                <c:pt idx="478">
                  <c:v>0.33602124280000001</c:v>
                </c:pt>
                <c:pt idx="479">
                  <c:v>0.33609920319999997</c:v>
                </c:pt>
                <c:pt idx="480">
                  <c:v>0.33631996517000001</c:v>
                </c:pt>
                <c:pt idx="481">
                  <c:v>0.33632292158999999</c:v>
                </c:pt>
                <c:pt idx="482">
                  <c:v>0.33643794467000004</c:v>
                </c:pt>
                <c:pt idx="483">
                  <c:v>0.33655300904000002</c:v>
                </c:pt>
                <c:pt idx="484">
                  <c:v>0.33666810904</c:v>
                </c:pt>
                <c:pt idx="485">
                  <c:v>0.33681293142000002</c:v>
                </c:pt>
                <c:pt idx="486">
                  <c:v>0.33685431312000003</c:v>
                </c:pt>
                <c:pt idx="487">
                  <c:v>0.33696950436000001</c:v>
                </c:pt>
                <c:pt idx="488">
                  <c:v>0.33688038994999997</c:v>
                </c:pt>
                <c:pt idx="489">
                  <c:v>0.33688465913999999</c:v>
                </c:pt>
                <c:pt idx="490">
                  <c:v>0.33679208661999999</c:v>
                </c:pt>
                <c:pt idx="491">
                  <c:v>0.33678425291000003</c:v>
                </c:pt>
                <c:pt idx="492">
                  <c:v>0.33690010267000003</c:v>
                </c:pt>
                <c:pt idx="493">
                  <c:v>0.33701485714999996</c:v>
                </c:pt>
                <c:pt idx="494">
                  <c:v>0.33712965351999996</c:v>
                </c:pt>
                <c:pt idx="495">
                  <c:v>0.33620194744999998</c:v>
                </c:pt>
                <c:pt idx="496">
                  <c:v>0.33575935768999998</c:v>
                </c:pt>
                <c:pt idx="497">
                  <c:v>0.33432012148000001</c:v>
                </c:pt>
                <c:pt idx="498">
                  <c:v>0.33894006026999995</c:v>
                </c:pt>
                <c:pt idx="499">
                  <c:v>0.33908850004000002</c:v>
                </c:pt>
                <c:pt idx="500">
                  <c:v>0.33912732156999997</c:v>
                </c:pt>
                <c:pt idx="501">
                  <c:v>0.33860539454999999</c:v>
                </c:pt>
                <c:pt idx="502">
                  <c:v>0.33871651173</c:v>
                </c:pt>
                <c:pt idx="503">
                  <c:v>0.33902338362000001</c:v>
                </c:pt>
                <c:pt idx="504">
                  <c:v>0.33913464441000002</c:v>
                </c:pt>
                <c:pt idx="505">
                  <c:v>0.33924594283999998</c:v>
                </c:pt>
                <c:pt idx="506">
                  <c:v>0.33909895793</c:v>
                </c:pt>
                <c:pt idx="507">
                  <c:v>0.33913642682</c:v>
                </c:pt>
                <c:pt idx="508">
                  <c:v>0.33924247932000001</c:v>
                </c:pt>
                <c:pt idx="509">
                  <c:v>0.33884101794999999</c:v>
                </c:pt>
                <c:pt idx="510">
                  <c:v>0.33882524342000003</c:v>
                </c:pt>
                <c:pt idx="511">
                  <c:v>0.33893792882999996</c:v>
                </c:pt>
                <c:pt idx="512">
                  <c:v>0.33904932043000002</c:v>
                </c:pt>
                <c:pt idx="513">
                  <c:v>0.33939847814999996</c:v>
                </c:pt>
                <c:pt idx="514">
                  <c:v>0.33951001543000003</c:v>
                </c:pt>
                <c:pt idx="515">
                  <c:v>0.33858480343000003</c:v>
                </c:pt>
                <c:pt idx="516">
                  <c:v>0.33803143206999997</c:v>
                </c:pt>
                <c:pt idx="517">
                  <c:v>0.33815107787999998</c:v>
                </c:pt>
                <c:pt idx="518">
                  <c:v>0.33688296299999998</c:v>
                </c:pt>
                <c:pt idx="519">
                  <c:v>0.33628321804</c:v>
                </c:pt>
                <c:pt idx="520">
                  <c:v>0.33636627893999999</c:v>
                </c:pt>
                <c:pt idx="521">
                  <c:v>0.33773790738999998</c:v>
                </c:pt>
                <c:pt idx="522">
                  <c:v>0.33780010179000003</c:v>
                </c:pt>
                <c:pt idx="523">
                  <c:v>0.33792956227999998</c:v>
                </c:pt>
                <c:pt idx="524">
                  <c:v>0.33791927602999999</c:v>
                </c:pt>
                <c:pt idx="525">
                  <c:v>0.34043233368999998</c:v>
                </c:pt>
                <c:pt idx="526">
                  <c:v>0.34054405354</c:v>
                </c:pt>
                <c:pt idx="527">
                  <c:v>0.34065580908999998</c:v>
                </c:pt>
                <c:pt idx="528">
                  <c:v>0.34101908611000004</c:v>
                </c:pt>
                <c:pt idx="529">
                  <c:v>0.34095436889999997</c:v>
                </c:pt>
                <c:pt idx="530">
                  <c:v>0.34066677376999999</c:v>
                </c:pt>
                <c:pt idx="531">
                  <c:v>0.34085187460999999</c:v>
                </c:pt>
                <c:pt idx="532">
                  <c:v>0.34096506901000001</c:v>
                </c:pt>
                <c:pt idx="533">
                  <c:v>0.34112656185000001</c:v>
                </c:pt>
                <c:pt idx="534">
                  <c:v>0.34123869638999998</c:v>
                </c:pt>
                <c:pt idx="535">
                  <c:v>0.34135087337000003</c:v>
                </c:pt>
                <c:pt idx="536">
                  <c:v>0.34023305231000001</c:v>
                </c:pt>
                <c:pt idx="537">
                  <c:v>0.33973505722000003</c:v>
                </c:pt>
                <c:pt idx="538">
                  <c:v>0.33831296539</c:v>
                </c:pt>
                <c:pt idx="539">
                  <c:v>0.33774483820999995</c:v>
                </c:pt>
                <c:pt idx="540">
                  <c:v>0.33778344014</c:v>
                </c:pt>
                <c:pt idx="541">
                  <c:v>0.33792948213999996</c:v>
                </c:pt>
                <c:pt idx="542">
                  <c:v>0.33793345051999996</c:v>
                </c:pt>
                <c:pt idx="543">
                  <c:v>0.33804592886000001</c:v>
                </c:pt>
                <c:pt idx="544">
                  <c:v>0.33815845068</c:v>
                </c:pt>
                <c:pt idx="545">
                  <c:v>0.33827100631000001</c:v>
                </c:pt>
                <c:pt idx="546">
                  <c:v>0.33840732818000002</c:v>
                </c:pt>
                <c:pt idx="547">
                  <c:v>0.33846161067000002</c:v>
                </c:pt>
                <c:pt idx="548">
                  <c:v>0.33883788342999999</c:v>
                </c:pt>
                <c:pt idx="549">
                  <c:v>0.33884668951999997</c:v>
                </c:pt>
                <c:pt idx="550">
                  <c:v>0.33855524856999997</c:v>
                </c:pt>
                <c:pt idx="551">
                  <c:v>0.33874903151999997</c:v>
                </c:pt>
                <c:pt idx="552">
                  <c:v>0.33886227250000001</c:v>
                </c:pt>
                <c:pt idx="553">
                  <c:v>0.33900592635999999</c:v>
                </c:pt>
                <c:pt idx="554">
                  <c:v>0.33911822493999999</c:v>
                </c:pt>
                <c:pt idx="555">
                  <c:v>0.33923056681000002</c:v>
                </c:pt>
                <c:pt idx="556">
                  <c:v>0.33840261763000001</c:v>
                </c:pt>
                <c:pt idx="557">
                  <c:v>0.3379092541</c:v>
                </c:pt>
                <c:pt idx="558">
                  <c:v>0.33646826349999998</c:v>
                </c:pt>
                <c:pt idx="559">
                  <c:v>0.33612514236000002</c:v>
                </c:pt>
                <c:pt idx="560">
                  <c:v>0.33631572613999999</c:v>
                </c:pt>
                <c:pt idx="561">
                  <c:v>0.33623070812</c:v>
                </c:pt>
                <c:pt idx="562">
                  <c:v>0.33621099250999997</c:v>
                </c:pt>
                <c:pt idx="563">
                  <c:v>0.33634554210000001</c:v>
                </c:pt>
                <c:pt idx="564">
                  <c:v>0.33645408393999998</c:v>
                </c:pt>
                <c:pt idx="565">
                  <c:v>0.33675518164000001</c:v>
                </c:pt>
                <c:pt idx="566">
                  <c:v>0.33686385773999999</c:v>
                </c:pt>
                <c:pt idx="567">
                  <c:v>0.33681035564999995</c:v>
                </c:pt>
                <c:pt idx="568">
                  <c:v>0.34224440133999995</c:v>
                </c:pt>
                <c:pt idx="569">
                  <c:v>0.34235309194000002</c:v>
                </c:pt>
                <c:pt idx="570">
                  <c:v>0.34198957805000002</c:v>
                </c:pt>
                <c:pt idx="571">
                  <c:v>0.34182365327999997</c:v>
                </c:pt>
                <c:pt idx="572">
                  <c:v>0.34193346176</c:v>
                </c:pt>
                <c:pt idx="573">
                  <c:v>0.34204224635000002</c:v>
                </c:pt>
                <c:pt idx="574">
                  <c:v>0.34215107266</c:v>
                </c:pt>
                <c:pt idx="575">
                  <c:v>0.34248920575000003</c:v>
                </c:pt>
                <c:pt idx="576">
                  <c:v>0.34022297407000002</c:v>
                </c:pt>
                <c:pt idx="577">
                  <c:v>0.33969797813000002</c:v>
                </c:pt>
                <c:pt idx="578">
                  <c:v>0.33981199248999999</c:v>
                </c:pt>
                <c:pt idx="579">
                  <c:v>0.33992046050000002</c:v>
                </c:pt>
                <c:pt idx="580">
                  <c:v>0.3385096011</c:v>
                </c:pt>
                <c:pt idx="581">
                  <c:v>0.33818199549</c:v>
                </c:pt>
                <c:pt idx="582">
                  <c:v>0.33823097109</c:v>
                </c:pt>
                <c:pt idx="583">
                  <c:v>0.33814581369000002</c:v>
                </c:pt>
                <c:pt idx="584">
                  <c:v>0.33844731770999997</c:v>
                </c:pt>
                <c:pt idx="585">
                  <c:v>0.33853036079999999</c:v>
                </c:pt>
                <c:pt idx="586">
                  <c:v>0.33863682431999997</c:v>
                </c:pt>
                <c:pt idx="587">
                  <c:v>0.33874332119</c:v>
                </c:pt>
                <c:pt idx="588">
                  <c:v>0.33869512267000002</c:v>
                </c:pt>
                <c:pt idx="589">
                  <c:v>0.33868689926000001</c:v>
                </c:pt>
                <c:pt idx="590">
                  <c:v>0.33863544047000005</c:v>
                </c:pt>
                <c:pt idx="591">
                  <c:v>0.33938652788000001</c:v>
                </c:pt>
                <c:pt idx="592">
                  <c:v>0.33938070987000002</c:v>
                </c:pt>
                <c:pt idx="593">
                  <c:v>0.33948833105999998</c:v>
                </c:pt>
                <c:pt idx="594">
                  <c:v>0.33984683546</c:v>
                </c:pt>
                <c:pt idx="595">
                  <c:v>0.34465168115</c:v>
                </c:pt>
                <c:pt idx="596">
                  <c:v>0.32820788261</c:v>
                </c:pt>
                <c:pt idx="597">
                  <c:v>0.32671192838999996</c:v>
                </c:pt>
                <c:pt idx="598">
                  <c:v>0.32620228664000001</c:v>
                </c:pt>
                <c:pt idx="599">
                  <c:v>0.32497386520999999</c:v>
                </c:pt>
                <c:pt idx="600">
                  <c:v>0.32464092614999995</c:v>
                </c:pt>
                <c:pt idx="601">
                  <c:v>0.32466512969</c:v>
                </c:pt>
                <c:pt idx="602">
                  <c:v>0.32483579738000001</c:v>
                </c:pt>
                <c:pt idx="603">
                  <c:v>0.32495945829</c:v>
                </c:pt>
                <c:pt idx="604">
                  <c:v>0.32488461422000003</c:v>
                </c:pt>
                <c:pt idx="605">
                  <c:v>0.32496358436</c:v>
                </c:pt>
                <c:pt idx="606">
                  <c:v>0.32506661356</c:v>
                </c:pt>
                <c:pt idx="607">
                  <c:v>0.32516967799000002</c:v>
                </c:pt>
                <c:pt idx="608">
                  <c:v>0.32530081317000004</c:v>
                </c:pt>
                <c:pt idx="609">
                  <c:v>0.32534408786000002</c:v>
                </c:pt>
                <c:pt idx="610">
                  <c:v>0.32544723354000005</c:v>
                </c:pt>
                <c:pt idx="611">
                  <c:v>0.32532082993</c:v>
                </c:pt>
                <c:pt idx="612">
                  <c:v>0.32526350118000003</c:v>
                </c:pt>
                <c:pt idx="613">
                  <c:v>0.32513268820999996</c:v>
                </c:pt>
                <c:pt idx="614">
                  <c:v>0.32513418438999997</c:v>
                </c:pt>
                <c:pt idx="615">
                  <c:v>0.32523810868999997</c:v>
                </c:pt>
                <c:pt idx="616">
                  <c:v>0.32541666223999999</c:v>
                </c:pt>
                <c:pt idx="617">
                  <c:v>0.32551970073000003</c:v>
                </c:pt>
                <c:pt idx="618">
                  <c:v>0.32456025631000002</c:v>
                </c:pt>
                <c:pt idx="619">
                  <c:v>0.32408523042999998</c:v>
                </c:pt>
                <c:pt idx="620">
                  <c:v>0.32480360635000005</c:v>
                </c:pt>
                <c:pt idx="621">
                  <c:v>0.32337858817000004</c:v>
                </c:pt>
                <c:pt idx="622">
                  <c:v>0.32307054339999997</c:v>
                </c:pt>
                <c:pt idx="623">
                  <c:v>0.32323349885000002</c:v>
                </c:pt>
                <c:pt idx="624">
                  <c:v>0.38105092992</c:v>
                </c:pt>
                <c:pt idx="625">
                  <c:v>0.38105807667000002</c:v>
                </c:pt>
                <c:pt idx="626">
                  <c:v>0.38120442910000002</c:v>
                </c:pt>
                <c:pt idx="627">
                  <c:v>0.38130284274999998</c:v>
                </c:pt>
                <c:pt idx="628">
                  <c:v>0.38162951533</c:v>
                </c:pt>
                <c:pt idx="629">
                  <c:v>0.38175135283</c:v>
                </c:pt>
                <c:pt idx="630">
                  <c:v>0.38167326887000003</c:v>
                </c:pt>
                <c:pt idx="631">
                  <c:v>0.38173928824999998</c:v>
                </c:pt>
                <c:pt idx="632">
                  <c:v>0.38186113693000001</c:v>
                </c:pt>
                <c:pt idx="633">
                  <c:v>0.38200481325000002</c:v>
                </c:pt>
                <c:pt idx="634">
                  <c:v>0.38187331801000002</c:v>
                </c:pt>
                <c:pt idx="635">
                  <c:v>0.38199653744000001</c:v>
                </c:pt>
                <c:pt idx="636">
                  <c:v>0.38211860629</c:v>
                </c:pt>
                <c:pt idx="637">
                  <c:v>0.38224071844000002</c:v>
                </c:pt>
                <c:pt idx="638">
                  <c:v>0.38268169702999999</c:v>
                </c:pt>
                <c:pt idx="639">
                  <c:v>0.38144068745999998</c:v>
                </c:pt>
                <c:pt idx="640">
                  <c:v>0.38097428168999997</c:v>
                </c:pt>
                <c:pt idx="641">
                  <c:v>0.38110251066</c:v>
                </c:pt>
                <c:pt idx="642">
                  <c:v>0.38113976398999999</c:v>
                </c:pt>
                <c:pt idx="643">
                  <c:v>0.37976766000000001</c:v>
                </c:pt>
                <c:pt idx="644">
                  <c:v>0.37949257005000003</c:v>
                </c:pt>
                <c:pt idx="645">
                  <c:v>0.37961672918</c:v>
                </c:pt>
                <c:pt idx="646">
                  <c:v>0.37925570675999998</c:v>
                </c:pt>
                <c:pt idx="647">
                  <c:v>0.37884928119</c:v>
                </c:pt>
                <c:pt idx="648">
                  <c:v>0.37908721851999999</c:v>
                </c:pt>
                <c:pt idx="649">
                  <c:v>0.37918253917</c:v>
                </c:pt>
                <c:pt idx="650">
                  <c:v>0.37930205687000002</c:v>
                </c:pt>
                <c:pt idx="651">
                  <c:v>0.37942161836999999</c:v>
                </c:pt>
                <c:pt idx="652">
                  <c:v>0.37954122616000002</c:v>
                </c:pt>
                <c:pt idx="653">
                  <c:v>0.37971793270999998</c:v>
                </c:pt>
                <c:pt idx="654">
                  <c:v>0.37962039594999997</c:v>
                </c:pt>
                <c:pt idx="655">
                  <c:v>0.37958114737999998</c:v>
                </c:pt>
                <c:pt idx="656">
                  <c:v>0.37928317389999999</c:v>
                </c:pt>
                <c:pt idx="657">
                  <c:v>0.3793016937</c:v>
                </c:pt>
                <c:pt idx="658">
                  <c:v>0.37962324117000001</c:v>
                </c:pt>
                <c:pt idx="659">
                  <c:v>0.37988234361000001</c:v>
                </c:pt>
                <c:pt idx="660">
                  <c:v>0.38000188270000002</c:v>
                </c:pt>
                <c:pt idx="661">
                  <c:v>0.38012147046</c:v>
                </c:pt>
                <c:pt idx="662">
                  <c:v>0.38410059905999999</c:v>
                </c:pt>
                <c:pt idx="663">
                  <c:v>0.38375920514</c:v>
                </c:pt>
                <c:pt idx="664">
                  <c:v>0.38232024062000003</c:v>
                </c:pt>
                <c:pt idx="665">
                  <c:v>0.38205136226999997</c:v>
                </c:pt>
                <c:pt idx="666">
                  <c:v>0.38205281118000001</c:v>
                </c:pt>
                <c:pt idx="667">
                  <c:v>0.38214954475000001</c:v>
                </c:pt>
                <c:pt idx="668">
                  <c:v>0.38186396202</c:v>
                </c:pt>
                <c:pt idx="669">
                  <c:v>0.38145138022000002</c:v>
                </c:pt>
                <c:pt idx="670">
                  <c:v>0.38161619212999998</c:v>
                </c:pt>
                <c:pt idx="671">
                  <c:v>0.38170790547000005</c:v>
                </c:pt>
                <c:pt idx="672">
                  <c:v>0.38182401638999997</c:v>
                </c:pt>
                <c:pt idx="673">
                  <c:v>0.38214052183999997</c:v>
                </c:pt>
                <c:pt idx="674">
                  <c:v>0.38296310781999998</c:v>
                </c:pt>
                <c:pt idx="675">
                  <c:v>0.38296974245999998</c:v>
                </c:pt>
                <c:pt idx="676">
                  <c:v>0.38308619929000004</c:v>
                </c:pt>
                <c:pt idx="677">
                  <c:v>0.38301931035000003</c:v>
                </c:pt>
                <c:pt idx="678">
                  <c:v>0.38264985355000003</c:v>
                </c:pt>
                <c:pt idx="679">
                  <c:v>0.38267231752999997</c:v>
                </c:pt>
                <c:pt idx="680">
                  <c:v>0.47999786145999995</c:v>
                </c:pt>
                <c:pt idx="681">
                  <c:v>0.48014601636999998</c:v>
                </c:pt>
                <c:pt idx="682">
                  <c:v>0.48045789247000004</c:v>
                </c:pt>
                <c:pt idx="683">
                  <c:v>0.47936693294999999</c:v>
                </c:pt>
                <c:pt idx="684">
                  <c:v>0.47895330777999995</c:v>
                </c:pt>
                <c:pt idx="685">
                  <c:v>0.47910847787999999</c:v>
                </c:pt>
                <c:pt idx="686">
                  <c:v>0.47885539555000001</c:v>
                </c:pt>
                <c:pt idx="687">
                  <c:v>0.47745489414999998</c:v>
                </c:pt>
                <c:pt idx="688">
                  <c:v>0.47743478138000001</c:v>
                </c:pt>
                <c:pt idx="689">
                  <c:v>0.47708099520999997</c:v>
                </c:pt>
                <c:pt idx="690">
                  <c:v>0.47670272116000001</c:v>
                </c:pt>
                <c:pt idx="691">
                  <c:v>0.47674091270999996</c:v>
                </c:pt>
                <c:pt idx="692">
                  <c:v>0.47693359275999997</c:v>
                </c:pt>
                <c:pt idx="693">
                  <c:v>0.47732327930000001</c:v>
                </c:pt>
                <c:pt idx="694">
                  <c:v>0.47747300663999998</c:v>
                </c:pt>
                <c:pt idx="695">
                  <c:v>0.47762278520999996</c:v>
                </c:pt>
                <c:pt idx="696">
                  <c:v>0.47770550175999998</c:v>
                </c:pt>
                <c:pt idx="697">
                  <c:v>0.47780017763999999</c:v>
                </c:pt>
                <c:pt idx="698">
                  <c:v>0.47807474839999997</c:v>
                </c:pt>
                <c:pt idx="699">
                  <c:v>0.47792861200999998</c:v>
                </c:pt>
                <c:pt idx="700">
                  <c:v>0.47798547771</c:v>
                </c:pt>
                <c:pt idx="701">
                  <c:v>0.47781818829</c:v>
                </c:pt>
                <c:pt idx="702">
                  <c:v>0.47701197285000002</c:v>
                </c:pt>
                <c:pt idx="703">
                  <c:v>0.47759456719999999</c:v>
                </c:pt>
                <c:pt idx="704">
                  <c:v>0.47774392810000005</c:v>
                </c:pt>
                <c:pt idx="705">
                  <c:v>0.47672302725999999</c:v>
                </c:pt>
                <c:pt idx="706">
                  <c:v>0.47734260458</c:v>
                </c:pt>
                <c:pt idx="707">
                  <c:v>0.47750154286000002</c:v>
                </c:pt>
                <c:pt idx="708">
                  <c:v>0.47636634380000004</c:v>
                </c:pt>
                <c:pt idx="709">
                  <c:v>0.47605810061000003</c:v>
                </c:pt>
                <c:pt idx="710">
                  <c:v>0.47619797608999997</c:v>
                </c:pt>
                <c:pt idx="711">
                  <c:v>0.47634954702999999</c:v>
                </c:pt>
                <c:pt idx="712">
                  <c:v>0.47600782998000002</c:v>
                </c:pt>
                <c:pt idx="713">
                  <c:v>0.47596625925999997</c:v>
                </c:pt>
                <c:pt idx="714">
                  <c:v>0.47598788541000003</c:v>
                </c:pt>
                <c:pt idx="715">
                  <c:v>0.47614050968999999</c:v>
                </c:pt>
                <c:pt idx="716">
                  <c:v>0.50071730038999995</c:v>
                </c:pt>
                <c:pt idx="717">
                  <c:v>0.50087003847</c:v>
                </c:pt>
                <c:pt idx="718">
                  <c:v>0.50121466598999997</c:v>
                </c:pt>
                <c:pt idx="719">
                  <c:v>0.50131285155000005</c:v>
                </c:pt>
                <c:pt idx="720">
                  <c:v>0.50141464122000001</c:v>
                </c:pt>
                <c:pt idx="721">
                  <c:v>0.50142188766000007</c:v>
                </c:pt>
                <c:pt idx="722">
                  <c:v>0.50179500812</c:v>
                </c:pt>
                <c:pt idx="723">
                  <c:v>0.50059089460000006</c:v>
                </c:pt>
                <c:pt idx="724">
                  <c:v>0.50101132875999999</c:v>
                </c:pt>
                <c:pt idx="725">
                  <c:v>0.50116491281999997</c:v>
                </c:pt>
                <c:pt idx="726">
                  <c:v>0.50131855382000001</c:v>
                </c:pt>
                <c:pt idx="727">
                  <c:v>0.50142758314000002</c:v>
                </c:pt>
                <c:pt idx="728">
                  <c:v>0.50073363250000003</c:v>
                </c:pt>
                <c:pt idx="729">
                  <c:v>0.49972257058999997</c:v>
                </c:pt>
                <c:pt idx="730">
                  <c:v>0.49952658001</c:v>
                </c:pt>
                <c:pt idx="731">
                  <c:v>0.49962669355</c:v>
                </c:pt>
                <c:pt idx="732">
                  <c:v>0.49785057124999998</c:v>
                </c:pt>
                <c:pt idx="733">
                  <c:v>0.49748512827999997</c:v>
                </c:pt>
                <c:pt idx="734">
                  <c:v>0.49776134954000001</c:v>
                </c:pt>
                <c:pt idx="735">
                  <c:v>0.50167621068000001</c:v>
                </c:pt>
                <c:pt idx="736">
                  <c:v>0.50183220124000005</c:v>
                </c:pt>
                <c:pt idx="737">
                  <c:v>0.50225112319999998</c:v>
                </c:pt>
                <c:pt idx="738">
                  <c:v>0.50233925262000001</c:v>
                </c:pt>
                <c:pt idx="739">
                  <c:v>0.50244126020000002</c:v>
                </c:pt>
                <c:pt idx="740">
                  <c:v>0.50259753430999998</c:v>
                </c:pt>
                <c:pt idx="741">
                  <c:v>0.50295663125000001</c:v>
                </c:pt>
                <c:pt idx="742">
                  <c:v>0.50263248712999997</c:v>
                </c:pt>
                <c:pt idx="743">
                  <c:v>0.50270034363999994</c:v>
                </c:pt>
                <c:pt idx="744">
                  <c:v>0.50158177491</c:v>
                </c:pt>
                <c:pt idx="745">
                  <c:v>0.50173665537000001</c:v>
                </c:pt>
                <c:pt idx="746">
                  <c:v>0.50224924807000004</c:v>
                </c:pt>
                <c:pt idx="747">
                  <c:v>0.50313071447000002</c:v>
                </c:pt>
                <c:pt idx="748">
                  <c:v>0.50248904162999997</c:v>
                </c:pt>
                <c:pt idx="749">
                  <c:v>0.50269853546999999</c:v>
                </c:pt>
                <c:pt idx="750">
                  <c:v>0.50240764138000005</c:v>
                </c:pt>
                <c:pt idx="751">
                  <c:v>0.46822712068</c:v>
                </c:pt>
                <c:pt idx="752">
                  <c:v>0.46835418619000002</c:v>
                </c:pt>
                <c:pt idx="753">
                  <c:v>0.46759008532000002</c:v>
                </c:pt>
                <c:pt idx="754">
                  <c:v>0.46721948357999998</c:v>
                </c:pt>
                <c:pt idx="755">
                  <c:v>0.46762891602000001</c:v>
                </c:pt>
                <c:pt idx="756">
                  <c:v>0.46771165370000001</c:v>
                </c:pt>
                <c:pt idx="757">
                  <c:v>0.46785572604000003</c:v>
                </c:pt>
                <c:pt idx="758">
                  <c:v>0.46799985589999998</c:v>
                </c:pt>
                <c:pt idx="759">
                  <c:v>0.46807727194999998</c:v>
                </c:pt>
                <c:pt idx="760">
                  <c:v>0.46842304067000001</c:v>
                </c:pt>
                <c:pt idx="761">
                  <c:v>0.46836435882999999</c:v>
                </c:pt>
                <c:pt idx="762">
                  <c:v>0.46799372163999997</c:v>
                </c:pt>
                <c:pt idx="763">
                  <c:v>0.46805238085</c:v>
                </c:pt>
                <c:pt idx="764">
                  <c:v>0.48640818120999996</c:v>
                </c:pt>
                <c:pt idx="765">
                  <c:v>0.49891275401000001</c:v>
                </c:pt>
                <c:pt idx="766">
                  <c:v>0.49902414186999999</c:v>
                </c:pt>
                <c:pt idx="767">
                  <c:v>0.49917490945999998</c:v>
                </c:pt>
                <c:pt idx="768">
                  <c:v>0.49934370500999997</c:v>
                </c:pt>
                <c:pt idx="769">
                  <c:v>0.49869438358999996</c:v>
                </c:pt>
                <c:pt idx="770">
                  <c:v>0.49869943555000001</c:v>
                </c:pt>
                <c:pt idx="771">
                  <c:v>0.49875729998000001</c:v>
                </c:pt>
                <c:pt idx="772">
                  <c:v>0.49883917174999998</c:v>
                </c:pt>
                <c:pt idx="773">
                  <c:v>0.49897467679000002</c:v>
                </c:pt>
                <c:pt idx="774">
                  <c:v>0.50219422145999992</c:v>
                </c:pt>
                <c:pt idx="775">
                  <c:v>0.50165186312999999</c:v>
                </c:pt>
                <c:pt idx="776">
                  <c:v>0.50126486672000004</c:v>
                </c:pt>
                <c:pt idx="777">
                  <c:v>0.50136499211999996</c:v>
                </c:pt>
                <c:pt idx="778">
                  <c:v>0.50151730584999998</c:v>
                </c:pt>
                <c:pt idx="779">
                  <c:v>0.50166967793999995</c:v>
                </c:pt>
                <c:pt idx="780">
                  <c:v>0.50201015136000005</c:v>
                </c:pt>
                <c:pt idx="781">
                  <c:v>0.50210766777999993</c:v>
                </c:pt>
                <c:pt idx="782">
                  <c:v>0.50258051413999993</c:v>
                </c:pt>
                <c:pt idx="783">
                  <c:v>0.50344989413999996</c:v>
                </c:pt>
                <c:pt idx="784">
                  <c:v>0.50339519665999999</c:v>
                </c:pt>
                <c:pt idx="785">
                  <c:v>0.50388267494999994</c:v>
                </c:pt>
                <c:pt idx="786">
                  <c:v>0.50266158630000002</c:v>
                </c:pt>
                <c:pt idx="787">
                  <c:v>0.50281864741000004</c:v>
                </c:pt>
                <c:pt idx="788">
                  <c:v>0.50293117195999992</c:v>
                </c:pt>
                <c:pt idx="789">
                  <c:v>0.50304794668999997</c:v>
                </c:pt>
                <c:pt idx="790">
                  <c:v>0.50292412290999999</c:v>
                </c:pt>
                <c:pt idx="791">
                  <c:v>0.50230167688999994</c:v>
                </c:pt>
                <c:pt idx="792">
                  <c:v>0.50237918193999997</c:v>
                </c:pt>
                <c:pt idx="793">
                  <c:v>0.50217750841999997</c:v>
                </c:pt>
                <c:pt idx="794">
                  <c:v>0.50222481351000003</c:v>
                </c:pt>
                <c:pt idx="795">
                  <c:v>0.51278657555999996</c:v>
                </c:pt>
                <c:pt idx="796">
                  <c:v>0.51240706330999997</c:v>
                </c:pt>
                <c:pt idx="797">
                  <c:v>0.51257149445999994</c:v>
                </c:pt>
                <c:pt idx="798">
                  <c:v>0.51291586811000001</c:v>
                </c:pt>
                <c:pt idx="799">
                  <c:v>0.51302072241000007</c:v>
                </c:pt>
                <c:pt idx="800">
                  <c:v>0.51317485504000004</c:v>
                </c:pt>
                <c:pt idx="801">
                  <c:v>0.51385294927000003</c:v>
                </c:pt>
                <c:pt idx="802">
                  <c:v>0.51380754557999997</c:v>
                </c:pt>
                <c:pt idx="803">
                  <c:v>0.51395083670999997</c:v>
                </c:pt>
                <c:pt idx="804">
                  <c:v>0.51272763786999997</c:v>
                </c:pt>
                <c:pt idx="805">
                  <c:v>0.51288002882999995</c:v>
                </c:pt>
                <c:pt idx="806">
                  <c:v>0.51298740201000004</c:v>
                </c:pt>
                <c:pt idx="807">
                  <c:v>0.51343779042000004</c:v>
                </c:pt>
                <c:pt idx="808">
                  <c:v>0.51383406435000001</c:v>
                </c:pt>
                <c:pt idx="809">
                  <c:v>0.51320854807000005</c:v>
                </c:pt>
                <c:pt idx="810">
                  <c:v>0.51328022614000002</c:v>
                </c:pt>
                <c:pt idx="811">
                  <c:v>0.51165068482999998</c:v>
                </c:pt>
                <c:pt idx="812">
                  <c:v>0.51176150944999999</c:v>
                </c:pt>
                <c:pt idx="813">
                  <c:v>0.51209506856999998</c:v>
                </c:pt>
                <c:pt idx="814">
                  <c:v>0.50954695002999995</c:v>
                </c:pt>
                <c:pt idx="815">
                  <c:v>0.50916140425</c:v>
                </c:pt>
                <c:pt idx="816">
                  <c:v>0.50917586729999997</c:v>
                </c:pt>
                <c:pt idx="817">
                  <c:v>0.50925956623000002</c:v>
                </c:pt>
                <c:pt idx="818">
                  <c:v>0.50958637824999997</c:v>
                </c:pt>
                <c:pt idx="819">
                  <c:v>0.50973528023000003</c:v>
                </c:pt>
                <c:pt idx="820">
                  <c:v>0.50988424095999996</c:v>
                </c:pt>
                <c:pt idx="821">
                  <c:v>0.50996494710000007</c:v>
                </c:pt>
                <c:pt idx="822">
                  <c:v>0.51006000506000004</c:v>
                </c:pt>
                <c:pt idx="823">
                  <c:v>0.51097804989999995</c:v>
                </c:pt>
                <c:pt idx="824">
                  <c:v>0.51043677288</c:v>
                </c:pt>
                <c:pt idx="825">
                  <c:v>0.51048570691000006</c:v>
                </c:pt>
                <c:pt idx="826">
                  <c:v>0.51029719537999996</c:v>
                </c:pt>
                <c:pt idx="827">
                  <c:v>0.51025256902999994</c:v>
                </c:pt>
                <c:pt idx="828">
                  <c:v>0.50994649907</c:v>
                </c:pt>
                <c:pt idx="829">
                  <c:v>0.50931181844999995</c:v>
                </c:pt>
                <c:pt idx="830">
                  <c:v>0.50947295533999992</c:v>
                </c:pt>
                <c:pt idx="831">
                  <c:v>0.50949386053000001</c:v>
                </c:pt>
                <c:pt idx="832">
                  <c:v>0.50950960648999999</c:v>
                </c:pt>
                <c:pt idx="833">
                  <c:v>0.50964766465</c:v>
                </c:pt>
                <c:pt idx="834">
                  <c:v>0.50036893181999997</c:v>
                </c:pt>
                <c:pt idx="835">
                  <c:v>0.50023440465000002</c:v>
                </c:pt>
                <c:pt idx="836">
                  <c:v>0.50032581321000003</c:v>
                </c:pt>
                <c:pt idx="837">
                  <c:v>0.50047410515000001</c:v>
                </c:pt>
                <c:pt idx="838">
                  <c:v>0.50062244752999996</c:v>
                </c:pt>
                <c:pt idx="839">
                  <c:v>0.50077083733999994</c:v>
                </c:pt>
                <c:pt idx="840">
                  <c:v>0.50109411283999994</c:v>
                </c:pt>
                <c:pt idx="841">
                  <c:v>0.50092261345</c:v>
                </c:pt>
                <c:pt idx="842">
                  <c:v>0.50085530836000003</c:v>
                </c:pt>
                <c:pt idx="843">
                  <c:v>0.50077858868000003</c:v>
                </c:pt>
                <c:pt idx="844">
                  <c:v>0.50153933108999993</c:v>
                </c:pt>
                <c:pt idx="845">
                  <c:v>0.52613818794</c:v>
                </c:pt>
                <c:pt idx="846">
                  <c:v>0.52511951173000004</c:v>
                </c:pt>
                <c:pt idx="847">
                  <c:v>0.57199604222</c:v>
                </c:pt>
                <c:pt idx="848">
                  <c:v>0.55146133953999998</c:v>
                </c:pt>
                <c:pt idx="849">
                  <c:v>0.55112546739000001</c:v>
                </c:pt>
                <c:pt idx="850">
                  <c:v>0.55768523250000002</c:v>
                </c:pt>
                <c:pt idx="851">
                  <c:v>0.55754050166000002</c:v>
                </c:pt>
                <c:pt idx="852">
                  <c:v>0.55766895677999995</c:v>
                </c:pt>
                <c:pt idx="853">
                  <c:v>0.55776579888</c:v>
                </c:pt>
                <c:pt idx="854">
                  <c:v>0.55791513342999999</c:v>
                </c:pt>
                <c:pt idx="855">
                  <c:v>0.55742195903999991</c:v>
                </c:pt>
                <c:pt idx="856">
                  <c:v>0.56775117642999995</c:v>
                </c:pt>
                <c:pt idx="857">
                  <c:v>0.56780828161999997</c:v>
                </c:pt>
                <c:pt idx="858">
                  <c:v>0.56790179673999996</c:v>
                </c:pt>
                <c:pt idx="859">
                  <c:v>0.56806559591999994</c:v>
                </c:pt>
                <c:pt idx="860">
                  <c:v>0.56851197392999997</c:v>
                </c:pt>
                <c:pt idx="861">
                  <c:v>0.56860664253999993</c:v>
                </c:pt>
                <c:pt idx="862">
                  <c:v>0.56871773765</c:v>
                </c:pt>
                <c:pt idx="863">
                  <c:v>0.56888183577999996</c:v>
                </c:pt>
                <c:pt idx="864">
                  <c:v>0.56847624548999998</c:v>
                </c:pt>
                <c:pt idx="865">
                  <c:v>0.56814006228000002</c:v>
                </c:pt>
                <c:pt idx="866">
                  <c:v>0.56774359488000004</c:v>
                </c:pt>
                <c:pt idx="867">
                  <c:v>0.57115506333999999</c:v>
                </c:pt>
                <c:pt idx="868">
                  <c:v>0.57128805188999998</c:v>
                </c:pt>
                <c:pt idx="869">
                  <c:v>0.5706674142</c:v>
                </c:pt>
                <c:pt idx="870">
                  <c:v>0.57006488850000003</c:v>
                </c:pt>
                <c:pt idx="871">
                  <c:v>0.57024216944000006</c:v>
                </c:pt>
                <c:pt idx="872">
                  <c:v>0.57235313419000011</c:v>
                </c:pt>
                <c:pt idx="873">
                  <c:v>0.57247198351999995</c:v>
                </c:pt>
                <c:pt idx="874">
                  <c:v>0.56973676339000001</c:v>
                </c:pt>
                <c:pt idx="875">
                  <c:v>0.56913972225999998</c:v>
                </c:pt>
                <c:pt idx="876">
                  <c:v>0.56884869403999994</c:v>
                </c:pt>
                <c:pt idx="877">
                  <c:v>0.56889069434000006</c:v>
                </c:pt>
                <c:pt idx="878">
                  <c:v>0.56891667141999991</c:v>
                </c:pt>
                <c:pt idx="879">
                  <c:v>0.56930281728999999</c:v>
                </c:pt>
                <c:pt idx="880">
                  <c:v>0.56946946767999995</c:v>
                </c:pt>
                <c:pt idx="881">
                  <c:v>0.56963617051999993</c:v>
                </c:pt>
                <c:pt idx="882">
                  <c:v>0.56973138990999994</c:v>
                </c:pt>
                <c:pt idx="883">
                  <c:v>0.56984745655999991</c:v>
                </c:pt>
                <c:pt idx="884">
                  <c:v>0.57059248438999999</c:v>
                </c:pt>
                <c:pt idx="885">
                  <c:v>0.57015333941000002</c:v>
                </c:pt>
                <c:pt idx="886">
                  <c:v>0.57022356083000003</c:v>
                </c:pt>
                <c:pt idx="887">
                  <c:v>0.56992799378999992</c:v>
                </c:pt>
                <c:pt idx="888">
                  <c:v>0.56877008067000001</c:v>
                </c:pt>
                <c:pt idx="889">
                  <c:v>0.56905498961000001</c:v>
                </c:pt>
                <c:pt idx="890">
                  <c:v>0.56916449513</c:v>
                </c:pt>
                <c:pt idx="891">
                  <c:v>0.56842259078000001</c:v>
                </c:pt>
                <c:pt idx="892">
                  <c:v>0.56751715201999997</c:v>
                </c:pt>
                <c:pt idx="893">
                  <c:v>0.56768981638000005</c:v>
                </c:pt>
                <c:pt idx="894">
                  <c:v>0.56801329974000003</c:v>
                </c:pt>
                <c:pt idx="895">
                  <c:v>0.56807134986999996</c:v>
                </c:pt>
                <c:pt idx="896">
                  <c:v>0.56822444262000005</c:v>
                </c:pt>
                <c:pt idx="897">
                  <c:v>0.56838790083000001</c:v>
                </c:pt>
                <c:pt idx="898">
                  <c:v>0.56804502932000001</c:v>
                </c:pt>
                <c:pt idx="899">
                  <c:v>0.56790601853</c:v>
                </c:pt>
                <c:pt idx="900">
                  <c:v>0.56787898274000004</c:v>
                </c:pt>
                <c:pt idx="901">
                  <c:v>0.56804008860999999</c:v>
                </c:pt>
                <c:pt idx="902">
                  <c:v>0.56820124863999999</c:v>
                </c:pt>
                <c:pt idx="903">
                  <c:v>0.56836246578999994</c:v>
                </c:pt>
                <c:pt idx="904">
                  <c:v>0.5687339949500001</c:v>
                </c:pt>
                <c:pt idx="905">
                  <c:v>0.56884514269000008</c:v>
                </c:pt>
                <c:pt idx="906">
                  <c:v>0.56689693490999993</c:v>
                </c:pt>
                <c:pt idx="907">
                  <c:v>0.56678850988999996</c:v>
                </c:pt>
                <c:pt idx="908">
                  <c:v>0.56659467911000005</c:v>
                </c:pt>
                <c:pt idx="909">
                  <c:v>0.56634675661</c:v>
                </c:pt>
                <c:pt idx="910">
                  <c:v>0.56518200951999997</c:v>
                </c:pt>
                <c:pt idx="911">
                  <c:v>0.56530479839000003</c:v>
                </c:pt>
                <c:pt idx="912">
                  <c:v>0.56548692422000002</c:v>
                </c:pt>
                <c:pt idx="913">
                  <c:v>0.56564705332000009</c:v>
                </c:pt>
                <c:pt idx="914">
                  <c:v>0.56520464679999993</c:v>
                </c:pt>
                <c:pt idx="915">
                  <c:v>0.56452952947000001</c:v>
                </c:pt>
                <c:pt idx="916">
                  <c:v>0.56464594491999998</c:v>
                </c:pt>
                <c:pt idx="917">
                  <c:v>0.56480288652999999</c:v>
                </c:pt>
                <c:pt idx="918">
                  <c:v>0.56490084041999999</c:v>
                </c:pt>
                <c:pt idx="919">
                  <c:v>0.56468764627000001</c:v>
                </c:pt>
                <c:pt idx="920">
                  <c:v>0.56439601434000009</c:v>
                </c:pt>
                <c:pt idx="921">
                  <c:v>0.56442088499999998</c:v>
                </c:pt>
                <c:pt idx="922">
                  <c:v>0.56447019575000001</c:v>
                </c:pt>
                <c:pt idx="923">
                  <c:v>0.56455951833000007</c:v>
                </c:pt>
                <c:pt idx="924">
                  <c:v>0.56499574007000009</c:v>
                </c:pt>
                <c:pt idx="925">
                  <c:v>0.56515116725000003</c:v>
                </c:pt>
                <c:pt idx="926">
                  <c:v>0.56680913062000005</c:v>
                </c:pt>
                <c:pt idx="927">
                  <c:v>0.56690188185000001</c:v>
                </c:pt>
                <c:pt idx="928">
                  <c:v>0.56705779999000006</c:v>
                </c:pt>
                <c:pt idx="929">
                  <c:v>0.56633191112000003</c:v>
                </c:pt>
                <c:pt idx="930">
                  <c:v>0.56588128366000001</c:v>
                </c:pt>
                <c:pt idx="931">
                  <c:v>0.56556442346000002</c:v>
                </c:pt>
                <c:pt idx="932">
                  <c:v>0.56440965655999997</c:v>
                </c:pt>
                <c:pt idx="933">
                  <c:v>0.56442846436000005</c:v>
                </c:pt>
                <c:pt idx="934">
                  <c:v>0.56487893237999998</c:v>
                </c:pt>
                <c:pt idx="935">
                  <c:v>0.56428317951999996</c:v>
                </c:pt>
                <c:pt idx="936">
                  <c:v>0.56370669694000008</c:v>
                </c:pt>
                <c:pt idx="937">
                  <c:v>0.56386874087000005</c:v>
                </c:pt>
                <c:pt idx="938">
                  <c:v>0.57199429149000003</c:v>
                </c:pt>
                <c:pt idx="939">
                  <c:v>0.57234679360000007</c:v>
                </c:pt>
                <c:pt idx="940">
                  <c:v>0.57249394050000002</c:v>
                </c:pt>
                <c:pt idx="941">
                  <c:v>0.57188946517999995</c:v>
                </c:pt>
                <c:pt idx="942">
                  <c:v>0.57159543152999992</c:v>
                </c:pt>
                <c:pt idx="943">
                  <c:v>0.57162534194000003</c:v>
                </c:pt>
                <c:pt idx="944">
                  <c:v>0.57196966250000003</c:v>
                </c:pt>
                <c:pt idx="945">
                  <c:v>0.57206471848999996</c:v>
                </c:pt>
                <c:pt idx="946">
                  <c:v>0.57221998774000005</c:v>
                </c:pt>
                <c:pt idx="947">
                  <c:v>0.5723753078099999</c:v>
                </c:pt>
                <c:pt idx="948">
                  <c:v>0.57244087672999999</c:v>
                </c:pt>
                <c:pt idx="949">
                  <c:v>0.57252940457000001</c:v>
                </c:pt>
                <c:pt idx="950">
                  <c:v>0.57237822620000001</c:v>
                </c:pt>
                <c:pt idx="951">
                  <c:v>0.57230483636999996</c:v>
                </c:pt>
                <c:pt idx="952">
                  <c:v>0.57236496208000009</c:v>
                </c:pt>
                <c:pt idx="953">
                  <c:v>0.57204307104999996</c:v>
                </c:pt>
                <c:pt idx="954">
                  <c:v>0.57110948333</c:v>
                </c:pt>
                <c:pt idx="955">
                  <c:v>0.57084203555999991</c:v>
                </c:pt>
                <c:pt idx="956">
                  <c:v>0.5695482382999999</c:v>
                </c:pt>
                <c:pt idx="957">
                  <c:v>0.56945019307</c:v>
                </c:pt>
                <c:pt idx="958">
                  <c:v>0.56861405941999998</c:v>
                </c:pt>
                <c:pt idx="959">
                  <c:v>0.56892767294000002</c:v>
                </c:pt>
                <c:pt idx="960">
                  <c:v>0.56903522613000002</c:v>
                </c:pt>
                <c:pt idx="961">
                  <c:v>0.56914604179999995</c:v>
                </c:pt>
                <c:pt idx="962">
                  <c:v>0.5692895400700001</c:v>
                </c:pt>
                <c:pt idx="963">
                  <c:v>0.56944144963999999</c:v>
                </c:pt>
                <c:pt idx="964">
                  <c:v>0.56898387170000009</c:v>
                </c:pt>
                <c:pt idx="965">
                  <c:v>0.56861928040999998</c:v>
                </c:pt>
                <c:pt idx="966">
                  <c:v>0.56870954135000007</c:v>
                </c:pt>
                <c:pt idx="967">
                  <c:v>0.56885917044000001</c:v>
                </c:pt>
                <c:pt idx="968">
                  <c:v>0.56900884675999996</c:v>
                </c:pt>
                <c:pt idx="969">
                  <c:v>0.56934991951000002</c:v>
                </c:pt>
                <c:pt idx="970">
                  <c:v>0.56943793997000003</c:v>
                </c:pt>
                <c:pt idx="971">
                  <c:v>0.56958781221999999</c:v>
                </c:pt>
                <c:pt idx="972">
                  <c:v>0.57929032754999998</c:v>
                </c:pt>
                <c:pt idx="973">
                  <c:v>0.57913042378000001</c:v>
                </c:pt>
                <c:pt idx="974">
                  <c:v>0.57895103779000001</c:v>
                </c:pt>
                <c:pt idx="975">
                  <c:v>0.57770901236000005</c:v>
                </c:pt>
                <c:pt idx="976">
                  <c:v>0.57772394179999997</c:v>
                </c:pt>
                <c:pt idx="977">
                  <c:v>0.57782707776999997</c:v>
                </c:pt>
                <c:pt idx="978">
                  <c:v>0.57806879971000003</c:v>
                </c:pt>
                <c:pt idx="979">
                  <c:v>0.57763762948999997</c:v>
                </c:pt>
                <c:pt idx="980">
                  <c:v>0.57708501872000006</c:v>
                </c:pt>
                <c:pt idx="981">
                  <c:v>0.57711603950000001</c:v>
                </c:pt>
                <c:pt idx="982">
                  <c:v>0.57722002916999993</c:v>
                </c:pt>
                <c:pt idx="983">
                  <c:v>0.57736905808000005</c:v>
                </c:pt>
                <c:pt idx="984">
                  <c:v>0.57694633334000001</c:v>
                </c:pt>
                <c:pt idx="985">
                  <c:v>0.57664517011000005</c:v>
                </c:pt>
                <c:pt idx="986">
                  <c:v>0.57666866988999999</c:v>
                </c:pt>
                <c:pt idx="987">
                  <c:v>0.57670420763999997</c:v>
                </c:pt>
                <c:pt idx="988">
                  <c:v>0.57679249816</c:v>
                </c:pt>
                <c:pt idx="989">
                  <c:v>0.57722281976000001</c:v>
                </c:pt>
                <c:pt idx="990">
                  <c:v>0.57578457921000004</c:v>
                </c:pt>
                <c:pt idx="991">
                  <c:v>0.55007405385000008</c:v>
                </c:pt>
                <c:pt idx="992">
                  <c:v>0.55165809752999995</c:v>
                </c:pt>
                <c:pt idx="993">
                  <c:v>0.55170824767999993</c:v>
                </c:pt>
                <c:pt idx="994">
                  <c:v>0.55076679087000002</c:v>
                </c:pt>
                <c:pt idx="995">
                  <c:v>0.55340766966999999</c:v>
                </c:pt>
                <c:pt idx="996">
                  <c:v>0.55306433707000002</c:v>
                </c:pt>
                <c:pt idx="997">
                  <c:v>0.55190222213999995</c:v>
                </c:pt>
                <c:pt idx="998">
                  <c:v>0.55191339674999995</c:v>
                </c:pt>
                <c:pt idx="999">
                  <c:v>0.55241068403999993</c:v>
                </c:pt>
                <c:pt idx="1000">
                  <c:v>0.55173699775999996</c:v>
                </c:pt>
                <c:pt idx="1001">
                  <c:v>0.55125616408</c:v>
                </c:pt>
                <c:pt idx="1002">
                  <c:v>0.55141028123000002</c:v>
                </c:pt>
                <c:pt idx="1003">
                  <c:v>0.55173048770999999</c:v>
                </c:pt>
                <c:pt idx="1004">
                  <c:v>0.55186333602999993</c:v>
                </c:pt>
                <c:pt idx="1005">
                  <c:v>0.55200360327999998</c:v>
                </c:pt>
                <c:pt idx="1006">
                  <c:v>0.55144046542999992</c:v>
                </c:pt>
                <c:pt idx="1007">
                  <c:v>0.55133241801999999</c:v>
                </c:pt>
                <c:pt idx="1008">
                  <c:v>0.5514144742999999</c:v>
                </c:pt>
                <c:pt idx="1009">
                  <c:v>0.55155347972000002</c:v>
                </c:pt>
                <c:pt idx="1010">
                  <c:v>0.55169252975000005</c:v>
                </c:pt>
                <c:pt idx="1011">
                  <c:v>0.55183161998999997</c:v>
                </c:pt>
                <c:pt idx="1012">
                  <c:v>0.55204465072999997</c:v>
                </c:pt>
                <c:pt idx="1013">
                  <c:v>0.55130391775999998</c:v>
                </c:pt>
                <c:pt idx="1014">
                  <c:v>0.55113449598999997</c:v>
                </c:pt>
                <c:pt idx="1015">
                  <c:v>0.55116512412999996</c:v>
                </c:pt>
                <c:pt idx="1016">
                  <c:v>0.55121882932999999</c:v>
                </c:pt>
                <c:pt idx="1017">
                  <c:v>0.55095865038000003</c:v>
                </c:pt>
                <c:pt idx="1018">
                  <c:v>0.54977592174000001</c:v>
                </c:pt>
                <c:pt idx="1019">
                  <c:v>0.55001515360999997</c:v>
                </c:pt>
                <c:pt idx="1020">
                  <c:v>0.55015391023000004</c:v>
                </c:pt>
                <c:pt idx="1021">
                  <c:v>0.54935635790999993</c:v>
                </c:pt>
                <c:pt idx="1022">
                  <c:v>0.54894261448000004</c:v>
                </c:pt>
                <c:pt idx="1023">
                  <c:v>0.54904018001999999</c:v>
                </c:pt>
                <c:pt idx="1024">
                  <c:v>0.54917882760000003</c:v>
                </c:pt>
                <c:pt idx="1025">
                  <c:v>0.54927105587000002</c:v>
                </c:pt>
                <c:pt idx="1026">
                  <c:v>0.54940267185000002</c:v>
                </c:pt>
                <c:pt idx="1027">
                  <c:v>0.56927687215</c:v>
                </c:pt>
                <c:pt idx="1028">
                  <c:v>0.57504425996000008</c:v>
                </c:pt>
                <c:pt idx="1029">
                  <c:v>0.57507822037</c:v>
                </c:pt>
                <c:pt idx="1030">
                  <c:v>0.57515769796000005</c:v>
                </c:pt>
                <c:pt idx="1031">
                  <c:v>0.57529687386000006</c:v>
                </c:pt>
                <c:pt idx="1032">
                  <c:v>0.57570664709000008</c:v>
                </c:pt>
                <c:pt idx="1033">
                  <c:v>0.57575553551000003</c:v>
                </c:pt>
                <c:pt idx="1034">
                  <c:v>0.57583508314999998</c:v>
                </c:pt>
                <c:pt idx="1035">
                  <c:v>0.57591310524000006</c:v>
                </c:pt>
                <c:pt idx="1036">
                  <c:v>0.57318838015999996</c:v>
                </c:pt>
                <c:pt idx="1037">
                  <c:v>0.57324643784000007</c:v>
                </c:pt>
                <c:pt idx="1038">
                  <c:v>0.56517401896000008</c:v>
                </c:pt>
                <c:pt idx="1039">
                  <c:v>0.56402250183000002</c:v>
                </c:pt>
                <c:pt idx="1040">
                  <c:v>0.56402928524999996</c:v>
                </c:pt>
                <c:pt idx="1041">
                  <c:v>0.56410304039000003</c:v>
                </c:pt>
                <c:pt idx="1042">
                  <c:v>0.57241219708000002</c:v>
                </c:pt>
                <c:pt idx="1043">
                  <c:v>0.57189615489000001</c:v>
                </c:pt>
                <c:pt idx="1044">
                  <c:v>0.57203928079999999</c:v>
                </c:pt>
                <c:pt idx="1045">
                  <c:v>0.57097209034000007</c:v>
                </c:pt>
                <c:pt idx="1046">
                  <c:v>0.57048728225000001</c:v>
                </c:pt>
                <c:pt idx="1047">
                  <c:v>0.57050346946000008</c:v>
                </c:pt>
                <c:pt idx="1048">
                  <c:v>0.57072493608000008</c:v>
                </c:pt>
                <c:pt idx="1049">
                  <c:v>0.57081221562999995</c:v>
                </c:pt>
                <c:pt idx="1050">
                  <c:v>0.57123459450000003</c:v>
                </c:pt>
                <c:pt idx="1051">
                  <c:v>0.57137850137000001</c:v>
                </c:pt>
                <c:pt idx="1052">
                  <c:v>0.57142749386000002</c:v>
                </c:pt>
                <c:pt idx="1053">
                  <c:v>0.57151615872000006</c:v>
                </c:pt>
                <c:pt idx="1054">
                  <c:v>0.57155738833000003</c:v>
                </c:pt>
                <c:pt idx="1055">
                  <c:v>0.57074133186999998</c:v>
                </c:pt>
                <c:pt idx="1056">
                  <c:v>0.57015049650000005</c:v>
                </c:pt>
                <c:pt idx="1057">
                  <c:v>0.5697931274400001</c:v>
                </c:pt>
                <c:pt idx="1058">
                  <c:v>0.56947997578999998</c:v>
                </c:pt>
                <c:pt idx="1059">
                  <c:v>0.56949059375</c:v>
                </c:pt>
                <c:pt idx="1060">
                  <c:v>0.57734032564000004</c:v>
                </c:pt>
                <c:pt idx="1061">
                  <c:v>0.57694895467999996</c:v>
                </c:pt>
                <c:pt idx="1062">
                  <c:v>0.57641373647000005</c:v>
                </c:pt>
                <c:pt idx="1063">
                  <c:v>0.57655659465999998</c:v>
                </c:pt>
                <c:pt idx="1064">
                  <c:v>0.57669759983000002</c:v>
                </c:pt>
                <c:pt idx="1065">
                  <c:v>0.57706859617999995</c:v>
                </c:pt>
                <c:pt idx="1066">
                  <c:v>0.57653391559</c:v>
                </c:pt>
                <c:pt idx="1067">
                  <c:v>0.57651044967999998</c:v>
                </c:pt>
                <c:pt idx="1068">
                  <c:v>0.57595084224000004</c:v>
                </c:pt>
                <c:pt idx="1069">
                  <c:v>0.57565370646000003</c:v>
                </c:pt>
                <c:pt idx="1070">
                  <c:v>0.57581605898999999</c:v>
                </c:pt>
                <c:pt idx="1071">
                  <c:v>0.57957600752999994</c:v>
                </c:pt>
                <c:pt idx="1072">
                  <c:v>0.57971829158999999</c:v>
                </c:pt>
                <c:pt idx="1073">
                  <c:v>0.57986061320000004</c:v>
                </c:pt>
                <c:pt idx="1074">
                  <c:v>0.58020472569000003</c:v>
                </c:pt>
                <c:pt idx="1075">
                  <c:v>0.57951004329</c:v>
                </c:pt>
                <c:pt idx="1076">
                  <c:v>0.57937441257</c:v>
                </c:pt>
                <c:pt idx="1077">
                  <c:v>0.57956427134999999</c:v>
                </c:pt>
                <c:pt idx="1078">
                  <c:v>0.57954439108</c:v>
                </c:pt>
                <c:pt idx="1079">
                  <c:v>0.57927126917999994</c:v>
                </c:pt>
                <c:pt idx="1080">
                  <c:v>0.57810218827999993</c:v>
                </c:pt>
                <c:pt idx="1081">
                  <c:v>0.57854971580999992</c:v>
                </c:pt>
                <c:pt idx="1082">
                  <c:v>0.57808732095000004</c:v>
                </c:pt>
                <c:pt idx="1083">
                  <c:v>0.57783470166999995</c:v>
                </c:pt>
                <c:pt idx="1084">
                  <c:v>0.57798182895000005</c:v>
                </c:pt>
                <c:pt idx="1085">
                  <c:v>0.57812624357000009</c:v>
                </c:pt>
                <c:pt idx="1086">
                  <c:v>0.57823079604999994</c:v>
                </c:pt>
                <c:pt idx="1087">
                  <c:v>0.57784532011</c:v>
                </c:pt>
                <c:pt idx="1088">
                  <c:v>0.57735633214000004</c:v>
                </c:pt>
                <c:pt idx="1089">
                  <c:v>0.57701160010000008</c:v>
                </c:pt>
                <c:pt idx="1090">
                  <c:v>0.57710431003999996</c:v>
                </c:pt>
                <c:pt idx="1091">
                  <c:v>0.57724972595000001</c:v>
                </c:pt>
                <c:pt idx="1092">
                  <c:v>0.57739520215999995</c:v>
                </c:pt>
                <c:pt idx="1093">
                  <c:v>0.58592375946000008</c:v>
                </c:pt>
                <c:pt idx="1094">
                  <c:v>0.58601587997000004</c:v>
                </c:pt>
                <c:pt idx="1095">
                  <c:v>0.58474234162000005</c:v>
                </c:pt>
                <c:pt idx="1096">
                  <c:v>0.58405765780999996</c:v>
                </c:pt>
                <c:pt idx="1097">
                  <c:v>0.59564415294000006</c:v>
                </c:pt>
                <c:pt idx="1098">
                  <c:v>0.60211317950999999</c:v>
                </c:pt>
                <c:pt idx="1099">
                  <c:v>0.60075176057000002</c:v>
                </c:pt>
                <c:pt idx="1100">
                  <c:v>0.60076636705999997</c:v>
                </c:pt>
                <c:pt idx="1101">
                  <c:v>0.60083225987</c:v>
                </c:pt>
                <c:pt idx="1102">
                  <c:v>0.59633260297000001</c:v>
                </c:pt>
                <c:pt idx="1103">
                  <c:v>0.57597579238999996</c:v>
                </c:pt>
                <c:pt idx="1104">
                  <c:v>0.57546344796000004</c:v>
                </c:pt>
                <c:pt idx="1105">
                  <c:v>0.57560655117999993</c:v>
                </c:pt>
                <c:pt idx="1106">
                  <c:v>0.57574690971999998</c:v>
                </c:pt>
                <c:pt idx="1107">
                  <c:v>0.57588731519000003</c:v>
                </c:pt>
                <c:pt idx="1108">
                  <c:v>0.57498020730999999</c:v>
                </c:pt>
                <c:pt idx="1109">
                  <c:v>0.57404173974999995</c:v>
                </c:pt>
                <c:pt idx="1110">
                  <c:v>0.57374751979999994</c:v>
                </c:pt>
                <c:pt idx="1111">
                  <c:v>0.57375725650999998</c:v>
                </c:pt>
                <c:pt idx="1112">
                  <c:v>0.57378424438999998</c:v>
                </c:pt>
                <c:pt idx="1113">
                  <c:v>0.57413344624999996</c:v>
                </c:pt>
                <c:pt idx="1114">
                  <c:v>0.57427454192999994</c:v>
                </c:pt>
                <c:pt idx="1115">
                  <c:v>0.57441567351</c:v>
                </c:pt>
                <c:pt idx="1116">
                  <c:v>0.58328632613999998</c:v>
                </c:pt>
                <c:pt idx="1117">
                  <c:v>0.58244758987</c:v>
                </c:pt>
                <c:pt idx="1118">
                  <c:v>0.58195301826000001</c:v>
                </c:pt>
                <c:pt idx="1119">
                  <c:v>0.58192381942999993</c:v>
                </c:pt>
                <c:pt idx="1120">
                  <c:v>0.58152077994000007</c:v>
                </c:pt>
                <c:pt idx="1121">
                  <c:v>0.58031926828999991</c:v>
                </c:pt>
                <c:pt idx="1122">
                  <c:v>0.58078951273000001</c:v>
                </c:pt>
                <c:pt idx="1123">
                  <c:v>0.58086173971999999</c:v>
                </c:pt>
                <c:pt idx="1124">
                  <c:v>0.59358396773</c:v>
                </c:pt>
                <c:pt idx="1125">
                  <c:v>0.59306872935999999</c:v>
                </c:pt>
                <c:pt idx="1126">
                  <c:v>0.59321400963000004</c:v>
                </c:pt>
                <c:pt idx="1127">
                  <c:v>0.59396182441000001</c:v>
                </c:pt>
                <c:pt idx="1128">
                  <c:v>0.59406461645000008</c:v>
                </c:pt>
                <c:pt idx="1129">
                  <c:v>0.59354906846</c:v>
                </c:pt>
                <c:pt idx="1130">
                  <c:v>0.59696299003999997</c:v>
                </c:pt>
                <c:pt idx="1131">
                  <c:v>0.59666897174</c:v>
                </c:pt>
                <c:pt idx="1132">
                  <c:v>0.59641788078999991</c:v>
                </c:pt>
                <c:pt idx="1133">
                  <c:v>0.59634382826999999</c:v>
                </c:pt>
                <c:pt idx="1134">
                  <c:v>0.61637692666999999</c:v>
                </c:pt>
                <c:pt idx="1135">
                  <c:v>0.61652085084999997</c:v>
                </c:pt>
                <c:pt idx="1136">
                  <c:v>0.61666444326000003</c:v>
                </c:pt>
                <c:pt idx="1137">
                  <c:v>0.61692045477000002</c:v>
                </c:pt>
                <c:pt idx="1138">
                  <c:v>0.61619964463999999</c:v>
                </c:pt>
                <c:pt idx="1139">
                  <c:v>0.61598969239000001</c:v>
                </c:pt>
                <c:pt idx="1140">
                  <c:v>0.61646030809000008</c:v>
                </c:pt>
                <c:pt idx="1141">
                  <c:v>0.61631629501999996</c:v>
                </c:pt>
                <c:pt idx="1142">
                  <c:v>0.61598504871000004</c:v>
                </c:pt>
                <c:pt idx="1143">
                  <c:v>0.61477199361000001</c:v>
                </c:pt>
                <c:pt idx="1144">
                  <c:v>0.61512308744999999</c:v>
                </c:pt>
                <c:pt idx="1145">
                  <c:v>0.61526498697999998</c:v>
                </c:pt>
                <c:pt idx="1146">
                  <c:v>0.61518857603999999</c:v>
                </c:pt>
                <c:pt idx="1147">
                  <c:v>0.61494227233999998</c:v>
                </c:pt>
                <c:pt idx="1148">
                  <c:v>0.61508583204</c:v>
                </c:pt>
                <c:pt idx="1149">
                  <c:v>0.61522685040000002</c:v>
                </c:pt>
                <c:pt idx="1150">
                  <c:v>0.61532754678000001</c:v>
                </c:pt>
                <c:pt idx="1151">
                  <c:v>0.61503222029999993</c:v>
                </c:pt>
                <c:pt idx="1152">
                  <c:v>0.61419418132000003</c:v>
                </c:pt>
                <c:pt idx="1153">
                  <c:v>0.61396113666999996</c:v>
                </c:pt>
                <c:pt idx="1154">
                  <c:v>0.61398538339999997</c:v>
                </c:pt>
                <c:pt idx="1155">
                  <c:v>0.61129595402999992</c:v>
                </c:pt>
                <c:pt idx="1156">
                  <c:v>0.61127006085000002</c:v>
                </c:pt>
                <c:pt idx="1157">
                  <c:v>0.61151046734000003</c:v>
                </c:pt>
                <c:pt idx="1158">
                  <c:v>0.61155569937999998</c:v>
                </c:pt>
                <c:pt idx="1159">
                  <c:v>0.61163963127999998</c:v>
                </c:pt>
                <c:pt idx="1160">
                  <c:v>0.61171530474000002</c:v>
                </c:pt>
                <c:pt idx="1161">
                  <c:v>0.61665030127999998</c:v>
                </c:pt>
                <c:pt idx="1162">
                  <c:v>0.61700655761000001</c:v>
                </c:pt>
                <c:pt idx="1163">
                  <c:v>0.61629656280999989</c:v>
                </c:pt>
                <c:pt idx="1164">
                  <c:v>0.61510105965999995</c:v>
                </c:pt>
                <c:pt idx="1165">
                  <c:v>0.61510471655999999</c:v>
                </c:pt>
                <c:pt idx="1166">
                  <c:v>0.61530461746999998</c:v>
                </c:pt>
                <c:pt idx="1167">
                  <c:v>0.61525998717999997</c:v>
                </c:pt>
                <c:pt idx="1168">
                  <c:v>0.61475174795999998</c:v>
                </c:pt>
                <c:pt idx="1169">
                  <c:v>0.61489384737999997</c:v>
                </c:pt>
                <c:pt idx="1170">
                  <c:v>0.62123457092000001</c:v>
                </c:pt>
                <c:pt idx="1171">
                  <c:v>0.62137649754999991</c:v>
                </c:pt>
                <c:pt idx="1172">
                  <c:v>0.62126969919000008</c:v>
                </c:pt>
                <c:pt idx="1173">
                  <c:v>0.62128020652999993</c:v>
                </c:pt>
                <c:pt idx="1174">
                  <c:v>0.62033886185999998</c:v>
                </c:pt>
                <c:pt idx="1175">
                  <c:v>0.62005432688999995</c:v>
                </c:pt>
                <c:pt idx="1176">
                  <c:v>0.62006917472</c:v>
                </c:pt>
                <c:pt idx="1177">
                  <c:v>0.61974217177000002</c:v>
                </c:pt>
                <c:pt idx="1178">
                  <c:v>0.61971879851</c:v>
                </c:pt>
                <c:pt idx="1179">
                  <c:v>0.61897897900999999</c:v>
                </c:pt>
                <c:pt idx="1180">
                  <c:v>0.61993567686000006</c:v>
                </c:pt>
                <c:pt idx="1181">
                  <c:v>0.61976005096000009</c:v>
                </c:pt>
                <c:pt idx="1182">
                  <c:v>0.61905622309000008</c:v>
                </c:pt>
                <c:pt idx="1183">
                  <c:v>0.61952802385000005</c:v>
                </c:pt>
                <c:pt idx="1184">
                  <c:v>0.61937415664999995</c:v>
                </c:pt>
                <c:pt idx="1185">
                  <c:v>0.61895505865</c:v>
                </c:pt>
                <c:pt idx="1186">
                  <c:v>0.61919023328</c:v>
                </c:pt>
                <c:pt idx="1187">
                  <c:v>0.61895232597000005</c:v>
                </c:pt>
                <c:pt idx="1188">
                  <c:v>0.61305531316999995</c:v>
                </c:pt>
                <c:pt idx="1189">
                  <c:v>0.61293953787</c:v>
                </c:pt>
                <c:pt idx="1190">
                  <c:v>0.61803562591999994</c:v>
                </c:pt>
                <c:pt idx="1191">
                  <c:v>0.61840633628999997</c:v>
                </c:pt>
                <c:pt idx="1192">
                  <c:v>0.62258722696000002</c:v>
                </c:pt>
                <c:pt idx="1193">
                  <c:v>0.62268648920000003</c:v>
                </c:pt>
                <c:pt idx="1194">
                  <c:v>0.62248224042</c:v>
                </c:pt>
                <c:pt idx="1195">
                  <c:v>0.62144953354999999</c:v>
                </c:pt>
                <c:pt idx="1196">
                  <c:v>0.85815657341999996</c:v>
                </c:pt>
                <c:pt idx="1197">
                  <c:v>0.85776669169000008</c:v>
                </c:pt>
                <c:pt idx="1198">
                  <c:v>0.85752149559000002</c:v>
                </c:pt>
                <c:pt idx="1199">
                  <c:v>0.85758789884999997</c:v>
                </c:pt>
                <c:pt idx="1200">
                  <c:v>0.85781351987999999</c:v>
                </c:pt>
                <c:pt idx="1201">
                  <c:v>0.85834187866</c:v>
                </c:pt>
                <c:pt idx="1202">
                  <c:v>0.85677639853999998</c:v>
                </c:pt>
                <c:pt idx="1203">
                  <c:v>0.85646781435000008</c:v>
                </c:pt>
                <c:pt idx="1204">
                  <c:v>0.85688648376999998</c:v>
                </c:pt>
                <c:pt idx="1205">
                  <c:v>0.85656269000999996</c:v>
                </c:pt>
                <c:pt idx="1206">
                  <c:v>0.85539616476000002</c:v>
                </c:pt>
                <c:pt idx="1207">
                  <c:v>0.86385999112</c:v>
                </c:pt>
                <c:pt idx="1208">
                  <c:v>0.86353372491999991</c:v>
                </c:pt>
                <c:pt idx="1209">
                  <c:v>0.86221631212000005</c:v>
                </c:pt>
                <c:pt idx="1210">
                  <c:v>0.86223819879999997</c:v>
                </c:pt>
                <c:pt idx="1211">
                  <c:v>0.86180074240999993</c:v>
                </c:pt>
                <c:pt idx="1212">
                  <c:v>0.86202869275000005</c:v>
                </c:pt>
                <c:pt idx="1213">
                  <c:v>0.8622547959500001</c:v>
                </c:pt>
                <c:pt idx="1214">
                  <c:v>0.86243913735</c:v>
                </c:pt>
                <c:pt idx="1215">
                  <c:v>0.85281304989999995</c:v>
                </c:pt>
                <c:pt idx="1216">
                  <c:v>0.85040597992</c:v>
                </c:pt>
                <c:pt idx="1217">
                  <c:v>0.85039079617999991</c:v>
                </c:pt>
                <c:pt idx="1218">
                  <c:v>0.84987741814999995</c:v>
                </c:pt>
                <c:pt idx="1219">
                  <c:v>0.85058400976000004</c:v>
                </c:pt>
                <c:pt idx="1220">
                  <c:v>0.85065758154999993</c:v>
                </c:pt>
                <c:pt idx="1221">
                  <c:v>0.85781173294000002</c:v>
                </c:pt>
                <c:pt idx="1222">
                  <c:v>0.85797767415999993</c:v>
                </c:pt>
                <c:pt idx="1223">
                  <c:v>0.85795956015999997</c:v>
                </c:pt>
                <c:pt idx="1224">
                  <c:v>0.85712345975000004</c:v>
                </c:pt>
                <c:pt idx="1225">
                  <c:v>0.85603147095999998</c:v>
                </c:pt>
                <c:pt idx="1226">
                  <c:v>0.85493775743</c:v>
                </c:pt>
                <c:pt idx="1227">
                  <c:v>0.85494465414999998</c:v>
                </c:pt>
                <c:pt idx="1228">
                  <c:v>0.85544907944000004</c:v>
                </c:pt>
                <c:pt idx="1229">
                  <c:v>0.85494091985999998</c:v>
                </c:pt>
                <c:pt idx="1230">
                  <c:v>0.85454581014999997</c:v>
                </c:pt>
                <c:pt idx="1231">
                  <c:v>0.85474043500999997</c:v>
                </c:pt>
                <c:pt idx="1232">
                  <c:v>0.85492012433000009</c:v>
                </c:pt>
                <c:pt idx="1233">
                  <c:v>0.86569202874999995</c:v>
                </c:pt>
                <c:pt idx="1234">
                  <c:v>0.86541402739999995</c:v>
                </c:pt>
                <c:pt idx="1235">
                  <c:v>0.85226132541999999</c:v>
                </c:pt>
                <c:pt idx="1236">
                  <c:v>0.84984906176999997</c:v>
                </c:pt>
                <c:pt idx="1237">
                  <c:v>0.84998864302999999</c:v>
                </c:pt>
                <c:pt idx="1238">
                  <c:v>0.84978521959000008</c:v>
                </c:pt>
                <c:pt idx="1239">
                  <c:v>0.84900442041999991</c:v>
                </c:pt>
                <c:pt idx="1240">
                  <c:v>0.84918903027999992</c:v>
                </c:pt>
                <c:pt idx="1241">
                  <c:v>0.84942253495000009</c:v>
                </c:pt>
                <c:pt idx="1242">
                  <c:v>0.85022363775999998</c:v>
                </c:pt>
                <c:pt idx="1243">
                  <c:v>0.85954228413</c:v>
                </c:pt>
                <c:pt idx="1244">
                  <c:v>0.85928778748000001</c:v>
                </c:pt>
                <c:pt idx="1245">
                  <c:v>0.85977547729999992</c:v>
                </c:pt>
                <c:pt idx="1246">
                  <c:v>0.85972264083000005</c:v>
                </c:pt>
                <c:pt idx="1247">
                  <c:v>0.85937914816999994</c:v>
                </c:pt>
                <c:pt idx="1248">
                  <c:v>0.85848796582000009</c:v>
                </c:pt>
                <c:pt idx="1249">
                  <c:v>0.85846947011999997</c:v>
                </c:pt>
                <c:pt idx="1250">
                  <c:v>0.85870131494000002</c:v>
                </c:pt>
                <c:pt idx="1251">
                  <c:v>0.85841750450999998</c:v>
                </c:pt>
                <c:pt idx="1252">
                  <c:v>0.85803166147999999</c:v>
                </c:pt>
                <c:pt idx="1253">
                  <c:v>0.85862665362000001</c:v>
                </c:pt>
                <c:pt idx="1254">
                  <c:v>0.85898032645</c:v>
                </c:pt>
                <c:pt idx="1255">
                  <c:v>0.85907167103999993</c:v>
                </c:pt>
                <c:pt idx="1256">
                  <c:v>0.85663731190999992</c:v>
                </c:pt>
                <c:pt idx="1257">
                  <c:v>0.85676162397</c:v>
                </c:pt>
                <c:pt idx="1258">
                  <c:v>0.84452940345000005</c:v>
                </c:pt>
                <c:pt idx="1259">
                  <c:v>0.84231400340999996</c:v>
                </c:pt>
                <c:pt idx="1260">
                  <c:v>0.84205162215999996</c:v>
                </c:pt>
                <c:pt idx="1261">
                  <c:v>0.84188680173999997</c:v>
                </c:pt>
                <c:pt idx="1262">
                  <c:v>0.84170249604999992</c:v>
                </c:pt>
                <c:pt idx="1263">
                  <c:v>0.84216292805999993</c:v>
                </c:pt>
                <c:pt idx="1264">
                  <c:v>0.84232710517999998</c:v>
                </c:pt>
                <c:pt idx="1265">
                  <c:v>0.84244354147</c:v>
                </c:pt>
                <c:pt idx="1266">
                  <c:v>0.84080624772000001</c:v>
                </c:pt>
                <c:pt idx="1267">
                  <c:v>0.84052822479</c:v>
                </c:pt>
                <c:pt idx="1268">
                  <c:v>0.84084307284000004</c:v>
                </c:pt>
                <c:pt idx="1269">
                  <c:v>0.83946153601999995</c:v>
                </c:pt>
                <c:pt idx="1270">
                  <c:v>0.83946398690000001</c:v>
                </c:pt>
                <c:pt idx="1271">
                  <c:v>0.83939731745000001</c:v>
                </c:pt>
                <c:pt idx="1272">
                  <c:v>0.83966846375000004</c:v>
                </c:pt>
                <c:pt idx="1273">
                  <c:v>0.83969716649000004</c:v>
                </c:pt>
                <c:pt idx="1274">
                  <c:v>0.83928029764000001</c:v>
                </c:pt>
                <c:pt idx="1275">
                  <c:v>0.83945563710000004</c:v>
                </c:pt>
                <c:pt idx="1276">
                  <c:v>0.83967847045999999</c:v>
                </c:pt>
                <c:pt idx="1277">
                  <c:v>0.85058506247999999</c:v>
                </c:pt>
                <c:pt idx="1278">
                  <c:v>0.85199813405999991</c:v>
                </c:pt>
                <c:pt idx="1279">
                  <c:v>0.84003452997000005</c:v>
                </c:pt>
                <c:pt idx="1280">
                  <c:v>0.83783079649000003</c:v>
                </c:pt>
                <c:pt idx="1281">
                  <c:v>0.83792416871999997</c:v>
                </c:pt>
                <c:pt idx="1282">
                  <c:v>0.83800306128999991</c:v>
                </c:pt>
                <c:pt idx="1283">
                  <c:v>0.83792405064999997</c:v>
                </c:pt>
                <c:pt idx="1284">
                  <c:v>0.83780205080999992</c:v>
                </c:pt>
                <c:pt idx="1285">
                  <c:v>0.8379613951799999</c:v>
                </c:pt>
                <c:pt idx="1286">
                  <c:v>0.83638349955999991</c:v>
                </c:pt>
                <c:pt idx="1287">
                  <c:v>0.8362123200599999</c:v>
                </c:pt>
                <c:pt idx="1288">
                  <c:v>0.83613701325000001</c:v>
                </c:pt>
                <c:pt idx="1289">
                  <c:v>0.83576528742999989</c:v>
                </c:pt>
                <c:pt idx="1290">
                  <c:v>0.83467904664000003</c:v>
                </c:pt>
                <c:pt idx="1291">
                  <c:v>0.83515526046999999</c:v>
                </c:pt>
                <c:pt idx="1292">
                  <c:v>0.83504035537999999</c:v>
                </c:pt>
                <c:pt idx="1293">
                  <c:v>0.83466146312</c:v>
                </c:pt>
                <c:pt idx="1294">
                  <c:v>0.83428474591000001</c:v>
                </c:pt>
                <c:pt idx="1295">
                  <c:v>0.83447142773000005</c:v>
                </c:pt>
                <c:pt idx="1296">
                  <c:v>0.83483409197000003</c:v>
                </c:pt>
                <c:pt idx="1297">
                  <c:v>0.82261779713000005</c:v>
                </c:pt>
                <c:pt idx="1298">
                  <c:v>0.82043456764</c:v>
                </c:pt>
                <c:pt idx="1299">
                  <c:v>0.82056575436000001</c:v>
                </c:pt>
                <c:pt idx="1300">
                  <c:v>0.82093322571000005</c:v>
                </c:pt>
                <c:pt idx="1301">
                  <c:v>0.82040833815000003</c:v>
                </c:pt>
                <c:pt idx="1302">
                  <c:v>0.82041880444000004</c:v>
                </c:pt>
                <c:pt idx="1303">
                  <c:v>0.82064517525000003</c:v>
                </c:pt>
                <c:pt idx="1304">
                  <c:v>0.82075360924999996</c:v>
                </c:pt>
                <c:pt idx="1305">
                  <c:v>0.82092840433000003</c:v>
                </c:pt>
                <c:pt idx="1306">
                  <c:v>0.82062402332000006</c:v>
                </c:pt>
                <c:pt idx="1307">
                  <c:v>0.82054287713999996</c:v>
                </c:pt>
                <c:pt idx="1308">
                  <c:v>0.82049784546000004</c:v>
                </c:pt>
                <c:pt idx="1309">
                  <c:v>0.82012967330999997</c:v>
                </c:pt>
                <c:pt idx="1310">
                  <c:v>0.82067872904999994</c:v>
                </c:pt>
                <c:pt idx="1311">
                  <c:v>0.82051551713000004</c:v>
                </c:pt>
                <c:pt idx="1312">
                  <c:v>0.82557353520999999</c:v>
                </c:pt>
                <c:pt idx="1313">
                  <c:v>0.82522069132000009</c:v>
                </c:pt>
                <c:pt idx="1314">
                  <c:v>0.82484999978999995</c:v>
                </c:pt>
                <c:pt idx="1315">
                  <c:v>0.82592247214000003</c:v>
                </c:pt>
                <c:pt idx="1316">
                  <c:v>0.82589916544000008</c:v>
                </c:pt>
                <c:pt idx="1317">
                  <c:v>0.82555706616000002</c:v>
                </c:pt>
                <c:pt idx="1318">
                  <c:v>0.82570574615999992</c:v>
                </c:pt>
                <c:pt idx="1319">
                  <c:v>0.81405852419000002</c:v>
                </c:pt>
                <c:pt idx="1320">
                  <c:v>0.92350428411999996</c:v>
                </c:pt>
                <c:pt idx="1321">
                  <c:v>0.92314325600000002</c:v>
                </c:pt>
                <c:pt idx="1322">
                  <c:v>0.92146048363999999</c:v>
                </c:pt>
                <c:pt idx="1323">
                  <c:v>0.9213275324400001</c:v>
                </c:pt>
                <c:pt idx="1324">
                  <c:v>0.9215494581</c:v>
                </c:pt>
                <c:pt idx="1325">
                  <c:v>0.92214230822999999</c:v>
                </c:pt>
                <c:pt idx="1326">
                  <c:v>0.92224023978999992</c:v>
                </c:pt>
                <c:pt idx="1327">
                  <c:v>0.92134473397000005</c:v>
                </c:pt>
                <c:pt idx="1328">
                  <c:v>0.92105045775000005</c:v>
                </c:pt>
                <c:pt idx="1329">
                  <c:v>0.92167482822000002</c:v>
                </c:pt>
                <c:pt idx="1330">
                  <c:v>0.92144769715999997</c:v>
                </c:pt>
                <c:pt idx="1331">
                  <c:v>0.92028957463999994</c:v>
                </c:pt>
                <c:pt idx="1332">
                  <c:v>0.92022307558000005</c:v>
                </c:pt>
                <c:pt idx="1333">
                  <c:v>0.92078837547000003</c:v>
                </c:pt>
                <c:pt idx="1334">
                  <c:v>0.92078155482000001</c:v>
                </c:pt>
                <c:pt idx="1335">
                  <c:v>0.92042581576999993</c:v>
                </c:pt>
                <c:pt idx="1336">
                  <c:v>0.92069095721000005</c:v>
                </c:pt>
                <c:pt idx="1337">
                  <c:v>0.92128195579999994</c:v>
                </c:pt>
                <c:pt idx="1338">
                  <c:v>0.92134301537999996</c:v>
                </c:pt>
                <c:pt idx="1339">
                  <c:v>0.90674638074000002</c:v>
                </c:pt>
                <c:pt idx="1340">
                  <c:v>0.90394074474999997</c:v>
                </c:pt>
                <c:pt idx="1341">
                  <c:v>0.90408290657000001</c:v>
                </c:pt>
                <c:pt idx="1342">
                  <c:v>0.90349306553999997</c:v>
                </c:pt>
                <c:pt idx="1343">
                  <c:v>0.90360909749999996</c:v>
                </c:pt>
                <c:pt idx="1344">
                  <c:v>0.90465482095000005</c:v>
                </c:pt>
                <c:pt idx="1345">
                  <c:v>0.90476287415000001</c:v>
                </c:pt>
                <c:pt idx="1346">
                  <c:v>0.90496843834000007</c:v>
                </c:pt>
                <c:pt idx="1347">
                  <c:v>0.90503791607000006</c:v>
                </c:pt>
                <c:pt idx="1348">
                  <c:v>0.90405421034</c:v>
                </c:pt>
                <c:pt idx="1349">
                  <c:v>0.90465977499000005</c:v>
                </c:pt>
                <c:pt idx="1350">
                  <c:v>0.91692764529999993</c:v>
                </c:pt>
                <c:pt idx="1351">
                  <c:v>0.91585792601000005</c:v>
                </c:pt>
                <c:pt idx="1352">
                  <c:v>0.91588951270000007</c:v>
                </c:pt>
                <c:pt idx="1353">
                  <c:v>0.91586422997000005</c:v>
                </c:pt>
                <c:pt idx="1354">
                  <c:v>0.91732956416</c:v>
                </c:pt>
                <c:pt idx="1355">
                  <c:v>0.90989831475000005</c:v>
                </c:pt>
                <c:pt idx="1356">
                  <c:v>0.91012382167999994</c:v>
                </c:pt>
                <c:pt idx="1357">
                  <c:v>0.91055497528999996</c:v>
                </c:pt>
                <c:pt idx="1358">
                  <c:v>0.91087462422999999</c:v>
                </c:pt>
                <c:pt idx="1359">
                  <c:v>0.91087255051000005</c:v>
                </c:pt>
                <c:pt idx="1360">
                  <c:v>0.89953984669000009</c:v>
                </c:pt>
                <c:pt idx="1361">
                  <c:v>0.89674484229999996</c:v>
                </c:pt>
                <c:pt idx="1362">
                  <c:v>0.89692134748999996</c:v>
                </c:pt>
                <c:pt idx="1363">
                  <c:v>0.89700152746000006</c:v>
                </c:pt>
                <c:pt idx="1364">
                  <c:v>0.89679124982000002</c:v>
                </c:pt>
                <c:pt idx="1365">
                  <c:v>0.89702423255999997</c:v>
                </c:pt>
                <c:pt idx="1366">
                  <c:v>0.89728821809000003</c:v>
                </c:pt>
                <c:pt idx="1367">
                  <c:v>0.89743762442999997</c:v>
                </c:pt>
                <c:pt idx="1368">
                  <c:v>0.89688603177999993</c:v>
                </c:pt>
                <c:pt idx="1369">
                  <c:v>0.89663392851000001</c:v>
                </c:pt>
                <c:pt idx="1370">
                  <c:v>0.89703991263999994</c:v>
                </c:pt>
                <c:pt idx="1371">
                  <c:v>0.89708492369000004</c:v>
                </c:pt>
                <c:pt idx="1372">
                  <c:v>0.89667124153</c:v>
                </c:pt>
                <c:pt idx="1373">
                  <c:v>0.89576044662999998</c:v>
                </c:pt>
                <c:pt idx="1374">
                  <c:v>0.89567407421</c:v>
                </c:pt>
                <c:pt idx="1375">
                  <c:v>0.89594006903000001</c:v>
                </c:pt>
                <c:pt idx="1376">
                  <c:v>0.89491357153999995</c:v>
                </c:pt>
                <c:pt idx="1377">
                  <c:v>0.89449874065000001</c:v>
                </c:pt>
                <c:pt idx="1378">
                  <c:v>0.89691546560000002</c:v>
                </c:pt>
                <c:pt idx="1379">
                  <c:v>0.89744447585999998</c:v>
                </c:pt>
                <c:pt idx="1380">
                  <c:v>0.89750750512999999</c:v>
                </c:pt>
                <c:pt idx="1381">
                  <c:v>0.89678709355999997</c:v>
                </c:pt>
                <c:pt idx="1382">
                  <c:v>0.90926875941999996</c:v>
                </c:pt>
                <c:pt idx="1383">
                  <c:v>0.90682694914999995</c:v>
                </c:pt>
                <c:pt idx="1384">
                  <c:v>0.90679975513</c:v>
                </c:pt>
                <c:pt idx="1385">
                  <c:v>0.90678294011000005</c:v>
                </c:pt>
                <c:pt idx="1386">
                  <c:v>0.90665050117000001</c:v>
                </c:pt>
                <c:pt idx="1387">
                  <c:v>0.90687752841999991</c:v>
                </c:pt>
                <c:pt idx="1388">
                  <c:v>0.90746200896000007</c:v>
                </c:pt>
                <c:pt idx="1389">
                  <c:v>0.90754779084000003</c:v>
                </c:pt>
                <c:pt idx="1390">
                  <c:v>0.90525679585000007</c:v>
                </c:pt>
                <c:pt idx="1391">
                  <c:v>0.90503460952000003</c:v>
                </c:pt>
                <c:pt idx="1392">
                  <c:v>0.9053073949299999</c:v>
                </c:pt>
                <c:pt idx="1393">
                  <c:v>0.90503271630999993</c:v>
                </c:pt>
                <c:pt idx="1394">
                  <c:v>0.91337758259000001</c:v>
                </c:pt>
                <c:pt idx="1395">
                  <c:v>0.91330133211999998</c:v>
                </c:pt>
                <c:pt idx="1396">
                  <c:v>0.91348773491999991</c:v>
                </c:pt>
                <c:pt idx="1397">
                  <c:v>0.91374945001999996</c:v>
                </c:pt>
                <c:pt idx="1398">
                  <c:v>0.91312268542999997</c:v>
                </c:pt>
                <c:pt idx="1399">
                  <c:v>0.91269085359000002</c:v>
                </c:pt>
                <c:pt idx="1400">
                  <c:v>0.91295701742999991</c:v>
                </c:pt>
                <c:pt idx="1401">
                  <c:v>0.91297550699999996</c:v>
                </c:pt>
                <c:pt idx="1402">
                  <c:v>0.91860997850000004</c:v>
                </c:pt>
                <c:pt idx="1403">
                  <c:v>0.90818345742999995</c:v>
                </c:pt>
                <c:pt idx="1404">
                  <c:v>0.90552670289000003</c:v>
                </c:pt>
                <c:pt idx="1405">
                  <c:v>0.90570879150000005</c:v>
                </c:pt>
                <c:pt idx="1406">
                  <c:v>0.90579568534999999</c:v>
                </c:pt>
                <c:pt idx="1407">
                  <c:v>0.90588151786000004</c:v>
                </c:pt>
                <c:pt idx="1408">
                  <c:v>0.90603642548999996</c:v>
                </c:pt>
                <c:pt idx="1409">
                  <c:v>0.90615387032000005</c:v>
                </c:pt>
                <c:pt idx="1410">
                  <c:v>0.90630154111000005</c:v>
                </c:pt>
                <c:pt idx="1411">
                  <c:v>0.90651275923999997</c:v>
                </c:pt>
                <c:pt idx="1412">
                  <c:v>0.90665298699999997</c:v>
                </c:pt>
                <c:pt idx="1413">
                  <c:v>0.90517373532000001</c:v>
                </c:pt>
                <c:pt idx="1414">
                  <c:v>0.90472453504999995</c:v>
                </c:pt>
                <c:pt idx="1415">
                  <c:v>0.90429681266999995</c:v>
                </c:pt>
                <c:pt idx="1416">
                  <c:v>0.90321157576</c:v>
                </c:pt>
                <c:pt idx="1417">
                  <c:v>0.90324125358000007</c:v>
                </c:pt>
                <c:pt idx="1418">
                  <c:v>0.90367699635999998</c:v>
                </c:pt>
                <c:pt idx="1419">
                  <c:v>0.90275928754000001</c:v>
                </c:pt>
                <c:pt idx="1420">
                  <c:v>0.90237161989999992</c:v>
                </c:pt>
                <c:pt idx="1421">
                  <c:v>0.90248081170000005</c:v>
                </c:pt>
                <c:pt idx="1422">
                  <c:v>0.90263717736000004</c:v>
                </c:pt>
                <c:pt idx="1423">
                  <c:v>0.90336126549999995</c:v>
                </c:pt>
                <c:pt idx="1424">
                  <c:v>0.90274732272000002</c:v>
                </c:pt>
                <c:pt idx="1425">
                  <c:v>0.9029738371699999</c:v>
                </c:pt>
                <c:pt idx="1426">
                  <c:v>0.89360900491999995</c:v>
                </c:pt>
                <c:pt idx="1427">
                  <c:v>0.89108348686000005</c:v>
                </c:pt>
                <c:pt idx="1428">
                  <c:v>0.89136281032000009</c:v>
                </c:pt>
                <c:pt idx="1429">
                  <c:v>0.89128043483000008</c:v>
                </c:pt>
                <c:pt idx="1430">
                  <c:v>0.89135384555999997</c:v>
                </c:pt>
                <c:pt idx="1431">
                  <c:v>0.89158598864999994</c:v>
                </c:pt>
                <c:pt idx="1432">
                  <c:v>0.8922517794</c:v>
                </c:pt>
                <c:pt idx="1433">
                  <c:v>0.89071050661999995</c:v>
                </c:pt>
                <c:pt idx="1434">
                  <c:v>0.89094586658000008</c:v>
                </c:pt>
                <c:pt idx="1435">
                  <c:v>0.89119299252999995</c:v>
                </c:pt>
                <c:pt idx="1436">
                  <c:v>0.89124019512999997</c:v>
                </c:pt>
                <c:pt idx="1437">
                  <c:v>0.89096964682000002</c:v>
                </c:pt>
                <c:pt idx="1438">
                  <c:v>0.88991920540999991</c:v>
                </c:pt>
                <c:pt idx="1439">
                  <c:v>0.89008131824000003</c:v>
                </c:pt>
                <c:pt idx="1440">
                  <c:v>0.89033830721000007</c:v>
                </c:pt>
                <c:pt idx="1441">
                  <c:v>0.88806865220000009</c:v>
                </c:pt>
                <c:pt idx="1442">
                  <c:v>0.88785840566999996</c:v>
                </c:pt>
                <c:pt idx="1443">
                  <c:v>0.88801343214999995</c:v>
                </c:pt>
                <c:pt idx="1444">
                  <c:v>0.90127801947000008</c:v>
                </c:pt>
                <c:pt idx="1445">
                  <c:v>0.90114294363000003</c:v>
                </c:pt>
                <c:pt idx="1446">
                  <c:v>0.90091509613999998</c:v>
                </c:pt>
                <c:pt idx="1447">
                  <c:v>0.89247239697000003</c:v>
                </c:pt>
                <c:pt idx="1448">
                  <c:v>0.89925251524000005</c:v>
                </c:pt>
                <c:pt idx="1449">
                  <c:v>0.90196929191999997</c:v>
                </c:pt>
                <c:pt idx="1450">
                  <c:v>0.90618027225999997</c:v>
                </c:pt>
                <c:pt idx="1451">
                  <c:v>0.90799964216999995</c:v>
                </c:pt>
                <c:pt idx="1452">
                  <c:v>0.90854141814</c:v>
                </c:pt>
                <c:pt idx="1453">
                  <c:v>0.91993402217999998</c:v>
                </c:pt>
                <c:pt idx="1454">
                  <c:v>0.92118812311999998</c:v>
                </c:pt>
                <c:pt idx="1455">
                  <c:v>0.92546209353999997</c:v>
                </c:pt>
                <c:pt idx="1456">
                  <c:v>0.92722926686000007</c:v>
                </c:pt>
                <c:pt idx="1457">
                  <c:v>0.9355751378099999</c:v>
                </c:pt>
                <c:pt idx="1458">
                  <c:v>0.93863037161000007</c:v>
                </c:pt>
                <c:pt idx="1459">
                  <c:v>0.94187873620000007</c:v>
                </c:pt>
                <c:pt idx="1460">
                  <c:v>0.99455061715999993</c:v>
                </c:pt>
                <c:pt idx="1461">
                  <c:v>0.99511275536999999</c:v>
                </c:pt>
                <c:pt idx="1462">
                  <c:v>1.0027581673799999</c:v>
                </c:pt>
                <c:pt idx="1463">
                  <c:v>1.0261587921999999</c:v>
                </c:pt>
                <c:pt idx="1464">
                  <c:v>1.0335026163300001</c:v>
                </c:pt>
                <c:pt idx="1465">
                  <c:v>1.03863515353</c:v>
                </c:pt>
                <c:pt idx="1466">
                  <c:v>1.03866523946</c:v>
                </c:pt>
                <c:pt idx="1467">
                  <c:v>1.0367729593699999</c:v>
                </c:pt>
                <c:pt idx="1468">
                  <c:v>1.0355374185399999</c:v>
                </c:pt>
                <c:pt idx="1469">
                  <c:v>1.03547954714</c:v>
                </c:pt>
                <c:pt idx="1470">
                  <c:v>2.07036617318</c:v>
                </c:pt>
                <c:pt idx="1471">
                  <c:v>2.0721626562200002</c:v>
                </c:pt>
                <c:pt idx="1472">
                  <c:v>2.0726432898399998</c:v>
                </c:pt>
                <c:pt idx="1473">
                  <c:v>2.07510486915</c:v>
                </c:pt>
                <c:pt idx="1474">
                  <c:v>2.0738763241</c:v>
                </c:pt>
                <c:pt idx="1475">
                  <c:v>2.06742002956</c:v>
                </c:pt>
                <c:pt idx="1476">
                  <c:v>2.0680727221300002</c:v>
                </c:pt>
                <c:pt idx="1477">
                  <c:v>2.0672466313699998</c:v>
                </c:pt>
                <c:pt idx="1478">
                  <c:v>2.0663874838800003</c:v>
                </c:pt>
                <c:pt idx="1479">
                  <c:v>2.0672663090999999</c:v>
                </c:pt>
                <c:pt idx="1480">
                  <c:v>2.06683393493</c:v>
                </c:pt>
                <c:pt idx="1481">
                  <c:v>2.0669018100600001</c:v>
                </c:pt>
                <c:pt idx="1482">
                  <c:v>2.0665631196900001</c:v>
                </c:pt>
                <c:pt idx="1483">
                  <c:v>2.0665063144900002</c:v>
                </c:pt>
                <c:pt idx="1484">
                  <c:v>2.0676674017200001</c:v>
                </c:pt>
                <c:pt idx="1485">
                  <c:v>2.06764522883</c:v>
                </c:pt>
                <c:pt idx="1486">
                  <c:v>2.0678189860099998</c:v>
                </c:pt>
                <c:pt idx="1487">
                  <c:v>2.05972696196</c:v>
                </c:pt>
                <c:pt idx="1488">
                  <c:v>2.0669885520000002</c:v>
                </c:pt>
                <c:pt idx="1489">
                  <c:v>2.06796656078</c:v>
                </c:pt>
                <c:pt idx="1490">
                  <c:v>2.06929640167</c:v>
                </c:pt>
                <c:pt idx="1491">
                  <c:v>2.06989865179</c:v>
                </c:pt>
                <c:pt idx="1492">
                  <c:v>2.0703005709100002</c:v>
                </c:pt>
                <c:pt idx="1493">
                  <c:v>2.0706926716099998</c:v>
                </c:pt>
                <c:pt idx="1494">
                  <c:v>2.0696341062200001</c:v>
                </c:pt>
                <c:pt idx="1495">
                  <c:v>2.06123532862</c:v>
                </c:pt>
                <c:pt idx="1496">
                  <c:v>2.0589950183200001</c:v>
                </c:pt>
                <c:pt idx="1497">
                  <c:v>2.0598879226400002</c:v>
                </c:pt>
                <c:pt idx="1498">
                  <c:v>2.0598939074900002</c:v>
                </c:pt>
                <c:pt idx="1499">
                  <c:v>2.0614725548699999</c:v>
                </c:pt>
                <c:pt idx="1500">
                  <c:v>2.05960794259</c:v>
                </c:pt>
                <c:pt idx="1501">
                  <c:v>2.06010279372</c:v>
                </c:pt>
                <c:pt idx="1502">
                  <c:v>2.0605509505000001</c:v>
                </c:pt>
                <c:pt idx="1503">
                  <c:v>2.0610534840699999</c:v>
                </c:pt>
                <c:pt idx="1504">
                  <c:v>2.0615837938300001</c:v>
                </c:pt>
                <c:pt idx="1505">
                  <c:v>2.0618079440499999</c:v>
                </c:pt>
                <c:pt idx="1506">
                  <c:v>2.0615920833899999</c:v>
                </c:pt>
                <c:pt idx="1507">
                  <c:v>2.0616453458200001</c:v>
                </c:pt>
                <c:pt idx="1508">
                  <c:v>2.0619062747400001</c:v>
                </c:pt>
                <c:pt idx="1509">
                  <c:v>2.05404585447</c:v>
                </c:pt>
                <c:pt idx="1510">
                  <c:v>2.05216772634</c:v>
                </c:pt>
                <c:pt idx="1511">
                  <c:v>2.0664456715699999</c:v>
                </c:pt>
                <c:pt idx="1512">
                  <c:v>2.06677864703</c:v>
                </c:pt>
                <c:pt idx="1513">
                  <c:v>2.0669732502400002</c:v>
                </c:pt>
                <c:pt idx="1514">
                  <c:v>2.0680428482100002</c:v>
                </c:pt>
                <c:pt idx="1515">
                  <c:v>2.0682700168800001</c:v>
                </c:pt>
                <c:pt idx="1516">
                  <c:v>2.0670049916300002</c:v>
                </c:pt>
                <c:pt idx="1517">
                  <c:v>2.0599654303200001</c:v>
                </c:pt>
                <c:pt idx="1518">
                  <c:v>2.0578920780400001</c:v>
                </c:pt>
                <c:pt idx="1519">
                  <c:v>2.0753029809900001</c:v>
                </c:pt>
                <c:pt idx="1520">
                  <c:v>2.0741354912199998</c:v>
                </c:pt>
                <c:pt idx="1521">
                  <c:v>2.0732761164700002</c:v>
                </c:pt>
                <c:pt idx="1522">
                  <c:v>2.0730690963900003</c:v>
                </c:pt>
                <c:pt idx="1523">
                  <c:v>2.0732325440400001</c:v>
                </c:pt>
                <c:pt idx="1524">
                  <c:v>2.0734074897900001</c:v>
                </c:pt>
                <c:pt idx="1525">
                  <c:v>2.0732338546199998</c:v>
                </c:pt>
                <c:pt idx="1526">
                  <c:v>2.0734535458900001</c:v>
                </c:pt>
                <c:pt idx="1527">
                  <c:v>2.0737868461</c:v>
                </c:pt>
                <c:pt idx="1528">
                  <c:v>2.0741389407800002</c:v>
                </c:pt>
                <c:pt idx="1529">
                  <c:v>2.0752017450499998</c:v>
                </c:pt>
                <c:pt idx="1530">
                  <c:v>2.0753633590599998</c:v>
                </c:pt>
                <c:pt idx="1531">
                  <c:v>2.06751765439</c:v>
                </c:pt>
                <c:pt idx="1532">
                  <c:v>2.0653732782800001</c:v>
                </c:pt>
                <c:pt idx="1533">
                  <c:v>2.0652734224600002</c:v>
                </c:pt>
                <c:pt idx="1534">
                  <c:v>2.0645979883300001</c:v>
                </c:pt>
                <c:pt idx="1535">
                  <c:v>2.0647452944200002</c:v>
                </c:pt>
                <c:pt idx="1536">
                  <c:v>2.0651665441700002</c:v>
                </c:pt>
                <c:pt idx="1537">
                  <c:v>2.0656142888</c:v>
                </c:pt>
                <c:pt idx="1538">
                  <c:v>2.0658579053599997</c:v>
                </c:pt>
                <c:pt idx="1539">
                  <c:v>2.0621200546300003</c:v>
                </c:pt>
                <c:pt idx="1540">
                  <c:v>2.0549904988800001</c:v>
                </c:pt>
                <c:pt idx="1541">
                  <c:v>2.0562683326900002</c:v>
                </c:pt>
                <c:pt idx="1542">
                  <c:v>2.0559392570899999</c:v>
                </c:pt>
                <c:pt idx="1543">
                  <c:v>2.0556608844099999</c:v>
                </c:pt>
                <c:pt idx="1544">
                  <c:v>2.0562061046300002</c:v>
                </c:pt>
                <c:pt idx="1545">
                  <c:v>2.0557658826099998</c:v>
                </c:pt>
                <c:pt idx="1546">
                  <c:v>2.0563520131900002</c:v>
                </c:pt>
                <c:pt idx="1547">
                  <c:v>2.0561863737300001</c:v>
                </c:pt>
                <c:pt idx="1548">
                  <c:v>2.0558977709600001</c:v>
                </c:pt>
                <c:pt idx="1549">
                  <c:v>2.0497177476099999</c:v>
                </c:pt>
                <c:pt idx="1550">
                  <c:v>2.0471951592200002</c:v>
                </c:pt>
                <c:pt idx="1551">
                  <c:v>2.0473328685899999</c:v>
                </c:pt>
                <c:pt idx="1552">
                  <c:v>2.0480679456900002</c:v>
                </c:pt>
                <c:pt idx="1553">
                  <c:v>2.0482499441300002</c:v>
                </c:pt>
                <c:pt idx="1554">
                  <c:v>2.04863619762</c:v>
                </c:pt>
                <c:pt idx="1555">
                  <c:v>2.0490482837399999</c:v>
                </c:pt>
                <c:pt idx="1556">
                  <c:v>2.0491837940300002</c:v>
                </c:pt>
                <c:pt idx="1557">
                  <c:v>2.0456538059999998</c:v>
                </c:pt>
                <c:pt idx="1558">
                  <c:v>2.0385399012000001</c:v>
                </c:pt>
                <c:pt idx="1559">
                  <c:v>2.0397191169900002</c:v>
                </c:pt>
                <c:pt idx="1560">
                  <c:v>2.0393017592200002</c:v>
                </c:pt>
                <c:pt idx="1561">
                  <c:v>2.0388983832299998</c:v>
                </c:pt>
                <c:pt idx="1562">
                  <c:v>2.03902767704</c:v>
                </c:pt>
                <c:pt idx="1563">
                  <c:v>2.0384833308500001</c:v>
                </c:pt>
                <c:pt idx="1564">
                  <c:v>2.0389241570799999</c:v>
                </c:pt>
                <c:pt idx="1565">
                  <c:v>2.0383653899900001</c:v>
                </c:pt>
                <c:pt idx="1566">
                  <c:v>2.0382527345899999</c:v>
                </c:pt>
                <c:pt idx="1567">
                  <c:v>2.0393458204099999</c:v>
                </c:pt>
                <c:pt idx="1568">
                  <c:v>2.0395014210100002</c:v>
                </c:pt>
                <c:pt idx="1569">
                  <c:v>2.03955516616</c:v>
                </c:pt>
                <c:pt idx="1570">
                  <c:v>2.03973402541</c:v>
                </c:pt>
                <c:pt idx="1571">
                  <c:v>2.04021403572</c:v>
                </c:pt>
                <c:pt idx="1572">
                  <c:v>2.03330552132</c:v>
                </c:pt>
                <c:pt idx="1573">
                  <c:v>2.04932401214</c:v>
                </c:pt>
                <c:pt idx="1574">
                  <c:v>2.0496111019400001</c:v>
                </c:pt>
                <c:pt idx="1575">
                  <c:v>2.0497664105299997</c:v>
                </c:pt>
                <c:pt idx="1576">
                  <c:v>2.0498640935100001</c:v>
                </c:pt>
                <c:pt idx="1577">
                  <c:v>2.05113523216</c:v>
                </c:pt>
                <c:pt idx="1578">
                  <c:v>2.0496986960400001</c:v>
                </c:pt>
                <c:pt idx="1579">
                  <c:v>2.0425831220799999</c:v>
                </c:pt>
                <c:pt idx="1580">
                  <c:v>2.0415820499400001</c:v>
                </c:pt>
                <c:pt idx="1581">
                  <c:v>2.0426512610100001</c:v>
                </c:pt>
                <c:pt idx="1582">
                  <c:v>2.0407143906600003</c:v>
                </c:pt>
                <c:pt idx="1583">
                  <c:v>2.0407568059300001</c:v>
                </c:pt>
                <c:pt idx="1584">
                  <c:v>2.0401876353499997</c:v>
                </c:pt>
                <c:pt idx="1585">
                  <c:v>2.0406309244499998</c:v>
                </c:pt>
                <c:pt idx="1586">
                  <c:v>2.04010806353</c:v>
                </c:pt>
                <c:pt idx="1587">
                  <c:v>2.0401982790100002</c:v>
                </c:pt>
                <c:pt idx="1588">
                  <c:v>2.04047025218</c:v>
                </c:pt>
                <c:pt idx="1589">
                  <c:v>2.0406986371199998</c:v>
                </c:pt>
                <c:pt idx="1590">
                  <c:v>2.0329619987299998</c:v>
                </c:pt>
                <c:pt idx="1591">
                  <c:v>2.0302639466999999</c:v>
                </c:pt>
                <c:pt idx="1592">
                  <c:v>2.03037388588</c:v>
                </c:pt>
                <c:pt idx="1593">
                  <c:v>2.03070947897</c:v>
                </c:pt>
                <c:pt idx="1594">
                  <c:v>2.0315055164100002</c:v>
                </c:pt>
                <c:pt idx="1595">
                  <c:v>2.0472433854300003</c:v>
                </c:pt>
                <c:pt idx="1596">
                  <c:v>2.0475324655299998</c:v>
                </c:pt>
                <c:pt idx="1597">
                  <c:v>2.04621086571</c:v>
                </c:pt>
                <c:pt idx="1598">
                  <c:v>2.0390666733099998</c:v>
                </c:pt>
                <c:pt idx="1599">
                  <c:v>2.0389539087899999</c:v>
                </c:pt>
                <c:pt idx="1600">
                  <c:v>2.0385933859800001</c:v>
                </c:pt>
                <c:pt idx="1601">
                  <c:v>2.0367480732800001</c:v>
                </c:pt>
                <c:pt idx="1602">
                  <c:v>2.0369675761399999</c:v>
                </c:pt>
                <c:pt idx="1603">
                  <c:v>2.03720676957</c:v>
                </c:pt>
                <c:pt idx="1604">
                  <c:v>2.0153772496199998</c:v>
                </c:pt>
                <c:pt idx="1605">
                  <c:v>1.9962681364800001</c:v>
                </c:pt>
                <c:pt idx="1606">
                  <c:v>1.9961696102199999</c:v>
                </c:pt>
                <c:pt idx="1607">
                  <c:v>1.99626244329</c:v>
                </c:pt>
                <c:pt idx="1608">
                  <c:v>1.9962892132200001</c:v>
                </c:pt>
                <c:pt idx="1609">
                  <c:v>1.99745849662</c:v>
                </c:pt>
                <c:pt idx="1610">
                  <c:v>1.9970167725999999</c:v>
                </c:pt>
                <c:pt idx="1611">
                  <c:v>2.00348662629</c:v>
                </c:pt>
                <c:pt idx="1612">
                  <c:v>1.9950481577000001</c:v>
                </c:pt>
                <c:pt idx="1613">
                  <c:v>1.9933670006099999</c:v>
                </c:pt>
                <c:pt idx="1614">
                  <c:v>1.9938236579300002</c:v>
                </c:pt>
                <c:pt idx="1615">
                  <c:v>1.99353869504</c:v>
                </c:pt>
                <c:pt idx="1616">
                  <c:v>1.9937669957499999</c:v>
                </c:pt>
                <c:pt idx="1617">
                  <c:v>1.9941833384000001</c:v>
                </c:pt>
                <c:pt idx="1618">
                  <c:v>1.99433288781</c:v>
                </c:pt>
                <c:pt idx="1619">
                  <c:v>1.99339806204</c:v>
                </c:pt>
                <c:pt idx="1620">
                  <c:v>1.9855324146</c:v>
                </c:pt>
                <c:pt idx="1621">
                  <c:v>1.9854992444500001</c:v>
                </c:pt>
                <c:pt idx="1622">
                  <c:v>1.9864994998099998</c:v>
                </c:pt>
                <c:pt idx="1623">
                  <c:v>1.9868263051500001</c:v>
                </c:pt>
                <c:pt idx="1624">
                  <c:v>1.9869358940999999</c:v>
                </c:pt>
                <c:pt idx="1625">
                  <c:v>1.98628910777</c:v>
                </c:pt>
                <c:pt idx="1626">
                  <c:v>1.9855283136300002</c:v>
                </c:pt>
                <c:pt idx="1627">
                  <c:v>1.98517566644</c:v>
                </c:pt>
                <c:pt idx="1628">
                  <c:v>2.0592220853100001</c:v>
                </c:pt>
                <c:pt idx="1629">
                  <c:v>2.05925984374</c:v>
                </c:pt>
                <c:pt idx="1630">
                  <c:v>2.0591982569400002</c:v>
                </c:pt>
                <c:pt idx="1631">
                  <c:v>2.0592562502699998</c:v>
                </c:pt>
                <c:pt idx="1632">
                  <c:v>2.0683292672699998</c:v>
                </c:pt>
                <c:pt idx="1633">
                  <c:v>2.0580054056299999</c:v>
                </c:pt>
                <c:pt idx="1634">
                  <c:v>2.0561587005200002</c:v>
                </c:pt>
                <c:pt idx="1635">
                  <c:v>2.0565018145499998</c:v>
                </c:pt>
                <c:pt idx="1636">
                  <c:v>2.0567288809300002</c:v>
                </c:pt>
                <c:pt idx="1637">
                  <c:v>2.05694230319</c:v>
                </c:pt>
                <c:pt idx="1638">
                  <c:v>2.0579757610099998</c:v>
                </c:pt>
                <c:pt idx="1639">
                  <c:v>2.0564677910699998</c:v>
                </c:pt>
                <c:pt idx="1640">
                  <c:v>2.04891919186</c:v>
                </c:pt>
                <c:pt idx="1641">
                  <c:v>2.04794236623</c:v>
                </c:pt>
                <c:pt idx="1642">
                  <c:v>2.0478716002600001</c:v>
                </c:pt>
                <c:pt idx="1643">
                  <c:v>2.0474974994999999</c:v>
                </c:pt>
                <c:pt idx="1644">
                  <c:v>2.0461170379300002</c:v>
                </c:pt>
                <c:pt idx="1645">
                  <c:v>2.04698337007</c:v>
                </c:pt>
                <c:pt idx="1646">
                  <c:v>2.0474378944999998</c:v>
                </c:pt>
                <c:pt idx="1647">
                  <c:v>2.0478672484100002</c:v>
                </c:pt>
                <c:pt idx="1648">
                  <c:v>2.04846070421</c:v>
                </c:pt>
                <c:pt idx="1649">
                  <c:v>2.04806336597</c:v>
                </c:pt>
                <c:pt idx="1650">
                  <c:v>2.0483847050300001</c:v>
                </c:pt>
                <c:pt idx="1651">
                  <c:v>2.0485561997400001</c:v>
                </c:pt>
                <c:pt idx="1652">
                  <c:v>2.0453807084300002</c:v>
                </c:pt>
                <c:pt idx="1653">
                  <c:v>2.0462531090999998</c:v>
                </c:pt>
                <c:pt idx="1654">
                  <c:v>2.0358447589300002</c:v>
                </c:pt>
                <c:pt idx="1655">
                  <c:v>2.0342082267900001</c:v>
                </c:pt>
                <c:pt idx="1656">
                  <c:v>2.0339224388799999</c:v>
                </c:pt>
                <c:pt idx="1657">
                  <c:v>2.0336457460999999</c:v>
                </c:pt>
                <c:pt idx="1658">
                  <c:v>2.0344392790399999</c:v>
                </c:pt>
                <c:pt idx="1659">
                  <c:v>2.0347177533599998</c:v>
                </c:pt>
                <c:pt idx="1660">
                  <c:v>2.0415033384500001</c:v>
                </c:pt>
                <c:pt idx="1661">
                  <c:v>2.0415362407999997</c:v>
                </c:pt>
                <c:pt idx="1662">
                  <c:v>2.0401506507599998</c:v>
                </c:pt>
                <c:pt idx="1663">
                  <c:v>2.03234123939</c:v>
                </c:pt>
                <c:pt idx="1664">
                  <c:v>2.0322385630299999</c:v>
                </c:pt>
                <c:pt idx="1665">
                  <c:v>2.0323574366699999</c:v>
                </c:pt>
                <c:pt idx="1666">
                  <c:v>2.0319885048699997</c:v>
                </c:pt>
                <c:pt idx="1667">
                  <c:v>2.03113384222</c:v>
                </c:pt>
                <c:pt idx="1668">
                  <c:v>2.0331459089499999</c:v>
                </c:pt>
                <c:pt idx="1669">
                  <c:v>2.0326254499599998</c:v>
                </c:pt>
                <c:pt idx="1670">
                  <c:v>2.03455935681</c:v>
                </c:pt>
                <c:pt idx="1671">
                  <c:v>2.0347823978599999</c:v>
                </c:pt>
                <c:pt idx="1672">
                  <c:v>2.0349412405399998</c:v>
                </c:pt>
                <c:pt idx="1673">
                  <c:v>2.0366184560999998</c:v>
                </c:pt>
                <c:pt idx="1674">
                  <c:v>2.03683968562</c:v>
                </c:pt>
                <c:pt idx="1675">
                  <c:v>2.0372690275799998</c:v>
                </c:pt>
                <c:pt idx="1676">
                  <c:v>2.0377297545599999</c:v>
                </c:pt>
                <c:pt idx="1677">
                  <c:v>2.0322650959300002</c:v>
                </c:pt>
                <c:pt idx="1678">
                  <c:v>2.0324547332599998</c:v>
                </c:pt>
                <c:pt idx="1679">
                  <c:v>2.0322368178299999</c:v>
                </c:pt>
                <c:pt idx="1680">
                  <c:v>2.0323998075900001</c:v>
                </c:pt>
                <c:pt idx="1681">
                  <c:v>2.0329939501500003</c:v>
                </c:pt>
                <c:pt idx="1682">
                  <c:v>2.0322809842599998</c:v>
                </c:pt>
                <c:pt idx="1683">
                  <c:v>2.0250194883099999</c:v>
                </c:pt>
                <c:pt idx="1684">
                  <c:v>2.0239226161800001</c:v>
                </c:pt>
                <c:pt idx="1685">
                  <c:v>2.0238412694400001</c:v>
                </c:pt>
                <c:pt idx="1686">
                  <c:v>2.0243788561800002</c:v>
                </c:pt>
                <c:pt idx="1687">
                  <c:v>2.0242667590600001</c:v>
                </c:pt>
                <c:pt idx="1688">
                  <c:v>2.02367879546</c:v>
                </c:pt>
                <c:pt idx="1689">
                  <c:v>2.0235756705400001</c:v>
                </c:pt>
                <c:pt idx="1690">
                  <c:v>2.0240059352899999</c:v>
                </c:pt>
                <c:pt idx="1691">
                  <c:v>2.0244175299</c:v>
                </c:pt>
                <c:pt idx="1692">
                  <c:v>2.0247992860499999</c:v>
                </c:pt>
                <c:pt idx="1693">
                  <c:v>2.02490489798</c:v>
                </c:pt>
                <c:pt idx="1694">
                  <c:v>2.02529976749</c:v>
                </c:pt>
                <c:pt idx="1695">
                  <c:v>2.02554666211</c:v>
                </c:pt>
                <c:pt idx="1696">
                  <c:v>2.0258361846500001</c:v>
                </c:pt>
                <c:pt idx="1697">
                  <c:v>2.0191789065500001</c:v>
                </c:pt>
                <c:pt idx="1698">
                  <c:v>2.0174689794500003</c:v>
                </c:pt>
                <c:pt idx="1699">
                  <c:v>2.0174366406600002</c:v>
                </c:pt>
                <c:pt idx="1700">
                  <c:v>2.0175941185199999</c:v>
                </c:pt>
                <c:pt idx="1701">
                  <c:v>2.01774541776</c:v>
                </c:pt>
                <c:pt idx="1702">
                  <c:v>2.0187234566400001</c:v>
                </c:pt>
                <c:pt idx="1703">
                  <c:v>2.0304349574300002</c:v>
                </c:pt>
                <c:pt idx="1704">
                  <c:v>2.02902056824</c:v>
                </c:pt>
                <c:pt idx="1705">
                  <c:v>2.0256142659999998</c:v>
                </c:pt>
                <c:pt idx="1706">
                  <c:v>2.0261732617699999</c:v>
                </c:pt>
                <c:pt idx="1707">
                  <c:v>2.0254352997299998</c:v>
                </c:pt>
                <c:pt idx="1708">
                  <c:v>2.0245512028000001</c:v>
                </c:pt>
                <c:pt idx="1709">
                  <c:v>2.0251885167200001</c:v>
                </c:pt>
                <c:pt idx="1710">
                  <c:v>2.02554199743</c:v>
                </c:pt>
                <c:pt idx="1711">
                  <c:v>2.0244065276500001</c:v>
                </c:pt>
                <c:pt idx="1712">
                  <c:v>2.0245829255899999</c:v>
                </c:pt>
                <c:pt idx="1713">
                  <c:v>2.02463212872</c:v>
                </c:pt>
                <c:pt idx="1714">
                  <c:v>2.0248002815400001</c:v>
                </c:pt>
                <c:pt idx="1715">
                  <c:v>2.0250834397499999</c:v>
                </c:pt>
                <c:pt idx="1716">
                  <c:v>2.0909860790699999</c:v>
                </c:pt>
                <c:pt idx="1717">
                  <c:v>2.0912669561900001</c:v>
                </c:pt>
                <c:pt idx="1718">
                  <c:v>2.0744604784699998</c:v>
                </c:pt>
                <c:pt idx="1719">
                  <c:v>2.1408060354899998</c:v>
                </c:pt>
                <c:pt idx="1720">
                  <c:v>2.1412301442700001</c:v>
                </c:pt>
                <c:pt idx="1721">
                  <c:v>2.1433610758499997</c:v>
                </c:pt>
                <c:pt idx="1722">
                  <c:v>2.1475236952199999</c:v>
                </c:pt>
                <c:pt idx="1723">
                  <c:v>2.1478793346700003</c:v>
                </c:pt>
                <c:pt idx="1724">
                  <c:v>2.1481223204600002</c:v>
                </c:pt>
                <c:pt idx="1725">
                  <c:v>2.14553409572</c:v>
                </c:pt>
                <c:pt idx="1726">
                  <c:v>2.13823977276</c:v>
                </c:pt>
                <c:pt idx="1727">
                  <c:v>2.1536428463400004</c:v>
                </c:pt>
                <c:pt idx="1728">
                  <c:v>2.1535056218999999</c:v>
                </c:pt>
                <c:pt idx="1729">
                  <c:v>2.1490475465999999</c:v>
                </c:pt>
                <c:pt idx="1730">
                  <c:v>2.1484104852600003</c:v>
                </c:pt>
                <c:pt idx="1731">
                  <c:v>2.14879024171</c:v>
                </c:pt>
                <c:pt idx="1732">
                  <c:v>2.1481472865100004</c:v>
                </c:pt>
                <c:pt idx="1733">
                  <c:v>2.14839165308</c:v>
                </c:pt>
                <c:pt idx="1734">
                  <c:v>2.1497280677099999</c:v>
                </c:pt>
                <c:pt idx="1735">
                  <c:v>2.14990198359</c:v>
                </c:pt>
                <c:pt idx="1736">
                  <c:v>2.1501986503300001</c:v>
                </c:pt>
                <c:pt idx="1737">
                  <c:v>2.1506344732100002</c:v>
                </c:pt>
                <c:pt idx="1738">
                  <c:v>2.14625825268</c:v>
                </c:pt>
                <c:pt idx="1739">
                  <c:v>2.1458307684500002</c:v>
                </c:pt>
                <c:pt idx="1740">
                  <c:v>2.1455963737400001</c:v>
                </c:pt>
                <c:pt idx="1741">
                  <c:v>2.14576774314</c:v>
                </c:pt>
                <c:pt idx="1742">
                  <c:v>2.1460634441199997</c:v>
                </c:pt>
                <c:pt idx="1743">
                  <c:v>2.1463740248300001</c:v>
                </c:pt>
                <c:pt idx="1744">
                  <c:v>2.1458228259699998</c:v>
                </c:pt>
                <c:pt idx="1745">
                  <c:v>2.1387303753599998</c:v>
                </c:pt>
                <c:pt idx="1746">
                  <c:v>2.1380680238800003</c:v>
                </c:pt>
                <c:pt idx="1747">
                  <c:v>2.1374081992999998</c:v>
                </c:pt>
                <c:pt idx="1748">
                  <c:v>2.1379653891500001</c:v>
                </c:pt>
                <c:pt idx="1749">
                  <c:v>2.1377712939200002</c:v>
                </c:pt>
                <c:pt idx="1750">
                  <c:v>2.13743011016</c:v>
                </c:pt>
                <c:pt idx="1751">
                  <c:v>2.1378331047099999</c:v>
                </c:pt>
                <c:pt idx="1752">
                  <c:v>2.1476847241699999</c:v>
                </c:pt>
                <c:pt idx="1753">
                  <c:v>2.1427345907299999</c:v>
                </c:pt>
                <c:pt idx="1754">
                  <c:v>2.1436360881200001</c:v>
                </c:pt>
                <c:pt idx="1755">
                  <c:v>2.1692817942899998</c:v>
                </c:pt>
                <c:pt idx="1756">
                  <c:v>2.1694091489200003</c:v>
                </c:pt>
                <c:pt idx="1757">
                  <c:v>2.16969447442</c:v>
                </c:pt>
                <c:pt idx="1758">
                  <c:v>2.1655500409299999</c:v>
                </c:pt>
                <c:pt idx="1759">
                  <c:v>2.16429064593</c:v>
                </c:pt>
                <c:pt idx="1760">
                  <c:v>2.1642703182600003</c:v>
                </c:pt>
                <c:pt idx="1761">
                  <c:v>2.1645816501900002</c:v>
                </c:pt>
                <c:pt idx="1762">
                  <c:v>2.1760057882499999</c:v>
                </c:pt>
                <c:pt idx="1763">
                  <c:v>2.17626115773</c:v>
                </c:pt>
                <c:pt idx="1764">
                  <c:v>2.1766365331799999</c:v>
                </c:pt>
                <c:pt idx="1765">
                  <c:v>2.1752211036399998</c:v>
                </c:pt>
                <c:pt idx="1766">
                  <c:v>2.1680456993599999</c:v>
                </c:pt>
                <c:pt idx="1767">
                  <c:v>2.1667665612300002</c:v>
                </c:pt>
                <c:pt idx="1768">
                  <c:v>2.1660635000799999</c:v>
                </c:pt>
                <c:pt idx="1769">
                  <c:v>2.1649943140100003</c:v>
                </c:pt>
                <c:pt idx="1770">
                  <c:v>2.1962838415200001</c:v>
                </c:pt>
                <c:pt idx="1771">
                  <c:v>2.1967829359</c:v>
                </c:pt>
                <c:pt idx="1772">
                  <c:v>2.1969474834999998</c:v>
                </c:pt>
                <c:pt idx="1773">
                  <c:v>2.1959195450799998</c:v>
                </c:pt>
                <c:pt idx="1774">
                  <c:v>2.1961434050799999</c:v>
                </c:pt>
                <c:pt idx="1775">
                  <c:v>2.1963343872299999</c:v>
                </c:pt>
                <c:pt idx="1776">
                  <c:v>2.1966605817300002</c:v>
                </c:pt>
                <c:pt idx="1777">
                  <c:v>2.1973848813800001</c:v>
                </c:pt>
                <c:pt idx="1778">
                  <c:v>2.1976338547600003</c:v>
                </c:pt>
                <c:pt idx="1779">
                  <c:v>2.1980853553799999</c:v>
                </c:pt>
                <c:pt idx="1780">
                  <c:v>2.19209521813</c:v>
                </c:pt>
                <c:pt idx="1781">
                  <c:v>2.1911787116900001</c:v>
                </c:pt>
                <c:pt idx="1782">
                  <c:v>2.1917751914200001</c:v>
                </c:pt>
                <c:pt idx="1783">
                  <c:v>2.1915090256500003</c:v>
                </c:pt>
                <c:pt idx="1784">
                  <c:v>2.1917475860100004</c:v>
                </c:pt>
                <c:pt idx="1785">
                  <c:v>2.1970995283400003</c:v>
                </c:pt>
                <c:pt idx="1786">
                  <c:v>2.1974548353099999</c:v>
                </c:pt>
                <c:pt idx="1787">
                  <c:v>2.1964323125599998</c:v>
                </c:pt>
                <c:pt idx="1788">
                  <c:v>2.1881121472199996</c:v>
                </c:pt>
                <c:pt idx="1789">
                  <c:v>2.1874017489499997</c:v>
                </c:pt>
                <c:pt idx="1790">
                  <c:v>2.1878680560500001</c:v>
                </c:pt>
                <c:pt idx="1791">
                  <c:v>2.1874044425300001</c:v>
                </c:pt>
                <c:pt idx="1792">
                  <c:v>2.1876122773000004</c:v>
                </c:pt>
                <c:pt idx="1793">
                  <c:v>2.1851980230399999</c:v>
                </c:pt>
                <c:pt idx="1794">
                  <c:v>2.18479778214</c:v>
                </c:pt>
                <c:pt idx="1795">
                  <c:v>2.18575534993</c:v>
                </c:pt>
                <c:pt idx="1796">
                  <c:v>2.1860698934899996</c:v>
                </c:pt>
                <c:pt idx="1797">
                  <c:v>2.1861839325800001</c:v>
                </c:pt>
                <c:pt idx="1798">
                  <c:v>2.2115403847800001</c:v>
                </c:pt>
                <c:pt idx="1799">
                  <c:v>2.2116565049200001</c:v>
                </c:pt>
                <c:pt idx="1800">
                  <c:v>2.2121570472699998</c:v>
                </c:pt>
                <c:pt idx="1801">
                  <c:v>2.2119118287299999</c:v>
                </c:pt>
                <c:pt idx="1802">
                  <c:v>2.2122614806600001</c:v>
                </c:pt>
                <c:pt idx="1803">
                  <c:v>2.2126274054499997</c:v>
                </c:pt>
                <c:pt idx="1804">
                  <c:v>2.2130126460600001</c:v>
                </c:pt>
                <c:pt idx="1805">
                  <c:v>2.2118521961100002</c:v>
                </c:pt>
                <c:pt idx="1806">
                  <c:v>2.2032521540100003</c:v>
                </c:pt>
                <c:pt idx="1807">
                  <c:v>2.2025585681599997</c:v>
                </c:pt>
                <c:pt idx="1808">
                  <c:v>2.2029212291500002</c:v>
                </c:pt>
                <c:pt idx="1809">
                  <c:v>2.2030369569400001</c:v>
                </c:pt>
                <c:pt idx="1810">
                  <c:v>2.2037742072399999</c:v>
                </c:pt>
                <c:pt idx="1811">
                  <c:v>2.2024180451199999</c:v>
                </c:pt>
                <c:pt idx="1812">
                  <c:v>2.2018573984299996</c:v>
                </c:pt>
                <c:pt idx="1813">
                  <c:v>2.2022501108500001</c:v>
                </c:pt>
                <c:pt idx="1814">
                  <c:v>2.2022085735900001</c:v>
                </c:pt>
                <c:pt idx="1815">
                  <c:v>2.2029562898400004</c:v>
                </c:pt>
                <c:pt idx="1816">
                  <c:v>2.2031635811900001</c:v>
                </c:pt>
                <c:pt idx="1817">
                  <c:v>2.2032413211599997</c:v>
                </c:pt>
                <c:pt idx="1818">
                  <c:v>2.20344548412</c:v>
                </c:pt>
                <c:pt idx="1819">
                  <c:v>2.2041505347399997</c:v>
                </c:pt>
                <c:pt idx="1820">
                  <c:v>2.1991065394099998</c:v>
                </c:pt>
                <c:pt idx="1821">
                  <c:v>2.1980676863399999</c:v>
                </c:pt>
                <c:pt idx="1822">
                  <c:v>2.1978917771300002</c:v>
                </c:pt>
                <c:pt idx="1823">
                  <c:v>2.1982747463400001</c:v>
                </c:pt>
                <c:pt idx="1824">
                  <c:v>2.1993103880199998</c:v>
                </c:pt>
                <c:pt idx="1825">
                  <c:v>2.1995321675800001</c:v>
                </c:pt>
                <c:pt idx="1826">
                  <c:v>2.1980152418600003</c:v>
                </c:pt>
                <c:pt idx="1827">
                  <c:v>2.19087888388</c:v>
                </c:pt>
                <c:pt idx="1828">
                  <c:v>2.1888447745900002</c:v>
                </c:pt>
                <c:pt idx="1829">
                  <c:v>2.2266020343799999</c:v>
                </c:pt>
                <c:pt idx="1830">
                  <c:v>2.2256851183399999</c:v>
                </c:pt>
                <c:pt idx="1831">
                  <c:v>2.21467973162</c:v>
                </c:pt>
                <c:pt idx="1832">
                  <c:v>2.2152142709899998</c:v>
                </c:pt>
                <c:pt idx="1833">
                  <c:v>2.22677380415</c:v>
                </c:pt>
                <c:pt idx="1834">
                  <c:v>2.21713526445</c:v>
                </c:pt>
                <c:pt idx="1835">
                  <c:v>2.2283198569899998</c:v>
                </c:pt>
                <c:pt idx="1836">
                  <c:v>2.2284486946099999</c:v>
                </c:pt>
                <c:pt idx="1837">
                  <c:v>2.2287123345300004</c:v>
                </c:pt>
                <c:pt idx="1838">
                  <c:v>2.2291036260800001</c:v>
                </c:pt>
                <c:pt idx="1839">
                  <c:v>2.2300048874699998</c:v>
                </c:pt>
                <c:pt idx="1840">
                  <c:v>2.2270686928800001</c:v>
                </c:pt>
                <c:pt idx="1841">
                  <c:v>2.2267181044200002</c:v>
                </c:pt>
                <c:pt idx="1842">
                  <c:v>2.2265737260799998</c:v>
                </c:pt>
                <c:pt idx="1843">
                  <c:v>2.2277384742700002</c:v>
                </c:pt>
                <c:pt idx="1844">
                  <c:v>2.22797836788</c:v>
                </c:pt>
                <c:pt idx="1845">
                  <c:v>2.2283432593800003</c:v>
                </c:pt>
                <c:pt idx="1846">
                  <c:v>2.2287260117199996</c:v>
                </c:pt>
                <c:pt idx="1847">
                  <c:v>2.22720963027</c:v>
                </c:pt>
                <c:pt idx="1848">
                  <c:v>2.2171184624899998</c:v>
                </c:pt>
                <c:pt idx="1849">
                  <c:v>2.2161920172199996</c:v>
                </c:pt>
                <c:pt idx="1850">
                  <c:v>2.2162773965999998</c:v>
                </c:pt>
                <c:pt idx="1851">
                  <c:v>2.2210471114199999</c:v>
                </c:pt>
                <c:pt idx="1852">
                  <c:v>2.2212963617899999</c:v>
                </c:pt>
                <c:pt idx="1853">
                  <c:v>2.20574161477</c:v>
                </c:pt>
                <c:pt idx="1854">
                  <c:v>2.1866631488200001</c:v>
                </c:pt>
                <c:pt idx="1855">
                  <c:v>2.2104427249699996</c:v>
                </c:pt>
                <c:pt idx="1856">
                  <c:v>2.2095405221500002</c:v>
                </c:pt>
                <c:pt idx="1857">
                  <c:v>2.2096850578000002</c:v>
                </c:pt>
                <c:pt idx="1858">
                  <c:v>2.2105613710599998</c:v>
                </c:pt>
                <c:pt idx="1859">
                  <c:v>2.210709134</c:v>
                </c:pt>
                <c:pt idx="1860">
                  <c:v>2.21112131784</c:v>
                </c:pt>
                <c:pt idx="1861">
                  <c:v>2.21155159469</c:v>
                </c:pt>
                <c:pt idx="1862">
                  <c:v>2.2945609403400002</c:v>
                </c:pt>
                <c:pt idx="1863">
                  <c:v>2.2942973642700002</c:v>
                </c:pt>
                <c:pt idx="1864">
                  <c:v>2.2946766599699999</c:v>
                </c:pt>
                <c:pt idx="1865">
                  <c:v>2.2948913555599999</c:v>
                </c:pt>
                <c:pt idx="1866">
                  <c:v>2.29548081081</c:v>
                </c:pt>
                <c:pt idx="1867">
                  <c:v>2.29462966528</c:v>
                </c:pt>
                <c:pt idx="1868">
                  <c:v>2.29718836259</c:v>
                </c:pt>
                <c:pt idx="1869">
                  <c:v>2.2928259933100001</c:v>
                </c:pt>
                <c:pt idx="1870">
                  <c:v>2.2917933341500003</c:v>
                </c:pt>
                <c:pt idx="1871">
                  <c:v>2.2826614908000002</c:v>
                </c:pt>
                <c:pt idx="1872">
                  <c:v>2.2877720943200002</c:v>
                </c:pt>
                <c:pt idx="1873">
                  <c:v>2.2816800813699998</c:v>
                </c:pt>
                <c:pt idx="1874">
                  <c:v>2.2814265096500002</c:v>
                </c:pt>
                <c:pt idx="1875">
                  <c:v>2.2810266988200003</c:v>
                </c:pt>
                <c:pt idx="1876">
                  <c:v>2.2814127480999997</c:v>
                </c:pt>
                <c:pt idx="1877">
                  <c:v>2.28184155329</c:v>
                </c:pt>
                <c:pt idx="1878">
                  <c:v>2.28202874102</c:v>
                </c:pt>
                <c:pt idx="1879">
                  <c:v>2.3001981964899998</c:v>
                </c:pt>
                <c:pt idx="1880">
                  <c:v>2.3002562063400003</c:v>
                </c:pt>
                <c:pt idx="1881">
                  <c:v>2.3004677682600003</c:v>
                </c:pt>
                <c:pt idx="1882">
                  <c:v>2.29663304928</c:v>
                </c:pt>
                <c:pt idx="1883">
                  <c:v>2.2955560079600001</c:v>
                </c:pt>
                <c:pt idx="1884">
                  <c:v>2.2954956118099998</c:v>
                </c:pt>
                <c:pt idx="1885">
                  <c:v>2.2958805756</c:v>
                </c:pt>
                <c:pt idx="1886">
                  <c:v>2.2961049739299999</c:v>
                </c:pt>
                <c:pt idx="1887">
                  <c:v>2.29721731869</c:v>
                </c:pt>
                <c:pt idx="1888">
                  <c:v>2.2975144724299996</c:v>
                </c:pt>
                <c:pt idx="1889">
                  <c:v>2.2985526486500003</c:v>
                </c:pt>
                <c:pt idx="1890">
                  <c:v>2.2908818792500001</c:v>
                </c:pt>
                <c:pt idx="1891">
                  <c:v>2.2899734999099999</c:v>
                </c:pt>
                <c:pt idx="1892">
                  <c:v>2.3286924090500003</c:v>
                </c:pt>
                <c:pt idx="1893">
                  <c:v>2.3278195528899999</c:v>
                </c:pt>
                <c:pt idx="1894">
                  <c:v>2.3268608725799997</c:v>
                </c:pt>
                <c:pt idx="1895">
                  <c:v>2.3275197370399998</c:v>
                </c:pt>
                <c:pt idx="1896">
                  <c:v>2.3273169999000003</c:v>
                </c:pt>
                <c:pt idx="1897">
                  <c:v>2.3272853439899999</c:v>
                </c:pt>
                <c:pt idx="1898">
                  <c:v>2.3275233203300001</c:v>
                </c:pt>
                <c:pt idx="1899">
                  <c:v>2.32762621023</c:v>
                </c:pt>
                <c:pt idx="1900">
                  <c:v>2.3279403241000001</c:v>
                </c:pt>
                <c:pt idx="1901">
                  <c:v>2.3283036136700002</c:v>
                </c:pt>
                <c:pt idx="1902">
                  <c:v>2.3291580552899998</c:v>
                </c:pt>
                <c:pt idx="1903">
                  <c:v>2.3466115858200003</c:v>
                </c:pt>
                <c:pt idx="1904">
                  <c:v>2.3426439175100002</c:v>
                </c:pt>
                <c:pt idx="1905">
                  <c:v>2.3422762135700004</c:v>
                </c:pt>
                <c:pt idx="1906">
                  <c:v>2.3419873251999999</c:v>
                </c:pt>
                <c:pt idx="1907">
                  <c:v>2.3384389183300001</c:v>
                </c:pt>
                <c:pt idx="1908">
                  <c:v>2.3383691614899997</c:v>
                </c:pt>
                <c:pt idx="1909">
                  <c:v>2.3410863063699998</c:v>
                </c:pt>
                <c:pt idx="1910">
                  <c:v>2.3414057322300001</c:v>
                </c:pt>
                <c:pt idx="1911">
                  <c:v>2.34172434751</c:v>
                </c:pt>
                <c:pt idx="1912">
                  <c:v>2.3318789209099999</c:v>
                </c:pt>
                <c:pt idx="1913">
                  <c:v>2.32223100081</c:v>
                </c:pt>
                <c:pt idx="1914">
                  <c:v>2.32252223388</c:v>
                </c:pt>
                <c:pt idx="1915">
                  <c:v>2.3226620878000004</c:v>
                </c:pt>
                <c:pt idx="1916">
                  <c:v>2.31048654106</c:v>
                </c:pt>
                <c:pt idx="1917">
                  <c:v>2.3923410757500001</c:v>
                </c:pt>
                <c:pt idx="1918">
                  <c:v>2.3909977946799996</c:v>
                </c:pt>
                <c:pt idx="1919">
                  <c:v>2.3915144532700001</c:v>
                </c:pt>
                <c:pt idx="1920">
                  <c:v>2.40383547784</c:v>
                </c:pt>
                <c:pt idx="1921">
                  <c:v>2.4042866770300004</c:v>
                </c:pt>
                <c:pt idx="1922">
                  <c:v>2.4051411874199999</c:v>
                </c:pt>
                <c:pt idx="1923">
                  <c:v>2.4047260124699998</c:v>
                </c:pt>
                <c:pt idx="1924">
                  <c:v>2.4049468159899998</c:v>
                </c:pt>
                <c:pt idx="1925">
                  <c:v>2.4053571173400004</c:v>
                </c:pt>
                <c:pt idx="1926">
                  <c:v>2.4057879293200002</c:v>
                </c:pt>
                <c:pt idx="1927">
                  <c:v>2.4019253970599999</c:v>
                </c:pt>
                <c:pt idx="1928">
                  <c:v>2.4012459778699999</c:v>
                </c:pt>
                <c:pt idx="1929">
                  <c:v>2.4016281538200004</c:v>
                </c:pt>
                <c:pt idx="1930">
                  <c:v>2.4019019967099999</c:v>
                </c:pt>
                <c:pt idx="1931">
                  <c:v>2.4032274895700003</c:v>
                </c:pt>
                <c:pt idx="1932">
                  <c:v>2.40154432814</c:v>
                </c:pt>
                <c:pt idx="1933">
                  <c:v>2.3941953875199999</c:v>
                </c:pt>
                <c:pt idx="1934">
                  <c:v>2.3906369521699999</c:v>
                </c:pt>
                <c:pt idx="1935">
                  <c:v>2.38878074397</c:v>
                </c:pt>
                <c:pt idx="1936">
                  <c:v>2.3891195392500002</c:v>
                </c:pt>
                <c:pt idx="1937">
                  <c:v>2.4573365578000002</c:v>
                </c:pt>
                <c:pt idx="1938">
                  <c:v>2.4580122401</c:v>
                </c:pt>
                <c:pt idx="1939">
                  <c:v>2.45833740032</c:v>
                </c:pt>
                <c:pt idx="1940">
                  <c:v>2.48093234236</c:v>
                </c:pt>
                <c:pt idx="1941">
                  <c:v>2.48179726519</c:v>
                </c:pt>
                <c:pt idx="1942">
                  <c:v>2.48187577229</c:v>
                </c:pt>
                <c:pt idx="1943">
                  <c:v>2.4822124083400001</c:v>
                </c:pt>
                <c:pt idx="1944">
                  <c:v>2.4823938942899999</c:v>
                </c:pt>
                <c:pt idx="1945">
                  <c:v>2.4829911392800001</c:v>
                </c:pt>
                <c:pt idx="1946">
                  <c:v>2.5192947051799996</c:v>
                </c:pt>
                <c:pt idx="1947">
                  <c:v>2.5207175826799997</c:v>
                </c:pt>
                <c:pt idx="1948">
                  <c:v>2.5336562942900001</c:v>
                </c:pt>
                <c:pt idx="1949">
                  <c:v>2.53368038177</c:v>
                </c:pt>
                <c:pt idx="1950">
                  <c:v>2.5340703795200001</c:v>
                </c:pt>
                <c:pt idx="1951">
                  <c:v>2.5332029985900002</c:v>
                </c:pt>
                <c:pt idx="1952">
                  <c:v>2.5334902807900002</c:v>
                </c:pt>
                <c:pt idx="1953">
                  <c:v>2.5339425324099998</c:v>
                </c:pt>
                <c:pt idx="1954">
                  <c:v>2.5323439944000001</c:v>
                </c:pt>
                <c:pt idx="1955">
                  <c:v>2.5227304563100001</c:v>
                </c:pt>
                <c:pt idx="1956">
                  <c:v>2.5208454419499997</c:v>
                </c:pt>
                <c:pt idx="1957">
                  <c:v>2.52029714763</c:v>
                </c:pt>
                <c:pt idx="1958">
                  <c:v>2.5191855687500002</c:v>
                </c:pt>
                <c:pt idx="1959">
                  <c:v>2.5203572542099999</c:v>
                </c:pt>
                <c:pt idx="1960">
                  <c:v>2.5230453718099999</c:v>
                </c:pt>
                <c:pt idx="1961">
                  <c:v>2.6812957772499999</c:v>
                </c:pt>
                <c:pt idx="1962">
                  <c:v>2.6770688593000003</c:v>
                </c:pt>
                <c:pt idx="1963">
                  <c:v>2.6772924754000003</c:v>
                </c:pt>
                <c:pt idx="1964">
                  <c:v>2.6774514382699999</c:v>
                </c:pt>
                <c:pt idx="1965">
                  <c:v>2.6888656054400002</c:v>
                </c:pt>
                <c:pt idx="1966">
                  <c:v>2.68903798882</c:v>
                </c:pt>
                <c:pt idx="1967">
                  <c:v>2.68945824017</c:v>
                </c:pt>
                <c:pt idx="1968">
                  <c:v>2.6862225767600001</c:v>
                </c:pt>
                <c:pt idx="1969">
                  <c:v>2.6865193059800001</c:v>
                </c:pt>
                <c:pt idx="1970">
                  <c:v>2.6864119097099999</c:v>
                </c:pt>
                <c:pt idx="1971">
                  <c:v>2.6867830795600001</c:v>
                </c:pt>
                <c:pt idx="1972">
                  <c:v>2.68718136168</c:v>
                </c:pt>
                <c:pt idx="1973">
                  <c:v>2.6875184121700002</c:v>
                </c:pt>
                <c:pt idx="1974">
                  <c:v>2.68547943008</c:v>
                </c:pt>
                <c:pt idx="1975">
                  <c:v>2.67421865732</c:v>
                </c:pt>
                <c:pt idx="1976">
                  <c:v>2.6722633474799999</c:v>
                </c:pt>
                <c:pt idx="1977">
                  <c:v>2.6730258772500002</c:v>
                </c:pt>
                <c:pt idx="1978">
                  <c:v>2.6735215641500001</c:v>
                </c:pt>
                <c:pt idx="1979">
                  <c:v>2.6717025399400001</c:v>
                </c:pt>
                <c:pt idx="1980">
                  <c:v>2.6712797749499999</c:v>
                </c:pt>
                <c:pt idx="1981">
                  <c:v>2.6715830933800002</c:v>
                </c:pt>
                <c:pt idx="1982">
                  <c:v>2.6719545532600004</c:v>
                </c:pt>
                <c:pt idx="1983">
                  <c:v>2.6870666785900004</c:v>
                </c:pt>
                <c:pt idx="1984">
                  <c:v>2.6873572180100003</c:v>
                </c:pt>
                <c:pt idx="1985">
                  <c:v>2.6875316639299998</c:v>
                </c:pt>
                <c:pt idx="1986">
                  <c:v>2.6877679740500002</c:v>
                </c:pt>
                <c:pt idx="1987">
                  <c:v>2.68817454617</c:v>
                </c:pt>
                <c:pt idx="1988">
                  <c:v>2.68539548585</c:v>
                </c:pt>
                <c:pt idx="1989">
                  <c:v>2.6848265324499998</c:v>
                </c:pt>
                <c:pt idx="1990">
                  <c:v>2.6857378833400003</c:v>
                </c:pt>
                <c:pt idx="1991">
                  <c:v>2.6860376285599998</c:v>
                </c:pt>
                <c:pt idx="1992">
                  <c:v>2.7049985779000001</c:v>
                </c:pt>
                <c:pt idx="1993">
                  <c:v>2.7054441575200001</c:v>
                </c:pt>
                <c:pt idx="1994">
                  <c:v>2.70374132312</c:v>
                </c:pt>
                <c:pt idx="1995">
                  <c:v>2.6963835973400001</c:v>
                </c:pt>
                <c:pt idx="1996">
                  <c:v>2.6915745315900002</c:v>
                </c:pt>
                <c:pt idx="1997">
                  <c:v>2.68928255909</c:v>
                </c:pt>
                <c:pt idx="1998">
                  <c:v>2.6894139186900001</c:v>
                </c:pt>
                <c:pt idx="1999">
                  <c:v>2.7951369774199999</c:v>
                </c:pt>
                <c:pt idx="2000">
                  <c:v>2.7957432550500001</c:v>
                </c:pt>
                <c:pt idx="2001">
                  <c:v>2.7960242690700001</c:v>
                </c:pt>
                <c:pt idx="2002">
                  <c:v>2.81690990884</c:v>
                </c:pt>
                <c:pt idx="2003">
                  <c:v>2.8237669920399999</c:v>
                </c:pt>
                <c:pt idx="2004">
                  <c:v>2.8241119705400002</c:v>
                </c:pt>
                <c:pt idx="2005">
                  <c:v>2.8243602005000001</c:v>
                </c:pt>
                <c:pt idx="2006">
                  <c:v>2.8663449396199998</c:v>
                </c:pt>
                <c:pt idx="2007">
                  <c:v>2.8673588312100002</c:v>
                </c:pt>
                <c:pt idx="2008">
                  <c:v>2.8657810446100003</c:v>
                </c:pt>
                <c:pt idx="2009">
                  <c:v>2.8651496813499997</c:v>
                </c:pt>
                <c:pt idx="2010">
                  <c:v>2.85774367489</c:v>
                </c:pt>
                <c:pt idx="2011">
                  <c:v>2.8629391169600003</c:v>
                </c:pt>
                <c:pt idx="2012">
                  <c:v>2.8632883772800004</c:v>
                </c:pt>
                <c:pt idx="2013">
                  <c:v>2.8636224551199998</c:v>
                </c:pt>
                <c:pt idx="2014">
                  <c:v>2.87672194058</c:v>
                </c:pt>
                <c:pt idx="2015">
                  <c:v>2.8743889381100001</c:v>
                </c:pt>
                <c:pt idx="2016">
                  <c:v>2.86331299715</c:v>
                </c:pt>
                <c:pt idx="2017">
                  <c:v>2.9073525989099998</c:v>
                </c:pt>
                <c:pt idx="2018">
                  <c:v>2.9075806106500002</c:v>
                </c:pt>
                <c:pt idx="2019">
                  <c:v>2.9070032750500001</c:v>
                </c:pt>
                <c:pt idx="2020">
                  <c:v>2.9506887555999999</c:v>
                </c:pt>
                <c:pt idx="2021">
                  <c:v>2.95357123361</c:v>
                </c:pt>
                <c:pt idx="2022">
                  <c:v>2.95234758421</c:v>
                </c:pt>
                <c:pt idx="2023">
                  <c:v>2.95318761498</c:v>
                </c:pt>
                <c:pt idx="2024">
                  <c:v>2.9535121470200001</c:v>
                </c:pt>
                <c:pt idx="2025">
                  <c:v>2.9537632276300001</c:v>
                </c:pt>
                <c:pt idx="2026">
                  <c:v>2.9549507724099997</c:v>
                </c:pt>
                <c:pt idx="2027">
                  <c:v>2.9580139459099999</c:v>
                </c:pt>
                <c:pt idx="2028">
                  <c:v>2.95840880043</c:v>
                </c:pt>
                <c:pt idx="2029">
                  <c:v>2.9723870671399997</c:v>
                </c:pt>
                <c:pt idx="2030">
                  <c:v>2.97050412889</c:v>
                </c:pt>
                <c:pt idx="2031">
                  <c:v>2.9714711978400001</c:v>
                </c:pt>
                <c:pt idx="2032">
                  <c:v>2.9715648362600002</c:v>
                </c:pt>
                <c:pt idx="2033">
                  <c:v>2.9719498347100002</c:v>
                </c:pt>
                <c:pt idx="2034">
                  <c:v>2.9707097828099998</c:v>
                </c:pt>
                <c:pt idx="2035">
                  <c:v>2.9629161525000001</c:v>
                </c:pt>
                <c:pt idx="2036">
                  <c:v>2.9553803952399997</c:v>
                </c:pt>
                <c:pt idx="2037">
                  <c:v>2.9529000644299996</c:v>
                </c:pt>
                <c:pt idx="2038">
                  <c:v>2.9533053344</c:v>
                </c:pt>
                <c:pt idx="2039">
                  <c:v>2.9531419696100003</c:v>
                </c:pt>
                <c:pt idx="2040">
                  <c:v>2.9493399567800003</c:v>
                </c:pt>
                <c:pt idx="2041">
                  <c:v>2.9727428757099998</c:v>
                </c:pt>
                <c:pt idx="2042">
                  <c:v>2.9723142944200003</c:v>
                </c:pt>
                <c:pt idx="2043">
                  <c:v>2.97271613812</c:v>
                </c:pt>
                <c:pt idx="2044">
                  <c:v>2.9740042789099999</c:v>
                </c:pt>
                <c:pt idx="2045">
                  <c:v>2.9742608390399998</c:v>
                </c:pt>
                <c:pt idx="2046">
                  <c:v>2.9746490827600001</c:v>
                </c:pt>
                <c:pt idx="2047">
                  <c:v>2.9750882293200003</c:v>
                </c:pt>
                <c:pt idx="2048">
                  <c:v>2.97532284495</c:v>
                </c:pt>
                <c:pt idx="2049">
                  <c:v>3.1597772001199997</c:v>
                </c:pt>
                <c:pt idx="2050">
                  <c:v>3.1594105497</c:v>
                </c:pt>
                <c:pt idx="2051">
                  <c:v>3.1597882831799997</c:v>
                </c:pt>
                <c:pt idx="2052">
                  <c:v>3.16003996813</c:v>
                </c:pt>
                <c:pt idx="2053">
                  <c:v>3.1604413705600001</c:v>
                </c:pt>
                <c:pt idx="2054">
                  <c:v>3.1616307670500001</c:v>
                </c:pt>
                <c:pt idx="2055">
                  <c:v>3.1597389152700002</c:v>
                </c:pt>
                <c:pt idx="2056">
                  <c:v>3.15206850127</c:v>
                </c:pt>
                <c:pt idx="2057">
                  <c:v>3.1413775304600002</c:v>
                </c:pt>
                <c:pt idx="2058">
                  <c:v>3.1735108131900001</c:v>
                </c:pt>
                <c:pt idx="2059">
                  <c:v>3.1777118822900001</c:v>
                </c:pt>
                <c:pt idx="2060">
                  <c:v>3.2436511240199999</c:v>
                </c:pt>
                <c:pt idx="2061">
                  <c:v>3.2532592088499999</c:v>
                </c:pt>
                <c:pt idx="2062">
                  <c:v>3.2529994239</c:v>
                </c:pt>
                <c:pt idx="2063">
                  <c:v>3.2575004252199999</c:v>
                </c:pt>
                <c:pt idx="2064">
                  <c:v>3.2576045577500001</c:v>
                </c:pt>
                <c:pt idx="2065">
                  <c:v>3.25794408897</c:v>
                </c:pt>
                <c:pt idx="2066">
                  <c:v>3.2582406264099997</c:v>
                </c:pt>
                <c:pt idx="2067">
                  <c:v>3.7590661465599999</c:v>
                </c:pt>
                <c:pt idx="2068">
                  <c:v>3.7601012353800001</c:v>
                </c:pt>
                <c:pt idx="2069">
                  <c:v>3.7557058252700002</c:v>
                </c:pt>
                <c:pt idx="2070">
                  <c:v>4.0038384244200005</c:v>
                </c:pt>
                <c:pt idx="2071">
                  <c:v>4.0042454726200001</c:v>
                </c:pt>
                <c:pt idx="2072">
                  <c:v>4.0044623706399998</c:v>
                </c:pt>
                <c:pt idx="2073">
                  <c:v>4.0186838424899998</c:v>
                </c:pt>
                <c:pt idx="2074">
                  <c:v>4.0485507288600004</c:v>
                </c:pt>
                <c:pt idx="2075">
                  <c:v>4.0489485285100004</c:v>
                </c:pt>
                <c:pt idx="2076">
                  <c:v>4.0478437975500006</c:v>
                </c:pt>
                <c:pt idx="2077">
                  <c:v>4.0460905776100002</c:v>
                </c:pt>
                <c:pt idx="2078">
                  <c:v>4.0342053139899994</c:v>
                </c:pt>
                <c:pt idx="2079">
                  <c:v>4.0314988039099999</c:v>
                </c:pt>
                <c:pt idx="2080">
                  <c:v>4.0362218349000001</c:v>
                </c:pt>
                <c:pt idx="2081">
                  <c:v>4.0356262742300002</c:v>
                </c:pt>
                <c:pt idx="2082">
                  <c:v>4.04690881366</c:v>
                </c:pt>
                <c:pt idx="2083">
                  <c:v>4.1477565419999998</c:v>
                </c:pt>
                <c:pt idx="2084">
                  <c:v>4.1647413690900006</c:v>
                </c:pt>
                <c:pt idx="2085">
                  <c:v>4.1651784233299995</c:v>
                </c:pt>
                <c:pt idx="2086">
                  <c:v>4.1655954306599998</c:v>
                </c:pt>
                <c:pt idx="2087">
                  <c:v>4.1468313273400002</c:v>
                </c:pt>
                <c:pt idx="2088">
                  <c:v>4.2066089671200002</c:v>
                </c:pt>
                <c:pt idx="2089">
                  <c:v>4.2071155720200002</c:v>
                </c:pt>
                <c:pt idx="2090">
                  <c:v>4.20281909811</c:v>
                </c:pt>
                <c:pt idx="2091">
                  <c:v>4.20715838936</c:v>
                </c:pt>
                <c:pt idx="2092">
                  <c:v>4.20742836292</c:v>
                </c:pt>
                <c:pt idx="2093">
                  <c:v>4.20849009275</c:v>
                </c:pt>
                <c:pt idx="2094">
                  <c:v>4.23541801936</c:v>
                </c:pt>
                <c:pt idx="2095">
                  <c:v>4.23589827158</c:v>
                </c:pt>
                <c:pt idx="2096">
                  <c:v>4.1992384066100001</c:v>
                </c:pt>
                <c:pt idx="2097">
                  <c:v>4.1840427358500003</c:v>
                </c:pt>
                <c:pt idx="2098">
                  <c:v>4.1815710460600002</c:v>
                </c:pt>
                <c:pt idx="2099">
                  <c:v>4.1915946047399997</c:v>
                </c:pt>
                <c:pt idx="2100">
                  <c:v>4.1969122297199997</c:v>
                </c:pt>
                <c:pt idx="2101">
                  <c:v>4.2091786873499997</c:v>
                </c:pt>
                <c:pt idx="2102">
                  <c:v>4.2205763633700002</c:v>
                </c:pt>
                <c:pt idx="2103">
                  <c:v>4.1915186132899995</c:v>
                </c:pt>
                <c:pt idx="2104">
                  <c:v>4.1768881199700001</c:v>
                </c:pt>
                <c:pt idx="2105">
                  <c:v>4.1778082331100004</c:v>
                </c:pt>
                <c:pt idx="2106">
                  <c:v>4.1782142036100005</c:v>
                </c:pt>
                <c:pt idx="2107">
                  <c:v>4.2162490186000001</c:v>
                </c:pt>
                <c:pt idx="2108">
                  <c:v>4.2300247548200005</c:v>
                </c:pt>
                <c:pt idx="2109">
                  <c:v>4.2305529023800004</c:v>
                </c:pt>
                <c:pt idx="2110">
                  <c:v>4.5011150455499997</c:v>
                </c:pt>
                <c:pt idx="2111">
                  <c:v>4.5420273914200004</c:v>
                </c:pt>
                <c:pt idx="2112">
                  <c:v>4.54244727777</c:v>
                </c:pt>
                <c:pt idx="2113">
                  <c:v>4.5429557220800003</c:v>
                </c:pt>
                <c:pt idx="2114">
                  <c:v>4.5535888889799994</c:v>
                </c:pt>
                <c:pt idx="2115">
                  <c:v>4.5549144133299997</c:v>
                </c:pt>
                <c:pt idx="2116">
                  <c:v>4.5907657288900001</c:v>
                </c:pt>
                <c:pt idx="2117">
                  <c:v>4.5890380825300001</c:v>
                </c:pt>
                <c:pt idx="2118">
                  <c:v>4.5818036965299997</c:v>
                </c:pt>
                <c:pt idx="2119">
                  <c:v>4.5785180473500002</c:v>
                </c:pt>
                <c:pt idx="2120">
                  <c:v>4.5768893121999996</c:v>
                </c:pt>
                <c:pt idx="2121">
                  <c:v>4.5775010727700005</c:v>
                </c:pt>
                <c:pt idx="2122">
                  <c:v>4.5748154992899996</c:v>
                </c:pt>
                <c:pt idx="2123">
                  <c:v>4.5764867118699994</c:v>
                </c:pt>
                <c:pt idx="2124">
                  <c:v>4.5775822451199994</c:v>
                </c:pt>
                <c:pt idx="2125">
                  <c:v>4.5784124907399999</c:v>
                </c:pt>
                <c:pt idx="2126">
                  <c:v>4.6015512970500003</c:v>
                </c:pt>
                <c:pt idx="2127">
                  <c:v>4.6019853345699993</c:v>
                </c:pt>
                <c:pt idx="2128">
                  <c:v>4.6024685635299996</c:v>
                </c:pt>
                <c:pt idx="2129">
                  <c:v>4.7828472411699998</c:v>
                </c:pt>
                <c:pt idx="2130">
                  <c:v>4.8473836829799994</c:v>
                </c:pt>
                <c:pt idx="2131">
                  <c:v>4.8435744275100001</c:v>
                </c:pt>
                <c:pt idx="2132">
                  <c:v>4.8487993653900006</c:v>
                </c:pt>
                <c:pt idx="2133">
                  <c:v>4.8493327324599997</c:v>
                </c:pt>
                <c:pt idx="2134">
                  <c:v>4.8496405844300003</c:v>
                </c:pt>
                <c:pt idx="2135">
                  <c:v>4.8503317182099996</c:v>
                </c:pt>
                <c:pt idx="2136">
                  <c:v>4.85088828634</c:v>
                </c:pt>
                <c:pt idx="2137">
                  <c:v>4.8514075728199995</c:v>
                </c:pt>
                <c:pt idx="2138">
                  <c:v>4.8523134854499999</c:v>
                </c:pt>
                <c:pt idx="2139">
                  <c:v>5.1386057120699995</c:v>
                </c:pt>
                <c:pt idx="2140">
                  <c:v>5.1134990072399997</c:v>
                </c:pt>
                <c:pt idx="2141">
                  <c:v>5.1114009991000007</c:v>
                </c:pt>
                <c:pt idx="2142">
                  <c:v>5.1135151778300001</c:v>
                </c:pt>
                <c:pt idx="2143">
                  <c:v>5.1130596603500003</c:v>
                </c:pt>
                <c:pt idx="2144">
                  <c:v>5.1106485825100005</c:v>
                </c:pt>
                <c:pt idx="2145">
                  <c:v>5.0771855946899995</c:v>
                </c:pt>
                <c:pt idx="2146">
                  <c:v>5.1411984971000004</c:v>
                </c:pt>
                <c:pt idx="2147">
                  <c:v>5.1616656026999994</c:v>
                </c:pt>
                <c:pt idx="2148">
                  <c:v>5.1889081496700005</c:v>
                </c:pt>
                <c:pt idx="2149">
                  <c:v>5.19374872738</c:v>
                </c:pt>
                <c:pt idx="2150">
                  <c:v>5.1943576818699997</c:v>
                </c:pt>
                <c:pt idx="2151">
                  <c:v>5.1998850762500002</c:v>
                </c:pt>
                <c:pt idx="2152">
                  <c:v>5.2004768411499995</c:v>
                </c:pt>
                <c:pt idx="2153">
                  <c:v>5.2010548351499999</c:v>
                </c:pt>
                <c:pt idx="2154">
                  <c:v>5.5074155241699998</c:v>
                </c:pt>
                <c:pt idx="2155">
                  <c:v>5.5084801681700002</c:v>
                </c:pt>
                <c:pt idx="2156">
                  <c:v>5.5074072420200002</c:v>
                </c:pt>
                <c:pt idx="2157">
                  <c:v>5.5078925990299998</c:v>
                </c:pt>
                <c:pt idx="2158">
                  <c:v>5.5085076628500005</c:v>
                </c:pt>
                <c:pt idx="2159">
                  <c:v>5.5154064976000008</c:v>
                </c:pt>
                <c:pt idx="2160">
                  <c:v>5.5102104200799999</c:v>
                </c:pt>
                <c:pt idx="2161">
                  <c:v>5.51013822039</c:v>
                </c:pt>
                <c:pt idx="2162">
                  <c:v>5.4913749661499995</c:v>
                </c:pt>
                <c:pt idx="2163">
                  <c:v>5.4917602066800004</c:v>
                </c:pt>
                <c:pt idx="2164">
                  <c:v>5.4937169955499998</c:v>
                </c:pt>
                <c:pt idx="2165">
                  <c:v>5.5237344944500002</c:v>
                </c:pt>
                <c:pt idx="2166">
                  <c:v>5.5234477246999996</c:v>
                </c:pt>
                <c:pt idx="2167">
                  <c:v>5.5264680843900003</c:v>
                </c:pt>
                <c:pt idx="2168">
                  <c:v>5.5270820517899999</c:v>
                </c:pt>
                <c:pt idx="2169">
                  <c:v>5.5276712518199993</c:v>
                </c:pt>
                <c:pt idx="2170">
                  <c:v>5.5295022863199996</c:v>
                </c:pt>
                <c:pt idx="2171">
                  <c:v>5.5300266859899994</c:v>
                </c:pt>
                <c:pt idx="2172">
                  <c:v>5.8110800368100008</c:v>
                </c:pt>
                <c:pt idx="2173">
                  <c:v>5.8136447518800001</c:v>
                </c:pt>
                <c:pt idx="2174">
                  <c:v>5.8223748741099994</c:v>
                </c:pt>
                <c:pt idx="2175">
                  <c:v>5.8266551073199997</c:v>
                </c:pt>
                <c:pt idx="2176">
                  <c:v>5.8287487694700006</c:v>
                </c:pt>
                <c:pt idx="2177">
                  <c:v>5.8292564614</c:v>
                </c:pt>
                <c:pt idx="2178">
                  <c:v>5.8299728814499998</c:v>
                </c:pt>
                <c:pt idx="2179">
                  <c:v>5.8297880267700002</c:v>
                </c:pt>
                <c:pt idx="2180">
                  <c:v>5.8312963985600001</c:v>
                </c:pt>
                <c:pt idx="2181">
                  <c:v>5.8320469301299998</c:v>
                </c:pt>
                <c:pt idx="2182">
                  <c:v>5.8350548149600003</c:v>
                </c:pt>
                <c:pt idx="2183">
                  <c:v>5.8258672583999997</c:v>
                </c:pt>
                <c:pt idx="2184">
                  <c:v>5.8550842021400005</c:v>
                </c:pt>
                <c:pt idx="2185">
                  <c:v>5.8395214265300002</c:v>
                </c:pt>
                <c:pt idx="2186">
                  <c:v>5.8400573632600006</c:v>
                </c:pt>
                <c:pt idx="2187">
                  <c:v>5.8354059494700001</c:v>
                </c:pt>
                <c:pt idx="2188">
                  <c:v>5.8839643805200001</c:v>
                </c:pt>
                <c:pt idx="2189">
                  <c:v>5.8845965286800004</c:v>
                </c:pt>
                <c:pt idx="2190">
                  <c:v>5.9242404896599998</c:v>
                </c:pt>
                <c:pt idx="2191">
                  <c:v>5.9245770817299999</c:v>
                </c:pt>
                <c:pt idx="2192">
                  <c:v>5.92528005556</c:v>
                </c:pt>
                <c:pt idx="2193">
                  <c:v>5.9258678688400002</c:v>
                </c:pt>
                <c:pt idx="2194">
                  <c:v>5.9265215648900007</c:v>
                </c:pt>
                <c:pt idx="2195">
                  <c:v>5.9255634008999998</c:v>
                </c:pt>
                <c:pt idx="2196">
                  <c:v>5.9259994494899999</c:v>
                </c:pt>
                <c:pt idx="2197">
                  <c:v>6.1547243642099998</c:v>
                </c:pt>
                <c:pt idx="2198">
                  <c:v>6.1553462753999995</c:v>
                </c:pt>
                <c:pt idx="2199">
                  <c:v>6.1830871856999998</c:v>
                </c:pt>
                <c:pt idx="2200">
                  <c:v>6.2043470556899996</c:v>
                </c:pt>
                <c:pt idx="2201">
                  <c:v>6.2042709030800003</c:v>
                </c:pt>
                <c:pt idx="2202">
                  <c:v>6.2049376678500003</c:v>
                </c:pt>
                <c:pt idx="2203">
                  <c:v>6.2057206727000001</c:v>
                </c:pt>
                <c:pt idx="2204">
                  <c:v>6.2060787394899997</c:v>
                </c:pt>
                <c:pt idx="2205">
                  <c:v>6.1879940867099998</c:v>
                </c:pt>
                <c:pt idx="2206">
                  <c:v>6.18828906205</c:v>
                </c:pt>
                <c:pt idx="2207">
                  <c:v>6.1880973732999998</c:v>
                </c:pt>
                <c:pt idx="2208">
                  <c:v>6.1886726675399997</c:v>
                </c:pt>
                <c:pt idx="2209">
                  <c:v>6.1869894683400002</c:v>
                </c:pt>
                <c:pt idx="2210">
                  <c:v>6.1853551811999994</c:v>
                </c:pt>
                <c:pt idx="2211">
                  <c:v>6.2251865607700001</c:v>
                </c:pt>
                <c:pt idx="2212">
                  <c:v>6.2259901218500007</c:v>
                </c:pt>
                <c:pt idx="2213">
                  <c:v>6.2466235906300005</c:v>
                </c:pt>
                <c:pt idx="2214">
                  <c:v>6.3353492012399997</c:v>
                </c:pt>
                <c:pt idx="2215">
                  <c:v>6.3368541274799997</c:v>
                </c:pt>
                <c:pt idx="2216">
                  <c:v>6.3329710599500002</c:v>
                </c:pt>
                <c:pt idx="2217">
                  <c:v>6.3703287511699997</c:v>
                </c:pt>
                <c:pt idx="2218">
                  <c:v>6.3711332139399994</c:v>
                </c:pt>
                <c:pt idx="2219">
                  <c:v>6.3718511811099994</c:v>
                </c:pt>
                <c:pt idx="2220">
                  <c:v>6.3663982358300002</c:v>
                </c:pt>
                <c:pt idx="2221">
                  <c:v>6.3657195168599996</c:v>
                </c:pt>
                <c:pt idx="2222">
                  <c:v>6.3653784381300005</c:v>
                </c:pt>
                <c:pt idx="2223">
                  <c:v>6.3659688646400001</c:v>
                </c:pt>
                <c:pt idx="2224">
                  <c:v>6.4134150590700001</c:v>
                </c:pt>
                <c:pt idx="2225">
                  <c:v>6.41455984156</c:v>
                </c:pt>
                <c:pt idx="2226">
                  <c:v>6.4537186794199997</c:v>
                </c:pt>
                <c:pt idx="2227">
                  <c:v>6.4534671511599999</c:v>
                </c:pt>
                <c:pt idx="2228">
                  <c:v>6.4453489386300005</c:v>
                </c:pt>
                <c:pt idx="2229">
                  <c:v>6.4447772433500008</c:v>
                </c:pt>
                <c:pt idx="2230">
                  <c:v>6.4445749208000001</c:v>
                </c:pt>
                <c:pt idx="2231">
                  <c:v>6.4280069453999999</c:v>
                </c:pt>
                <c:pt idx="2232">
                  <c:v>6.4286712297799999</c:v>
                </c:pt>
                <c:pt idx="2233">
                  <c:v>6.4293512724399999</c:v>
                </c:pt>
                <c:pt idx="2234">
                  <c:v>6.4301305493000003</c:v>
                </c:pt>
                <c:pt idx="2235">
                  <c:v>6.4492649953200001</c:v>
                </c:pt>
                <c:pt idx="2236">
                  <c:v>6.4499076191800002</c:v>
                </c:pt>
                <c:pt idx="2237">
                  <c:v>6.450519817</c:v>
                </c:pt>
                <c:pt idx="2238">
                  <c:v>6.4491498614600005</c:v>
                </c:pt>
                <c:pt idx="2239">
                  <c:v>6.4499023528299997</c:v>
                </c:pt>
                <c:pt idx="2240">
                  <c:v>6.9694095330200003</c:v>
                </c:pt>
                <c:pt idx="2241">
                  <c:v>6.9693616588999996</c:v>
                </c:pt>
                <c:pt idx="2242">
                  <c:v>6.9700240885200007</c:v>
                </c:pt>
                <c:pt idx="2243">
                  <c:v>6.9697189913799997</c:v>
                </c:pt>
                <c:pt idx="2244">
                  <c:v>6.96904713162</c:v>
                </c:pt>
                <c:pt idx="2245">
                  <c:v>6.9694948087399995</c:v>
                </c:pt>
                <c:pt idx="2246">
                  <c:v>6.9702100468800001</c:v>
                </c:pt>
                <c:pt idx="2247">
                  <c:v>6.9704845245399998</c:v>
                </c:pt>
                <c:pt idx="2248">
                  <c:v>6.96410359432</c:v>
                </c:pt>
                <c:pt idx="2249">
                  <c:v>6.96368887594</c:v>
                </c:pt>
                <c:pt idx="2250">
                  <c:v>6.9523015999500002</c:v>
                </c:pt>
                <c:pt idx="2251">
                  <c:v>6.9526384997899999</c:v>
                </c:pt>
                <c:pt idx="2252">
                  <c:v>6.9511427931599998</c:v>
                </c:pt>
                <c:pt idx="2253">
                  <c:v>6.9646746143799998</c:v>
                </c:pt>
                <c:pt idx="2254">
                  <c:v>6.9623373296400004</c:v>
                </c:pt>
                <c:pt idx="2255">
                  <c:v>7.0095653327600003</c:v>
                </c:pt>
                <c:pt idx="2256">
                  <c:v>7.02702427987</c:v>
                </c:pt>
                <c:pt idx="2257">
                  <c:v>7.0277769566899995</c:v>
                </c:pt>
                <c:pt idx="2258">
                  <c:v>7.0288710864099997</c:v>
                </c:pt>
                <c:pt idx="2259">
                  <c:v>7.0280718374899998</c:v>
                </c:pt>
                <c:pt idx="2260">
                  <c:v>7.1380954331899993</c:v>
                </c:pt>
                <c:pt idx="2261">
                  <c:v>7.20818426674</c:v>
                </c:pt>
                <c:pt idx="2262">
                  <c:v>7.1996209279499999</c:v>
                </c:pt>
                <c:pt idx="2263">
                  <c:v>7.1989954114600003</c:v>
                </c:pt>
                <c:pt idx="2264">
                  <c:v>7.2000857219999999</c:v>
                </c:pt>
                <c:pt idx="2265">
                  <c:v>7.2000287352299992</c:v>
                </c:pt>
                <c:pt idx="2266">
                  <c:v>7.2006757808999993</c:v>
                </c:pt>
                <c:pt idx="2267">
                  <c:v>7.2011042332099997</c:v>
                </c:pt>
                <c:pt idx="2268">
                  <c:v>7.34960240868</c:v>
                </c:pt>
                <c:pt idx="2269">
                  <c:v>7.3355382305600001</c:v>
                </c:pt>
                <c:pt idx="2270">
                  <c:v>7.2291558777500002</c:v>
                </c:pt>
                <c:pt idx="2271">
                  <c:v>7.2281789112499997</c:v>
                </c:pt>
                <c:pt idx="2272">
                  <c:v>7.2286169216199996</c:v>
                </c:pt>
                <c:pt idx="2273">
                  <c:v>7.2256874210299999</c:v>
                </c:pt>
                <c:pt idx="2274">
                  <c:v>7.2239149092399995</c:v>
                </c:pt>
                <c:pt idx="2275">
                  <c:v>7.2247179921400004</c:v>
                </c:pt>
                <c:pt idx="2276">
                  <c:v>7.2255956853700001</c:v>
                </c:pt>
                <c:pt idx="2277">
                  <c:v>7.2525123564600005</c:v>
                </c:pt>
                <c:pt idx="2278">
                  <c:v>7.2541432558299999</c:v>
                </c:pt>
                <c:pt idx="2279">
                  <c:v>7.2412167715200004</c:v>
                </c:pt>
                <c:pt idx="2280">
                  <c:v>7.24214966079</c:v>
                </c:pt>
                <c:pt idx="2281">
                  <c:v>7.2508423533900004</c:v>
                </c:pt>
                <c:pt idx="2282">
                  <c:v>7.2516760600900003</c:v>
                </c:pt>
                <c:pt idx="2283">
                  <c:v>7.3858301606700003</c:v>
                </c:pt>
                <c:pt idx="2284">
                  <c:v>7.3861499999099998</c:v>
                </c:pt>
                <c:pt idx="2285">
                  <c:v>7.3871026322500004</c:v>
                </c:pt>
                <c:pt idx="2286">
                  <c:v>7.38657444633</c:v>
                </c:pt>
                <c:pt idx="2287">
                  <c:v>7.3818959455000002</c:v>
                </c:pt>
                <c:pt idx="2288">
                  <c:v>7.3832599223000006</c:v>
                </c:pt>
                <c:pt idx="2289">
                  <c:v>7.3827330338599992</c:v>
                </c:pt>
                <c:pt idx="2290">
                  <c:v>7.3755077299999998</c:v>
                </c:pt>
                <c:pt idx="2291">
                  <c:v>7.3749012612299998</c:v>
                </c:pt>
                <c:pt idx="2292">
                  <c:v>7.3587195400600001</c:v>
                </c:pt>
                <c:pt idx="2293">
                  <c:v>7.3608697101400002</c:v>
                </c:pt>
                <c:pt idx="2294">
                  <c:v>7.3575984462899999</c:v>
                </c:pt>
                <c:pt idx="2295">
                  <c:v>7.2063291290699993</c:v>
                </c:pt>
                <c:pt idx="2296">
                  <c:v>7.2055904703100007</c:v>
                </c:pt>
                <c:pt idx="2297">
                  <c:v>7.3916867275100007</c:v>
                </c:pt>
                <c:pt idx="2298">
                  <c:v>7.3948282278100006</c:v>
                </c:pt>
                <c:pt idx="2299">
                  <c:v>7.3955169297399994</c:v>
                </c:pt>
                <c:pt idx="2300">
                  <c:v>7.4108830022700003</c:v>
                </c:pt>
                <c:pt idx="2301">
                  <c:v>7.7008939178700002</c:v>
                </c:pt>
                <c:pt idx="2302">
                  <c:v>7.7079213506999995</c:v>
                </c:pt>
                <c:pt idx="2303">
                  <c:v>7.7089649493599994</c:v>
                </c:pt>
                <c:pt idx="2304">
                  <c:v>7.7083778285600006</c:v>
                </c:pt>
                <c:pt idx="2305">
                  <c:v>7.7154254150699995</c:v>
                </c:pt>
                <c:pt idx="2306">
                  <c:v>7.7162038914799993</c:v>
                </c:pt>
                <c:pt idx="2307">
                  <c:v>7.7162886633700003</c:v>
                </c:pt>
                <c:pt idx="2308">
                  <c:v>7.7084980661699998</c:v>
                </c:pt>
                <c:pt idx="2309">
                  <c:v>7.7080318112600006</c:v>
                </c:pt>
                <c:pt idx="2310">
                  <c:v>7.6957011934799997</c:v>
                </c:pt>
                <c:pt idx="2311">
                  <c:v>7.6954401902600003</c:v>
                </c:pt>
                <c:pt idx="2312">
                  <c:v>7.6954605627400001</c:v>
                </c:pt>
                <c:pt idx="2313">
                  <c:v>7.8439049225699993</c:v>
                </c:pt>
                <c:pt idx="2314">
                  <c:v>7.8814392747399999</c:v>
                </c:pt>
                <c:pt idx="2315">
                  <c:v>7.8849400694099998</c:v>
                </c:pt>
                <c:pt idx="2316">
                  <c:v>7.89300811738</c:v>
                </c:pt>
                <c:pt idx="2317">
                  <c:v>7.8755353810200006</c:v>
                </c:pt>
                <c:pt idx="2318">
                  <c:v>7.8761837810299999</c:v>
                </c:pt>
                <c:pt idx="2319">
                  <c:v>7.90132344492</c:v>
                </c:pt>
                <c:pt idx="2320">
                  <c:v>7.9431125999100001</c:v>
                </c:pt>
                <c:pt idx="2321">
                  <c:v>7.94945298747</c:v>
                </c:pt>
                <c:pt idx="2322">
                  <c:v>7.9492240020500002</c:v>
                </c:pt>
                <c:pt idx="2323">
                  <c:v>8.0941849133900003</c:v>
                </c:pt>
                <c:pt idx="2324">
                  <c:v>8.094874697529999</c:v>
                </c:pt>
                <c:pt idx="2325">
                  <c:v>8.0952197584699999</c:v>
                </c:pt>
                <c:pt idx="2326">
                  <c:v>8.1114043109999994</c:v>
                </c:pt>
                <c:pt idx="2327">
                  <c:v>8.1106983499999998</c:v>
                </c:pt>
                <c:pt idx="2328">
                  <c:v>8.1365380066400004</c:v>
                </c:pt>
                <c:pt idx="2329">
                  <c:v>8.1368381592799999</c:v>
                </c:pt>
                <c:pt idx="2330">
                  <c:v>8.1044414598500012</c:v>
                </c:pt>
                <c:pt idx="2331">
                  <c:v>8.1078484670000002</c:v>
                </c:pt>
                <c:pt idx="2332">
                  <c:v>8.1066467336399999</c:v>
                </c:pt>
                <c:pt idx="2333">
                  <c:v>8.10707673804</c:v>
                </c:pt>
                <c:pt idx="2334">
                  <c:v>8.1036529863100011</c:v>
                </c:pt>
                <c:pt idx="2335">
                  <c:v>8.2445042938000004</c:v>
                </c:pt>
                <c:pt idx="2336">
                  <c:v>8.2457030677799992</c:v>
                </c:pt>
                <c:pt idx="2337">
                  <c:v>8.268807336050001</c:v>
                </c:pt>
                <c:pt idx="2338">
                  <c:v>8.2694237678799993</c:v>
                </c:pt>
                <c:pt idx="2339">
                  <c:v>8.3089841744699999</c:v>
                </c:pt>
                <c:pt idx="2340">
                  <c:v>8.3141779317599998</c:v>
                </c:pt>
                <c:pt idx="2341">
                  <c:v>8.3162110271599996</c:v>
                </c:pt>
                <c:pt idx="2342">
                  <c:v>8.3170440958900009</c:v>
                </c:pt>
                <c:pt idx="2343">
                  <c:v>8.5864552200300004</c:v>
                </c:pt>
                <c:pt idx="2344">
                  <c:v>8.5927986216600001</c:v>
                </c:pt>
                <c:pt idx="2345">
                  <c:v>8.5931990507000009</c:v>
                </c:pt>
                <c:pt idx="2346">
                  <c:v>8.5932828507399996</c:v>
                </c:pt>
                <c:pt idx="2347">
                  <c:v>8.6270637751100008</c:v>
                </c:pt>
                <c:pt idx="2348">
                  <c:v>8.6220857255999999</c:v>
                </c:pt>
                <c:pt idx="2349">
                  <c:v>8.6227389065099995</c:v>
                </c:pt>
                <c:pt idx="2350">
                  <c:v>8.6082267624599993</c:v>
                </c:pt>
                <c:pt idx="2351">
                  <c:v>8.6077759862400001</c:v>
                </c:pt>
                <c:pt idx="2352">
                  <c:v>8.6079848454899999</c:v>
                </c:pt>
                <c:pt idx="2353">
                  <c:v>8.6194555895200011</c:v>
                </c:pt>
                <c:pt idx="2354">
                  <c:v>8.6206077070700005</c:v>
                </c:pt>
                <c:pt idx="2355">
                  <c:v>8.6229493553399994</c:v>
                </c:pt>
                <c:pt idx="2356">
                  <c:v>8.7231164800999998</c:v>
                </c:pt>
                <c:pt idx="2357">
                  <c:v>8.7406775756200012</c:v>
                </c:pt>
                <c:pt idx="2358">
                  <c:v>8.8254068863999997</c:v>
                </c:pt>
                <c:pt idx="2359">
                  <c:v>8.8300630525900008</c:v>
                </c:pt>
                <c:pt idx="2360">
                  <c:v>8.8318899350799995</c:v>
                </c:pt>
                <c:pt idx="2361">
                  <c:v>8.8284563128700011</c:v>
                </c:pt>
                <c:pt idx="2362">
                  <c:v>8.8283762007800011</c:v>
                </c:pt>
                <c:pt idx="2363">
                  <c:v>8.7303996476100014</c:v>
                </c:pt>
                <c:pt idx="2364">
                  <c:v>8.7310612419799991</c:v>
                </c:pt>
                <c:pt idx="2365">
                  <c:v>8.7307473901399995</c:v>
                </c:pt>
                <c:pt idx="2366">
                  <c:v>8.7304325051500005</c:v>
                </c:pt>
                <c:pt idx="2367">
                  <c:v>8.72807058185</c:v>
                </c:pt>
                <c:pt idx="2368">
                  <c:v>8.7354339011000004</c:v>
                </c:pt>
                <c:pt idx="2369">
                  <c:v>8.7447557630599988</c:v>
                </c:pt>
                <c:pt idx="2370">
                  <c:v>8.7469015446299991</c:v>
                </c:pt>
                <c:pt idx="2371">
                  <c:v>8.7626706220799999</c:v>
                </c:pt>
                <c:pt idx="2372">
                  <c:v>8.7464759505699998</c:v>
                </c:pt>
                <c:pt idx="2373">
                  <c:v>8.7469308886599997</c:v>
                </c:pt>
                <c:pt idx="2374">
                  <c:v>8.7454733041299999</c:v>
                </c:pt>
                <c:pt idx="2375">
                  <c:v>8.7634746630000002</c:v>
                </c:pt>
                <c:pt idx="2376">
                  <c:v>8.763076461319999</c:v>
                </c:pt>
                <c:pt idx="2377">
                  <c:v>8.7749376527099994</c:v>
                </c:pt>
                <c:pt idx="2378">
                  <c:v>8.8666638338200006</c:v>
                </c:pt>
                <c:pt idx="2379">
                  <c:v>8.867464138479999</c:v>
                </c:pt>
                <c:pt idx="2380">
                  <c:v>8.8819032591700005</c:v>
                </c:pt>
                <c:pt idx="2381">
                  <c:v>8.8788904568600007</c:v>
                </c:pt>
                <c:pt idx="2382">
                  <c:v>8.9010305156600005</c:v>
                </c:pt>
                <c:pt idx="2383">
                  <c:v>8.8971252824799993</c:v>
                </c:pt>
                <c:pt idx="2384">
                  <c:v>8.9080033695100003</c:v>
                </c:pt>
                <c:pt idx="2385">
                  <c:v>9.0090193700400008</c:v>
                </c:pt>
                <c:pt idx="2386">
                  <c:v>9.0180212861900007</c:v>
                </c:pt>
                <c:pt idx="2387">
                  <c:v>9.01866300921</c:v>
                </c:pt>
                <c:pt idx="2388">
                  <c:v>9.01796095047</c:v>
                </c:pt>
                <c:pt idx="2389">
                  <c:v>9.0184336666299991</c:v>
                </c:pt>
                <c:pt idx="2390">
                  <c:v>9.0498309715300014</c:v>
                </c:pt>
                <c:pt idx="2391">
                  <c:v>9.0500947564099992</c:v>
                </c:pt>
                <c:pt idx="2392">
                  <c:v>9.01921100727</c:v>
                </c:pt>
                <c:pt idx="2393">
                  <c:v>9.0294060389999995</c:v>
                </c:pt>
                <c:pt idx="2394">
                  <c:v>9.0771212949100004</c:v>
                </c:pt>
                <c:pt idx="2395">
                  <c:v>9.0933564119899994</c:v>
                </c:pt>
                <c:pt idx="2396">
                  <c:v>9.1082452609599986</c:v>
                </c:pt>
                <c:pt idx="2397">
                  <c:v>9.1211655687800004</c:v>
                </c:pt>
                <c:pt idx="2398">
                  <c:v>9.1220078621800003</c:v>
                </c:pt>
                <c:pt idx="2399">
                  <c:v>9.1238342693399996</c:v>
                </c:pt>
                <c:pt idx="2400">
                  <c:v>9.1248364557699997</c:v>
                </c:pt>
                <c:pt idx="2401">
                  <c:v>9.1256550671499994</c:v>
                </c:pt>
                <c:pt idx="2402">
                  <c:v>9.1292457788300005</c:v>
                </c:pt>
                <c:pt idx="2403">
                  <c:v>9.1726833362499995</c:v>
                </c:pt>
                <c:pt idx="2404">
                  <c:v>9.1833773475400005</c:v>
                </c:pt>
                <c:pt idx="2405">
                  <c:v>9.184266040799999</c:v>
                </c:pt>
                <c:pt idx="2406">
                  <c:v>9.1850712972600004</c:v>
                </c:pt>
                <c:pt idx="2407">
                  <c:v>9.1762044449999998</c:v>
                </c:pt>
                <c:pt idx="2408">
                  <c:v>9.1817021650000008</c:v>
                </c:pt>
                <c:pt idx="2409">
                  <c:v>9.1868003271600003</c:v>
                </c:pt>
                <c:pt idx="2410">
                  <c:v>9.1870877182099999</c:v>
                </c:pt>
                <c:pt idx="2411">
                  <c:v>9.1912209682700006</c:v>
                </c:pt>
                <c:pt idx="2412">
                  <c:v>9.1913052831600002</c:v>
                </c:pt>
                <c:pt idx="2413">
                  <c:v>9.1830055229000003</c:v>
                </c:pt>
                <c:pt idx="2414">
                  <c:v>9.1914207713700016</c:v>
                </c:pt>
                <c:pt idx="2415">
                  <c:v>9.1788209852599998</c:v>
                </c:pt>
                <c:pt idx="2416">
                  <c:v>9.1792162173400005</c:v>
                </c:pt>
                <c:pt idx="2417">
                  <c:v>9.1789983895699994</c:v>
                </c:pt>
                <c:pt idx="2418">
                  <c:v>9.1998086972700008</c:v>
                </c:pt>
                <c:pt idx="2419">
                  <c:v>9.1985831018999988</c:v>
                </c:pt>
                <c:pt idx="2420">
                  <c:v>9.2000633148300004</c:v>
                </c:pt>
                <c:pt idx="2421">
                  <c:v>9.2008951956200011</c:v>
                </c:pt>
                <c:pt idx="2422">
                  <c:v>9.2006666148300003</c:v>
                </c:pt>
                <c:pt idx="2423">
                  <c:v>9.2014624181800002</c:v>
                </c:pt>
                <c:pt idx="2424">
                  <c:v>9.1986053267399992</c:v>
                </c:pt>
                <c:pt idx="2425">
                  <c:v>9.1967535503200004</c:v>
                </c:pt>
                <c:pt idx="2426">
                  <c:v>9.1933574426900009</c:v>
                </c:pt>
                <c:pt idx="2427">
                  <c:v>9.2094078256100005</c:v>
                </c:pt>
                <c:pt idx="2428">
                  <c:v>9.2243511806000011</c:v>
                </c:pt>
                <c:pt idx="2429">
                  <c:v>9.2258032160700001</c:v>
                </c:pt>
                <c:pt idx="2430">
                  <c:v>9.2698891718700001</c:v>
                </c:pt>
                <c:pt idx="2431">
                  <c:v>9.2705787222900007</c:v>
                </c:pt>
                <c:pt idx="2432">
                  <c:v>9.2668943516399995</c:v>
                </c:pt>
                <c:pt idx="2433">
                  <c:v>9.2698926528899985</c:v>
                </c:pt>
                <c:pt idx="2434">
                  <c:v>9.2587546904500009</c:v>
                </c:pt>
                <c:pt idx="2435">
                  <c:v>9.2500301610900006</c:v>
                </c:pt>
                <c:pt idx="2436">
                  <c:v>9.2359430263399993</c:v>
                </c:pt>
                <c:pt idx="2437">
                  <c:v>9.2328941930999999</c:v>
                </c:pt>
                <c:pt idx="2438">
                  <c:v>9.2340404973600005</c:v>
                </c:pt>
                <c:pt idx="2439">
                  <c:v>9.2305572072000004</c:v>
                </c:pt>
                <c:pt idx="2440">
                  <c:v>9.2290649509599998</c:v>
                </c:pt>
                <c:pt idx="2441">
                  <c:v>9.2469377019000003</c:v>
                </c:pt>
                <c:pt idx="2442">
                  <c:v>9.2477102287699999</c:v>
                </c:pt>
                <c:pt idx="2443">
                  <c:v>9.2502602592199992</c:v>
                </c:pt>
                <c:pt idx="2444">
                  <c:v>9.2661345118899998</c:v>
                </c:pt>
                <c:pt idx="2445">
                  <c:v>9.2689974553300001</c:v>
                </c:pt>
                <c:pt idx="2446">
                  <c:v>9.2706261433999995</c:v>
                </c:pt>
                <c:pt idx="2447">
                  <c:v>9.2638743198199993</c:v>
                </c:pt>
                <c:pt idx="2448">
                  <c:v>9.2647859296699995</c:v>
                </c:pt>
                <c:pt idx="2449">
                  <c:v>9.2392079048999989</c:v>
                </c:pt>
                <c:pt idx="2450">
                  <c:v>9.2400396850799993</c:v>
                </c:pt>
                <c:pt idx="2451">
                  <c:v>9.2647789074500011</c:v>
                </c:pt>
                <c:pt idx="2452">
                  <c:v>9.2650565717400006</c:v>
                </c:pt>
                <c:pt idx="2453">
                  <c:v>9.2612598989599988</c:v>
                </c:pt>
                <c:pt idx="2454">
                  <c:v>9.2617237867800011</c:v>
                </c:pt>
                <c:pt idx="2455">
                  <c:v>9.2642367208899987</c:v>
                </c:pt>
                <c:pt idx="2456">
                  <c:v>9.2409476707999989</c:v>
                </c:pt>
                <c:pt idx="2457">
                  <c:v>9.2349124327599998</c:v>
                </c:pt>
                <c:pt idx="2458">
                  <c:v>9.2334598108100003</c:v>
                </c:pt>
                <c:pt idx="2459">
                  <c:v>9.2339124631500002</c:v>
                </c:pt>
                <c:pt idx="2460">
                  <c:v>9.2329474649099996</c:v>
                </c:pt>
                <c:pt idx="2461">
                  <c:v>9.232024516120001</c:v>
                </c:pt>
                <c:pt idx="2462">
                  <c:v>9.2327830033599998</c:v>
                </c:pt>
                <c:pt idx="2463">
                  <c:v>9.2334806077000007</c:v>
                </c:pt>
                <c:pt idx="2464">
                  <c:v>9.2399721649999993</c:v>
                </c:pt>
                <c:pt idx="2465">
                  <c:v>9.2757391606000006</c:v>
                </c:pt>
                <c:pt idx="2466">
                  <c:v>9.2737858328599998</c:v>
                </c:pt>
                <c:pt idx="2467">
                  <c:v>9.3600804549300012</c:v>
                </c:pt>
                <c:pt idx="2468">
                  <c:v>9.3686582072900002</c:v>
                </c:pt>
                <c:pt idx="2469">
                  <c:v>9.36953105003</c:v>
                </c:pt>
                <c:pt idx="2470">
                  <c:v>9.3584304985000006</c:v>
                </c:pt>
                <c:pt idx="2471">
                  <c:v>9.3609097313300005</c:v>
                </c:pt>
                <c:pt idx="2472">
                  <c:v>9.359610525379999</c:v>
                </c:pt>
                <c:pt idx="2473">
                  <c:v>9.3598141573099998</c:v>
                </c:pt>
                <c:pt idx="2474">
                  <c:v>9.5220046751799998</c:v>
                </c:pt>
                <c:pt idx="2475">
                  <c:v>9.523431777159999</c:v>
                </c:pt>
                <c:pt idx="2476">
                  <c:v>9.7650251625000006</c:v>
                </c:pt>
                <c:pt idx="2477">
                  <c:v>9.7659234367500005</c:v>
                </c:pt>
                <c:pt idx="2478">
                  <c:v>9.7544446286499991</c:v>
                </c:pt>
                <c:pt idx="2479">
                  <c:v>9.7572993038</c:v>
                </c:pt>
                <c:pt idx="2480">
                  <c:v>9.7554311331800001</c:v>
                </c:pt>
                <c:pt idx="2481">
                  <c:v>9.7552024902700012</c:v>
                </c:pt>
                <c:pt idx="2482">
                  <c:v>9.7546529071499997</c:v>
                </c:pt>
                <c:pt idx="2483">
                  <c:v>9.7561648225000006</c:v>
                </c:pt>
                <c:pt idx="2484">
                  <c:v>9.7622051527</c:v>
                </c:pt>
                <c:pt idx="2485">
                  <c:v>9.7940269571299989</c:v>
                </c:pt>
                <c:pt idx="2486">
                  <c:v>9.7949308209599995</c:v>
                </c:pt>
                <c:pt idx="2487">
                  <c:v>9.7872922732400003</c:v>
                </c:pt>
                <c:pt idx="2488">
                  <c:v>9.7866596698499997</c:v>
                </c:pt>
                <c:pt idx="2489">
                  <c:v>9.8606580852499999</c:v>
                </c:pt>
                <c:pt idx="2490">
                  <c:v>9.8858659178500012</c:v>
                </c:pt>
                <c:pt idx="2491">
                  <c:v>9.8869089507199988</c:v>
                </c:pt>
                <c:pt idx="2492">
                  <c:v>9.8863621799499999</c:v>
                </c:pt>
                <c:pt idx="2493">
                  <c:v>9.8861079890300001</c:v>
                </c:pt>
                <c:pt idx="2494">
                  <c:v>9.8820285099699987</c:v>
                </c:pt>
                <c:pt idx="2495">
                  <c:v>9.9428840292</c:v>
                </c:pt>
                <c:pt idx="2496">
                  <c:v>9.9435744652600011</c:v>
                </c:pt>
                <c:pt idx="2497">
                  <c:v>9.9443540344399999</c:v>
                </c:pt>
                <c:pt idx="2498">
                  <c:v>9.9352149499599989</c:v>
                </c:pt>
                <c:pt idx="2499">
                  <c:v>9.9241533498999992</c:v>
                </c:pt>
                <c:pt idx="2500">
                  <c:v>9.9207834258500007</c:v>
                </c:pt>
                <c:pt idx="2501">
                  <c:v>9.9063841969500004</c:v>
                </c:pt>
                <c:pt idx="2502">
                  <c:v>9.9028242562900015</c:v>
                </c:pt>
                <c:pt idx="2503">
                  <c:v>9.9740046044700001</c:v>
                </c:pt>
                <c:pt idx="2504">
                  <c:v>9.975873020389999</c:v>
                </c:pt>
                <c:pt idx="2505">
                  <c:v>9.9766884596499992</c:v>
                </c:pt>
                <c:pt idx="2506">
                  <c:v>10.31710600872</c:v>
                </c:pt>
                <c:pt idx="2507">
                  <c:v>10.340948109799999</c:v>
                </c:pt>
                <c:pt idx="2508">
                  <c:v>10.32688166454</c:v>
                </c:pt>
                <c:pt idx="2509">
                  <c:v>10.319249249299999</c:v>
                </c:pt>
                <c:pt idx="2510">
                  <c:v>10.566046638</c:v>
                </c:pt>
                <c:pt idx="2511">
                  <c:v>10.566997416889999</c:v>
                </c:pt>
                <c:pt idx="2512">
                  <c:v>10.52612511601</c:v>
                </c:pt>
                <c:pt idx="2513">
                  <c:v>10.52562778759</c:v>
                </c:pt>
                <c:pt idx="2514">
                  <c:v>10.5154847461</c:v>
                </c:pt>
                <c:pt idx="2515">
                  <c:v>10.51466913965</c:v>
                </c:pt>
                <c:pt idx="2516">
                  <c:v>10.51128906248</c:v>
                </c:pt>
                <c:pt idx="2517">
                  <c:v>10.61177627502</c:v>
                </c:pt>
                <c:pt idx="2518">
                  <c:v>10.72212255643</c:v>
                </c:pt>
                <c:pt idx="2519">
                  <c:v>10.70856245865</c:v>
                </c:pt>
                <c:pt idx="2520">
                  <c:v>10.709435308410001</c:v>
                </c:pt>
                <c:pt idx="2521">
                  <c:v>10.692694210239999</c:v>
                </c:pt>
                <c:pt idx="2522">
                  <c:v>10.70708466244</c:v>
                </c:pt>
                <c:pt idx="2523">
                  <c:v>10.728336661249999</c:v>
                </c:pt>
                <c:pt idx="2524">
                  <c:v>10.732981254589999</c:v>
                </c:pt>
                <c:pt idx="2525">
                  <c:v>10.735475696649999</c:v>
                </c:pt>
                <c:pt idx="2526">
                  <c:v>10.736415074989999</c:v>
                </c:pt>
                <c:pt idx="2527">
                  <c:v>10.739305431090001</c:v>
                </c:pt>
                <c:pt idx="2528">
                  <c:v>10.74002681721</c:v>
                </c:pt>
                <c:pt idx="2529">
                  <c:v>10.745740226030001</c:v>
                </c:pt>
                <c:pt idx="2530">
                  <c:v>10.73846987768</c:v>
                </c:pt>
                <c:pt idx="2531">
                  <c:v>10.75378065488</c:v>
                </c:pt>
                <c:pt idx="2532">
                  <c:v>10.7406266392</c:v>
                </c:pt>
                <c:pt idx="2533">
                  <c:v>10.74154453291</c:v>
                </c:pt>
                <c:pt idx="2534">
                  <c:v>10.742026782370001</c:v>
                </c:pt>
                <c:pt idx="2535">
                  <c:v>10.74262890302</c:v>
                </c:pt>
                <c:pt idx="2536">
                  <c:v>10.763219543829999</c:v>
                </c:pt>
                <c:pt idx="2537">
                  <c:v>10.76475744611</c:v>
                </c:pt>
                <c:pt idx="2538">
                  <c:v>10.75787161223</c:v>
                </c:pt>
                <c:pt idx="2539">
                  <c:v>10.75822621823</c:v>
                </c:pt>
                <c:pt idx="2540">
                  <c:v>10.748327973749999</c:v>
                </c:pt>
                <c:pt idx="2541">
                  <c:v>10.748247955249999</c:v>
                </c:pt>
                <c:pt idx="2542">
                  <c:v>10.76769876362</c:v>
                </c:pt>
                <c:pt idx="2543">
                  <c:v>10.766646703180001</c:v>
                </c:pt>
                <c:pt idx="2544">
                  <c:v>10.93302740343</c:v>
                </c:pt>
                <c:pt idx="2545">
                  <c:v>10.75721866834</c:v>
                </c:pt>
                <c:pt idx="2546">
                  <c:v>10.823725710790001</c:v>
                </c:pt>
                <c:pt idx="2547">
                  <c:v>10.83764388458</c:v>
                </c:pt>
                <c:pt idx="2548">
                  <c:v>10.866911255629999</c:v>
                </c:pt>
                <c:pt idx="2549">
                  <c:v>10.8931249871</c:v>
                </c:pt>
                <c:pt idx="2550">
                  <c:v>10.91676619539</c:v>
                </c:pt>
                <c:pt idx="2551">
                  <c:v>10.90839872546</c:v>
                </c:pt>
                <c:pt idx="2552">
                  <c:v>10.909951841950001</c:v>
                </c:pt>
                <c:pt idx="2553">
                  <c:v>10.917851547010001</c:v>
                </c:pt>
                <c:pt idx="2554">
                  <c:v>10.913844631030001</c:v>
                </c:pt>
                <c:pt idx="2555">
                  <c:v>11.056409224819999</c:v>
                </c:pt>
                <c:pt idx="2556">
                  <c:v>11.08007399896</c:v>
                </c:pt>
                <c:pt idx="2557">
                  <c:v>10.988970914719999</c:v>
                </c:pt>
                <c:pt idx="2558">
                  <c:v>10.97913668016</c:v>
                </c:pt>
                <c:pt idx="2559">
                  <c:v>10.97924438277</c:v>
                </c:pt>
                <c:pt idx="2560">
                  <c:v>10.9941981212</c:v>
                </c:pt>
                <c:pt idx="2561">
                  <c:v>10.99790131266</c:v>
                </c:pt>
                <c:pt idx="2562">
                  <c:v>10.99452310639</c:v>
                </c:pt>
                <c:pt idx="2563">
                  <c:v>11.070693089719999</c:v>
                </c:pt>
                <c:pt idx="2564">
                  <c:v>11.071501619659999</c:v>
                </c:pt>
                <c:pt idx="2565">
                  <c:v>11.07353697542</c:v>
                </c:pt>
                <c:pt idx="2566">
                  <c:v>11.085767737259999</c:v>
                </c:pt>
                <c:pt idx="2567">
                  <c:v>11.08687028043</c:v>
                </c:pt>
                <c:pt idx="2568">
                  <c:v>11.088307345899999</c:v>
                </c:pt>
                <c:pt idx="2569">
                  <c:v>11.204753558930001</c:v>
                </c:pt>
                <c:pt idx="2570">
                  <c:v>11.19568054346</c:v>
                </c:pt>
                <c:pt idx="2571">
                  <c:v>11.18704985434</c:v>
                </c:pt>
                <c:pt idx="2572">
                  <c:v>11.10127728164</c:v>
                </c:pt>
                <c:pt idx="2573">
                  <c:v>11.123350852270001</c:v>
                </c:pt>
                <c:pt idx="2574">
                  <c:v>11.11038721573</c:v>
                </c:pt>
                <c:pt idx="2575">
                  <c:v>11.123366381290001</c:v>
                </c:pt>
                <c:pt idx="2576">
                  <c:v>11.125209975139999</c:v>
                </c:pt>
                <c:pt idx="2577">
                  <c:v>11.12140300661</c:v>
                </c:pt>
                <c:pt idx="2578">
                  <c:v>11.1305848268</c:v>
                </c:pt>
                <c:pt idx="2579">
                  <c:v>11.11726872042</c:v>
                </c:pt>
                <c:pt idx="2580">
                  <c:v>11.111858042370001</c:v>
                </c:pt>
                <c:pt idx="2581">
                  <c:v>11.115179056899999</c:v>
                </c:pt>
                <c:pt idx="2582">
                  <c:v>11.113381967780001</c:v>
                </c:pt>
                <c:pt idx="2583">
                  <c:v>11.114078595219999</c:v>
                </c:pt>
                <c:pt idx="2584">
                  <c:v>11.540778606129999</c:v>
                </c:pt>
                <c:pt idx="2585">
                  <c:v>11.54444483752</c:v>
                </c:pt>
                <c:pt idx="2586">
                  <c:v>11.54674486477</c:v>
                </c:pt>
                <c:pt idx="2587">
                  <c:v>11.54890597917</c:v>
                </c:pt>
                <c:pt idx="2588">
                  <c:v>11.557835434319999</c:v>
                </c:pt>
                <c:pt idx="2589">
                  <c:v>11.555872057270001</c:v>
                </c:pt>
                <c:pt idx="2590">
                  <c:v>11.553167176420001</c:v>
                </c:pt>
                <c:pt idx="2591">
                  <c:v>11.54869888621</c:v>
                </c:pt>
                <c:pt idx="2592">
                  <c:v>11.57132219617</c:v>
                </c:pt>
                <c:pt idx="2593">
                  <c:v>11.6</c:v>
                </c:pt>
                <c:pt idx="2594">
                  <c:v>11.617993787610001</c:v>
                </c:pt>
                <c:pt idx="2595">
                  <c:v>11.61715940623</c:v>
                </c:pt>
                <c:pt idx="2596">
                  <c:v>11.61914609826</c:v>
                </c:pt>
                <c:pt idx="2597">
                  <c:v>11.61739341835</c:v>
                </c:pt>
                <c:pt idx="2598">
                  <c:v>11.611345977499999</c:v>
                </c:pt>
                <c:pt idx="2599">
                  <c:v>11.6004917987</c:v>
                </c:pt>
                <c:pt idx="2600">
                  <c:v>11.644205656600001</c:v>
                </c:pt>
                <c:pt idx="2601">
                  <c:v>11.70117284448</c:v>
                </c:pt>
                <c:pt idx="2602">
                  <c:v>11.72071432529</c:v>
                </c:pt>
                <c:pt idx="2603">
                  <c:v>11.749295921540002</c:v>
                </c:pt>
                <c:pt idx="2604">
                  <c:v>11.747696034420001</c:v>
                </c:pt>
                <c:pt idx="2605">
                  <c:v>11.748062388499999</c:v>
                </c:pt>
                <c:pt idx="2606">
                  <c:v>11.929950643120002</c:v>
                </c:pt>
                <c:pt idx="2607">
                  <c:v>11.885622263629999</c:v>
                </c:pt>
                <c:pt idx="2608">
                  <c:v>11.97766822374</c:v>
                </c:pt>
                <c:pt idx="2609">
                  <c:v>12.038664953790001</c:v>
                </c:pt>
                <c:pt idx="2610">
                  <c:v>12.03968625115</c:v>
                </c:pt>
                <c:pt idx="2611">
                  <c:v>12.038024925290001</c:v>
                </c:pt>
                <c:pt idx="2612">
                  <c:v>12.03537736042</c:v>
                </c:pt>
                <c:pt idx="2613">
                  <c:v>12.10938699645</c:v>
                </c:pt>
                <c:pt idx="2614">
                  <c:v>12.216110672999999</c:v>
                </c:pt>
                <c:pt idx="2615">
                  <c:v>12.217529118729999</c:v>
                </c:pt>
                <c:pt idx="2616">
                  <c:v>12.285148605229999</c:v>
                </c:pt>
                <c:pt idx="2617">
                  <c:v>12.21965015876</c:v>
                </c:pt>
                <c:pt idx="2618">
                  <c:v>12.216318672229999</c:v>
                </c:pt>
                <c:pt idx="2619">
                  <c:v>12.21745714827</c:v>
                </c:pt>
                <c:pt idx="2620">
                  <c:v>12.216302277940001</c:v>
                </c:pt>
                <c:pt idx="2621">
                  <c:v>12.20658957697</c:v>
                </c:pt>
                <c:pt idx="2622">
                  <c:v>12.199012193430001</c:v>
                </c:pt>
                <c:pt idx="2623">
                  <c:v>12.197537124950001</c:v>
                </c:pt>
                <c:pt idx="2624">
                  <c:v>12.198393474729999</c:v>
                </c:pt>
                <c:pt idx="2625">
                  <c:v>12.195097409639999</c:v>
                </c:pt>
                <c:pt idx="2626">
                  <c:v>12.194131388790002</c:v>
                </c:pt>
                <c:pt idx="2627">
                  <c:v>12.191371244399999</c:v>
                </c:pt>
                <c:pt idx="2628">
                  <c:v>12.192499219549999</c:v>
                </c:pt>
                <c:pt idx="2629">
                  <c:v>12.193735715719999</c:v>
                </c:pt>
                <c:pt idx="2630">
                  <c:v>12.18231800759</c:v>
                </c:pt>
                <c:pt idx="2631">
                  <c:v>12.183522534389999</c:v>
                </c:pt>
                <c:pt idx="2632">
                  <c:v>12.23875932422</c:v>
                </c:pt>
                <c:pt idx="2633">
                  <c:v>12.34649717399</c:v>
                </c:pt>
                <c:pt idx="2634">
                  <c:v>12.34764316519</c:v>
                </c:pt>
                <c:pt idx="2635">
                  <c:v>12.96666746306</c:v>
                </c:pt>
                <c:pt idx="2636">
                  <c:v>12.96774271662</c:v>
                </c:pt>
                <c:pt idx="2637">
                  <c:v>12.967810363969999</c:v>
                </c:pt>
                <c:pt idx="2638">
                  <c:v>12.968596995959999</c:v>
                </c:pt>
                <c:pt idx="2639">
                  <c:v>12.9642204627</c:v>
                </c:pt>
                <c:pt idx="2640">
                  <c:v>12.96457887707</c:v>
                </c:pt>
                <c:pt idx="2641">
                  <c:v>12.964782608719998</c:v>
                </c:pt>
                <c:pt idx="2642">
                  <c:v>12.95089642758</c:v>
                </c:pt>
                <c:pt idx="2643">
                  <c:v>12.94243737593</c:v>
                </c:pt>
                <c:pt idx="2644">
                  <c:v>12.94242179249</c:v>
                </c:pt>
                <c:pt idx="2645">
                  <c:v>12.940226964239999</c:v>
                </c:pt>
                <c:pt idx="2646">
                  <c:v>12.941009818469999</c:v>
                </c:pt>
                <c:pt idx="2647">
                  <c:v>12.985907868250001</c:v>
                </c:pt>
                <c:pt idx="2648">
                  <c:v>12.987529956200001</c:v>
                </c:pt>
                <c:pt idx="2649">
                  <c:v>12.98919256302</c:v>
                </c:pt>
                <c:pt idx="2650">
                  <c:v>13.134067528579999</c:v>
                </c:pt>
                <c:pt idx="2651">
                  <c:v>13.137709184169999</c:v>
                </c:pt>
                <c:pt idx="2652">
                  <c:v>13.139989772450001</c:v>
                </c:pt>
                <c:pt idx="2653">
                  <c:v>13.13829386293</c:v>
                </c:pt>
                <c:pt idx="2654">
                  <c:v>13.13546125595</c:v>
                </c:pt>
                <c:pt idx="2655">
                  <c:v>13.132220964489999</c:v>
                </c:pt>
                <c:pt idx="2656">
                  <c:v>13.156982190719999</c:v>
                </c:pt>
                <c:pt idx="2657">
                  <c:v>13.148481394659999</c:v>
                </c:pt>
                <c:pt idx="2658">
                  <c:v>13.149134377839999</c:v>
                </c:pt>
                <c:pt idx="2659">
                  <c:v>13.130753717739999</c:v>
                </c:pt>
                <c:pt idx="2660">
                  <c:v>13.13100447903</c:v>
                </c:pt>
                <c:pt idx="2661">
                  <c:v>13.216481513969999</c:v>
                </c:pt>
                <c:pt idx="2662">
                  <c:v>13.23801566359</c:v>
                </c:pt>
                <c:pt idx="2663">
                  <c:v>13.235975198489999</c:v>
                </c:pt>
                <c:pt idx="2664">
                  <c:v>14.889263502190001</c:v>
                </c:pt>
                <c:pt idx="2665">
                  <c:v>14.888446398260001</c:v>
                </c:pt>
                <c:pt idx="2666">
                  <c:v>14.877387684459999</c:v>
                </c:pt>
                <c:pt idx="2667">
                  <c:v>14.977370797420001</c:v>
                </c:pt>
                <c:pt idx="2668">
                  <c:v>14.975682899200001</c:v>
                </c:pt>
                <c:pt idx="2669">
                  <c:v>14.99465883093</c:v>
                </c:pt>
                <c:pt idx="2670">
                  <c:v>14.99436678615</c:v>
                </c:pt>
                <c:pt idx="2671">
                  <c:v>14.99296224774</c:v>
                </c:pt>
                <c:pt idx="2672">
                  <c:v>14.996576848409999</c:v>
                </c:pt>
                <c:pt idx="2673">
                  <c:v>14.997820190700001</c:v>
                </c:pt>
                <c:pt idx="2674">
                  <c:v>14.99856508609</c:v>
                </c:pt>
                <c:pt idx="2675">
                  <c:v>14.999377827690001</c:v>
                </c:pt>
                <c:pt idx="2676">
                  <c:v>14.997954808839999</c:v>
                </c:pt>
                <c:pt idx="2677">
                  <c:v>14.99657658031</c:v>
                </c:pt>
                <c:pt idx="2678">
                  <c:v>14.99387427426</c:v>
                </c:pt>
                <c:pt idx="2679">
                  <c:v>14.98423283444</c:v>
                </c:pt>
                <c:pt idx="2680">
                  <c:v>14.98505018747</c:v>
                </c:pt>
                <c:pt idx="2681">
                  <c:v>15.231084113280001</c:v>
                </c:pt>
                <c:pt idx="2682">
                  <c:v>15.27578247658</c:v>
                </c:pt>
                <c:pt idx="2683">
                  <c:v>15.269511785080001</c:v>
                </c:pt>
                <c:pt idx="2684">
                  <c:v>15.270835704389999</c:v>
                </c:pt>
                <c:pt idx="2685">
                  <c:v>15.270520824690001</c:v>
                </c:pt>
                <c:pt idx="2686">
                  <c:v>15.247672430410001</c:v>
                </c:pt>
                <c:pt idx="2687">
                  <c:v>15.247174717749999</c:v>
                </c:pt>
                <c:pt idx="2688">
                  <c:v>15.24527319807</c:v>
                </c:pt>
                <c:pt idx="2689">
                  <c:v>15.24638123569</c:v>
                </c:pt>
                <c:pt idx="2690">
                  <c:v>15.24454065226</c:v>
                </c:pt>
                <c:pt idx="2691">
                  <c:v>15.237518326459998</c:v>
                </c:pt>
                <c:pt idx="2692">
                  <c:v>15.268600354889999</c:v>
                </c:pt>
                <c:pt idx="2693">
                  <c:v>15.27840455288</c:v>
                </c:pt>
                <c:pt idx="2694">
                  <c:v>15.24830782648</c:v>
                </c:pt>
                <c:pt idx="2695">
                  <c:v>15.24962069039</c:v>
                </c:pt>
                <c:pt idx="2696">
                  <c:v>15.25125807365</c:v>
                </c:pt>
                <c:pt idx="2697">
                  <c:v>15.19106009353</c:v>
                </c:pt>
                <c:pt idx="2698">
                  <c:v>15.239050664320001</c:v>
                </c:pt>
                <c:pt idx="2699">
                  <c:v>15.24590651343</c:v>
                </c:pt>
                <c:pt idx="2700">
                  <c:v>15.35251879011</c:v>
                </c:pt>
                <c:pt idx="2701">
                  <c:v>15.353527921700001</c:v>
                </c:pt>
                <c:pt idx="2702">
                  <c:v>15.381835111629998</c:v>
                </c:pt>
                <c:pt idx="2703">
                  <c:v>15.38252459826</c:v>
                </c:pt>
                <c:pt idx="2704">
                  <c:v>15.375548459940001</c:v>
                </c:pt>
                <c:pt idx="2705">
                  <c:v>15.44636045899</c:v>
                </c:pt>
                <c:pt idx="2706">
                  <c:v>17.196135388110001</c:v>
                </c:pt>
                <c:pt idx="2707">
                  <c:v>17.18816681825</c:v>
                </c:pt>
                <c:pt idx="2708">
                  <c:v>17.18834136665</c:v>
                </c:pt>
                <c:pt idx="2709">
                  <c:v>17.507689003519999</c:v>
                </c:pt>
                <c:pt idx="2710">
                  <c:v>17.623379020639998</c:v>
                </c:pt>
                <c:pt idx="2711">
                  <c:v>17.588171871619998</c:v>
                </c:pt>
                <c:pt idx="2712">
                  <c:v>17.578642358589999</c:v>
                </c:pt>
                <c:pt idx="2713">
                  <c:v>17.812372298299998</c:v>
                </c:pt>
                <c:pt idx="2714">
                  <c:v>17.81364851963</c:v>
                </c:pt>
                <c:pt idx="2715">
                  <c:v>17.823930012049999</c:v>
                </c:pt>
                <c:pt idx="2716">
                  <c:v>17.82528688447</c:v>
                </c:pt>
                <c:pt idx="2717">
                  <c:v>17.825264512529998</c:v>
                </c:pt>
                <c:pt idx="2718">
                  <c:v>17.834975100650002</c:v>
                </c:pt>
                <c:pt idx="2719">
                  <c:v>17.83190072631</c:v>
                </c:pt>
                <c:pt idx="2720">
                  <c:v>17.825540126779998</c:v>
                </c:pt>
                <c:pt idx="2721">
                  <c:v>17.82651444747</c:v>
                </c:pt>
                <c:pt idx="2722">
                  <c:v>17.825798106580002</c:v>
                </c:pt>
                <c:pt idx="2723">
                  <c:v>17.82414881023</c:v>
                </c:pt>
                <c:pt idx="2724">
                  <c:v>17.792544203310001</c:v>
                </c:pt>
                <c:pt idx="2725">
                  <c:v>17.771483339909999</c:v>
                </c:pt>
                <c:pt idx="2726">
                  <c:v>17.705464975759998</c:v>
                </c:pt>
                <c:pt idx="2727">
                  <c:v>17.696974398769999</c:v>
                </c:pt>
                <c:pt idx="2728">
                  <c:v>17.69656993625</c:v>
                </c:pt>
                <c:pt idx="2729">
                  <c:v>17.798399087050001</c:v>
                </c:pt>
                <c:pt idx="2730">
                  <c:v>17.796041122599998</c:v>
                </c:pt>
                <c:pt idx="2731">
                  <c:v>17.805264986019999</c:v>
                </c:pt>
                <c:pt idx="2732">
                  <c:v>17.816375620830001</c:v>
                </c:pt>
                <c:pt idx="2733">
                  <c:v>17.818825544240003</c:v>
                </c:pt>
                <c:pt idx="2734">
                  <c:v>17.821549837020001</c:v>
                </c:pt>
                <c:pt idx="2735">
                  <c:v>17.82297735125</c:v>
                </c:pt>
                <c:pt idx="2736">
                  <c:v>17.823973364049998</c:v>
                </c:pt>
                <c:pt idx="2737">
                  <c:v>17.825520125179999</c:v>
                </c:pt>
                <c:pt idx="2738">
                  <c:v>17.82568867286</c:v>
                </c:pt>
                <c:pt idx="2739">
                  <c:v>17.406138495759997</c:v>
                </c:pt>
                <c:pt idx="2740">
                  <c:v>17.380716383199999</c:v>
                </c:pt>
                <c:pt idx="2741">
                  <c:v>17.382023786740003</c:v>
                </c:pt>
                <c:pt idx="2742">
                  <c:v>17.382665683900001</c:v>
                </c:pt>
                <c:pt idx="2743">
                  <c:v>17.384607685099997</c:v>
                </c:pt>
                <c:pt idx="2744">
                  <c:v>17.35004705135</c:v>
                </c:pt>
                <c:pt idx="2745">
                  <c:v>17.359472794609999</c:v>
                </c:pt>
                <c:pt idx="2746">
                  <c:v>17.376791068349998</c:v>
                </c:pt>
                <c:pt idx="2747">
                  <c:v>17.349230713900003</c:v>
                </c:pt>
                <c:pt idx="2748">
                  <c:v>17.33695873429</c:v>
                </c:pt>
                <c:pt idx="2749">
                  <c:v>17.337271123080001</c:v>
                </c:pt>
                <c:pt idx="2750">
                  <c:v>17.339243046619998</c:v>
                </c:pt>
                <c:pt idx="2751">
                  <c:v>17.34170065468</c:v>
                </c:pt>
                <c:pt idx="2752">
                  <c:v>17.339248705270002</c:v>
                </c:pt>
                <c:pt idx="2753">
                  <c:v>17.468149167529997</c:v>
                </c:pt>
                <c:pt idx="2754">
                  <c:v>17.620537194930002</c:v>
                </c:pt>
                <c:pt idx="2755">
                  <c:v>17.850917029729999</c:v>
                </c:pt>
                <c:pt idx="2756">
                  <c:v>17.947807885570001</c:v>
                </c:pt>
                <c:pt idx="2757">
                  <c:v>18.270519573590001</c:v>
                </c:pt>
                <c:pt idx="2758">
                  <c:v>18.272654809999999</c:v>
                </c:pt>
                <c:pt idx="2759">
                  <c:v>18.281046134979999</c:v>
                </c:pt>
                <c:pt idx="2760">
                  <c:v>18.34987687544</c:v>
                </c:pt>
                <c:pt idx="2761">
                  <c:v>18.55672160156</c:v>
                </c:pt>
                <c:pt idx="2762">
                  <c:v>18.91941641551</c:v>
                </c:pt>
                <c:pt idx="2763">
                  <c:v>18.912282256009998</c:v>
                </c:pt>
                <c:pt idx="2764">
                  <c:v>18.901535395090001</c:v>
                </c:pt>
                <c:pt idx="2765">
                  <c:v>18.901676881189999</c:v>
                </c:pt>
                <c:pt idx="2766">
                  <c:v>18.902421101040002</c:v>
                </c:pt>
                <c:pt idx="2767">
                  <c:v>18.898928610869998</c:v>
                </c:pt>
                <c:pt idx="2768">
                  <c:v>18.906017221720003</c:v>
                </c:pt>
                <c:pt idx="2769">
                  <c:v>18.95730738132</c:v>
                </c:pt>
                <c:pt idx="2770">
                  <c:v>18.960962866240003</c:v>
                </c:pt>
                <c:pt idx="2771">
                  <c:v>18.951656687700002</c:v>
                </c:pt>
                <c:pt idx="2772">
                  <c:v>18.951939705499999</c:v>
                </c:pt>
                <c:pt idx="2773">
                  <c:v>19.03410452919</c:v>
                </c:pt>
                <c:pt idx="2774">
                  <c:v>19.031165872950002</c:v>
                </c:pt>
                <c:pt idx="2775">
                  <c:v>19.03466353049</c:v>
                </c:pt>
                <c:pt idx="2776">
                  <c:v>19.39524458727</c:v>
                </c:pt>
                <c:pt idx="2777">
                  <c:v>19.39811474008</c:v>
                </c:pt>
                <c:pt idx="2778">
                  <c:v>19.405609421379999</c:v>
                </c:pt>
                <c:pt idx="2779">
                  <c:v>19.407584493959998</c:v>
                </c:pt>
                <c:pt idx="2780">
                  <c:v>19.40869425216</c:v>
                </c:pt>
                <c:pt idx="2781">
                  <c:v>19.664020819970002</c:v>
                </c:pt>
                <c:pt idx="2782">
                  <c:v>19.659158184560003</c:v>
                </c:pt>
                <c:pt idx="2783">
                  <c:v>19.673523623569999</c:v>
                </c:pt>
                <c:pt idx="2784">
                  <c:v>19.652090278619998</c:v>
                </c:pt>
                <c:pt idx="2785">
                  <c:v>19.676754057749999</c:v>
                </c:pt>
                <c:pt idx="2786">
                  <c:v>19.691522001759999</c:v>
                </c:pt>
                <c:pt idx="2787">
                  <c:v>19.69276786947</c:v>
                </c:pt>
                <c:pt idx="2788">
                  <c:v>19.815061230290002</c:v>
                </c:pt>
                <c:pt idx="2789">
                  <c:v>19.87744358023</c:v>
                </c:pt>
                <c:pt idx="2790">
                  <c:v>19.879798625139998</c:v>
                </c:pt>
                <c:pt idx="2791">
                  <c:v>19.875548284830003</c:v>
                </c:pt>
                <c:pt idx="2792">
                  <c:v>19.864960233130002</c:v>
                </c:pt>
                <c:pt idx="2793">
                  <c:v>19.85089452443</c:v>
                </c:pt>
                <c:pt idx="2794">
                  <c:v>19.8615241179</c:v>
                </c:pt>
                <c:pt idx="2795">
                  <c:v>19.85797912236</c:v>
                </c:pt>
                <c:pt idx="2796">
                  <c:v>19.89436570266</c:v>
                </c:pt>
                <c:pt idx="2797">
                  <c:v>19.935243788290002</c:v>
                </c:pt>
                <c:pt idx="2798">
                  <c:v>19.919709468299999</c:v>
                </c:pt>
                <c:pt idx="2799">
                  <c:v>19.98501834504</c:v>
                </c:pt>
                <c:pt idx="2800">
                  <c:v>20.460452533070001</c:v>
                </c:pt>
                <c:pt idx="2801">
                  <c:v>20.565808795740001</c:v>
                </c:pt>
                <c:pt idx="2802">
                  <c:v>20.788745957069999</c:v>
                </c:pt>
                <c:pt idx="2803">
                  <c:v>21.531611121179999</c:v>
                </c:pt>
                <c:pt idx="2804">
                  <c:v>21.585016784380002</c:v>
                </c:pt>
                <c:pt idx="2805">
                  <c:v>21.784445722520001</c:v>
                </c:pt>
                <c:pt idx="2806">
                  <c:v>21.791995872089998</c:v>
                </c:pt>
                <c:pt idx="2807">
                  <c:v>21.797527999069999</c:v>
                </c:pt>
                <c:pt idx="2808">
                  <c:v>21.78959177098</c:v>
                </c:pt>
                <c:pt idx="2809">
                  <c:v>21.783540321889998</c:v>
                </c:pt>
                <c:pt idx="2810">
                  <c:v>21.774996602360002</c:v>
                </c:pt>
                <c:pt idx="2811">
                  <c:v>21.770044099069999</c:v>
                </c:pt>
                <c:pt idx="2812">
                  <c:v>21.82736754583</c:v>
                </c:pt>
                <c:pt idx="2813">
                  <c:v>21.988208397819999</c:v>
                </c:pt>
                <c:pt idx="2814">
                  <c:v>21.988080326230001</c:v>
                </c:pt>
                <c:pt idx="2815">
                  <c:v>21.987307406999999</c:v>
                </c:pt>
                <c:pt idx="2816">
                  <c:v>21.962128067599998</c:v>
                </c:pt>
                <c:pt idx="2817">
                  <c:v>21.96480990973</c:v>
                </c:pt>
                <c:pt idx="2818">
                  <c:v>21.881050180830002</c:v>
                </c:pt>
                <c:pt idx="2819">
                  <c:v>21.97041498934</c:v>
                </c:pt>
                <c:pt idx="2820">
                  <c:v>22.0011340183</c:v>
                </c:pt>
                <c:pt idx="2821">
                  <c:v>22.005125753509997</c:v>
                </c:pt>
                <c:pt idx="2822">
                  <c:v>21.994283954139998</c:v>
                </c:pt>
                <c:pt idx="2823">
                  <c:v>21.958435409210001</c:v>
                </c:pt>
                <c:pt idx="2824">
                  <c:v>22.1398644392</c:v>
                </c:pt>
                <c:pt idx="2825">
                  <c:v>22.146701429269999</c:v>
                </c:pt>
                <c:pt idx="2826">
                  <c:v>22.679937939390001</c:v>
                </c:pt>
                <c:pt idx="2827">
                  <c:v>22.662006674520001</c:v>
                </c:pt>
                <c:pt idx="2828">
                  <c:v>22.663853211709998</c:v>
                </c:pt>
                <c:pt idx="2829">
                  <c:v>22.668174191470001</c:v>
                </c:pt>
                <c:pt idx="2830">
                  <c:v>22.66976444686</c:v>
                </c:pt>
                <c:pt idx="2831">
                  <c:v>22.676037938259999</c:v>
                </c:pt>
                <c:pt idx="2832">
                  <c:v>22.677585586639999</c:v>
                </c:pt>
                <c:pt idx="2833">
                  <c:v>22.661898103400002</c:v>
                </c:pt>
                <c:pt idx="2834">
                  <c:v>22.663737691369999</c:v>
                </c:pt>
                <c:pt idx="2835">
                  <c:v>22.663482802339999</c:v>
                </c:pt>
                <c:pt idx="2836">
                  <c:v>23.083134641320001</c:v>
                </c:pt>
                <c:pt idx="2837">
                  <c:v>23.083262728000001</c:v>
                </c:pt>
                <c:pt idx="2838">
                  <c:v>23.073638809119998</c:v>
                </c:pt>
                <c:pt idx="2839">
                  <c:v>23.078169944310002</c:v>
                </c:pt>
                <c:pt idx="2840">
                  <c:v>23.155078400819999</c:v>
                </c:pt>
                <c:pt idx="2841">
                  <c:v>23.186875667279999</c:v>
                </c:pt>
                <c:pt idx="2842">
                  <c:v>23.184221610740003</c:v>
                </c:pt>
                <c:pt idx="2843">
                  <c:v>23.204612905979999</c:v>
                </c:pt>
                <c:pt idx="2844">
                  <c:v>22.856898967999999</c:v>
                </c:pt>
                <c:pt idx="2845">
                  <c:v>22.946841626259999</c:v>
                </c:pt>
                <c:pt idx="2846">
                  <c:v>22.974210824630003</c:v>
                </c:pt>
                <c:pt idx="2847">
                  <c:v>22.97691063549</c:v>
                </c:pt>
                <c:pt idx="2848">
                  <c:v>22.97603985576</c:v>
                </c:pt>
                <c:pt idx="2849">
                  <c:v>22.988959037759997</c:v>
                </c:pt>
                <c:pt idx="2850">
                  <c:v>22.942821738060001</c:v>
                </c:pt>
                <c:pt idx="2851">
                  <c:v>22.92486191946</c:v>
                </c:pt>
                <c:pt idx="2852">
                  <c:v>23.069673314740001</c:v>
                </c:pt>
                <c:pt idx="2853">
                  <c:v>23.058940690099998</c:v>
                </c:pt>
                <c:pt idx="2854">
                  <c:v>23.064668257919998</c:v>
                </c:pt>
                <c:pt idx="2855">
                  <c:v>23.190576254050001</c:v>
                </c:pt>
                <c:pt idx="2856">
                  <c:v>23.213925560490001</c:v>
                </c:pt>
                <c:pt idx="2857">
                  <c:v>23.20226577127</c:v>
                </c:pt>
                <c:pt idx="2858">
                  <c:v>23.136440561740002</c:v>
                </c:pt>
                <c:pt idx="2859">
                  <c:v>23.142174749790001</c:v>
                </c:pt>
                <c:pt idx="2860">
                  <c:v>23.12107718108</c:v>
                </c:pt>
                <c:pt idx="2861">
                  <c:v>23.1228636771</c:v>
                </c:pt>
                <c:pt idx="2862">
                  <c:v>23.124869528189997</c:v>
                </c:pt>
                <c:pt idx="2863">
                  <c:v>23.166774744060003</c:v>
                </c:pt>
                <c:pt idx="2864">
                  <c:v>23.171244512379999</c:v>
                </c:pt>
                <c:pt idx="2865">
                  <c:v>23.168940372450002</c:v>
                </c:pt>
                <c:pt idx="2866">
                  <c:v>23.176632650110001</c:v>
                </c:pt>
                <c:pt idx="2867">
                  <c:v>23.211349145299998</c:v>
                </c:pt>
                <c:pt idx="2868">
                  <c:v>23.212682260859999</c:v>
                </c:pt>
                <c:pt idx="2869">
                  <c:v>23.222312406819999</c:v>
                </c:pt>
                <c:pt idx="2870">
                  <c:v>23.216262035860002</c:v>
                </c:pt>
                <c:pt idx="2871">
                  <c:v>23.225606910130001</c:v>
                </c:pt>
                <c:pt idx="2872">
                  <c:v>23.22732818587</c:v>
                </c:pt>
                <c:pt idx="2873">
                  <c:v>23.219176990040001</c:v>
                </c:pt>
                <c:pt idx="2874">
                  <c:v>23.238523819490002</c:v>
                </c:pt>
                <c:pt idx="2875">
                  <c:v>23.245996721049998</c:v>
                </c:pt>
                <c:pt idx="2876">
                  <c:v>23.422062820459999</c:v>
                </c:pt>
                <c:pt idx="2877">
                  <c:v>23.460549485929999</c:v>
                </c:pt>
                <c:pt idx="2878">
                  <c:v>23.460638259669999</c:v>
                </c:pt>
                <c:pt idx="2879">
                  <c:v>23.450850110419999</c:v>
                </c:pt>
                <c:pt idx="2880">
                  <c:v>23.47790483624</c:v>
                </c:pt>
                <c:pt idx="2881">
                  <c:v>23.528488184919997</c:v>
                </c:pt>
                <c:pt idx="2882">
                  <c:v>23.548144395349997</c:v>
                </c:pt>
                <c:pt idx="2883">
                  <c:v>23.55501520216</c:v>
                </c:pt>
                <c:pt idx="2884">
                  <c:v>23.673472112639999</c:v>
                </c:pt>
                <c:pt idx="2885">
                  <c:v>23.824557179830002</c:v>
                </c:pt>
                <c:pt idx="2886">
                  <c:v>24.080929399430001</c:v>
                </c:pt>
                <c:pt idx="2887">
                  <c:v>24.022745002930002</c:v>
                </c:pt>
                <c:pt idx="2888">
                  <c:v>24.025697796270002</c:v>
                </c:pt>
                <c:pt idx="2889">
                  <c:v>24.042338431900003</c:v>
                </c:pt>
                <c:pt idx="2890">
                  <c:v>25.470364143099999</c:v>
                </c:pt>
                <c:pt idx="2891">
                  <c:v>24.035304978020001</c:v>
                </c:pt>
                <c:pt idx="2892">
                  <c:v>24.037332398970001</c:v>
                </c:pt>
                <c:pt idx="2893">
                  <c:v>23.97276347491</c:v>
                </c:pt>
                <c:pt idx="2894">
                  <c:v>23.975735927820001</c:v>
                </c:pt>
                <c:pt idx="2895">
                  <c:v>23.964997551370001</c:v>
                </c:pt>
                <c:pt idx="2896">
                  <c:v>23.9638960019</c:v>
                </c:pt>
                <c:pt idx="2897">
                  <c:v>23.96312546962</c:v>
                </c:pt>
                <c:pt idx="2898">
                  <c:v>24.049993998290002</c:v>
                </c:pt>
                <c:pt idx="2899">
                  <c:v>24.091242489259997</c:v>
                </c:pt>
                <c:pt idx="2900">
                  <c:v>24.083740171460001</c:v>
                </c:pt>
                <c:pt idx="2901">
                  <c:v>24.112167316830003</c:v>
                </c:pt>
                <c:pt idx="2902">
                  <c:v>24.114139252119998</c:v>
                </c:pt>
                <c:pt idx="2903">
                  <c:v>24.101811645529999</c:v>
                </c:pt>
                <c:pt idx="2904">
                  <c:v>24.14631675119</c:v>
                </c:pt>
                <c:pt idx="2905">
                  <c:v>24.152906442750002</c:v>
                </c:pt>
                <c:pt idx="2906">
                  <c:v>24.143299161430001</c:v>
                </c:pt>
                <c:pt idx="2907">
                  <c:v>24.123239440380001</c:v>
                </c:pt>
                <c:pt idx="2908">
                  <c:v>24.12468305929</c:v>
                </c:pt>
                <c:pt idx="2909">
                  <c:v>24.13292301916</c:v>
                </c:pt>
                <c:pt idx="2910">
                  <c:v>24.135611718009997</c:v>
                </c:pt>
                <c:pt idx="2911">
                  <c:v>24.109730889110001</c:v>
                </c:pt>
                <c:pt idx="2912">
                  <c:v>24.1071257513</c:v>
                </c:pt>
                <c:pt idx="2913">
                  <c:v>24.09779604721</c:v>
                </c:pt>
                <c:pt idx="2914">
                  <c:v>24.059061861540002</c:v>
                </c:pt>
                <c:pt idx="2915">
                  <c:v>24.064929432080003</c:v>
                </c:pt>
                <c:pt idx="2916">
                  <c:v>24.05330362114</c:v>
                </c:pt>
                <c:pt idx="2917">
                  <c:v>24.081344763330002</c:v>
                </c:pt>
                <c:pt idx="2918">
                  <c:v>24.080521455349999</c:v>
                </c:pt>
                <c:pt idx="2919">
                  <c:v>24.136471678669999</c:v>
                </c:pt>
                <c:pt idx="2920">
                  <c:v>24.153748212610001</c:v>
                </c:pt>
                <c:pt idx="2921">
                  <c:v>24.15499439893</c:v>
                </c:pt>
                <c:pt idx="2922">
                  <c:v>24.154867190810002</c:v>
                </c:pt>
                <c:pt idx="2923">
                  <c:v>24.16729293969</c:v>
                </c:pt>
                <c:pt idx="2924">
                  <c:v>24.16921684643</c:v>
                </c:pt>
                <c:pt idx="2925">
                  <c:v>24.172146467139999</c:v>
                </c:pt>
                <c:pt idx="2926">
                  <c:v>24.173640000669998</c:v>
                </c:pt>
                <c:pt idx="2927">
                  <c:v>24.17545740848</c:v>
                </c:pt>
                <c:pt idx="2928">
                  <c:v>24.185174849039999</c:v>
                </c:pt>
                <c:pt idx="2929">
                  <c:v>24.155668755130002</c:v>
                </c:pt>
                <c:pt idx="2930">
                  <c:v>24.191108038709999</c:v>
                </c:pt>
                <c:pt idx="2931">
                  <c:v>24.18585706152</c:v>
                </c:pt>
                <c:pt idx="2932">
                  <c:v>24.49777261082</c:v>
                </c:pt>
                <c:pt idx="2933">
                  <c:v>24.516431337919997</c:v>
                </c:pt>
                <c:pt idx="2934">
                  <c:v>24.539564492599997</c:v>
                </c:pt>
                <c:pt idx="2935">
                  <c:v>24.53677162987</c:v>
                </c:pt>
                <c:pt idx="2936">
                  <c:v>24.530672981790001</c:v>
                </c:pt>
                <c:pt idx="2937">
                  <c:v>24.520578575689999</c:v>
                </c:pt>
                <c:pt idx="2938">
                  <c:v>24.496477376950001</c:v>
                </c:pt>
                <c:pt idx="2939">
                  <c:v>24.499469469200001</c:v>
                </c:pt>
                <c:pt idx="2940">
                  <c:v>24.495328358349997</c:v>
                </c:pt>
                <c:pt idx="2941">
                  <c:v>24.459891807360002</c:v>
                </c:pt>
                <c:pt idx="2942">
                  <c:v>24.505993375990002</c:v>
                </c:pt>
                <c:pt idx="2943">
                  <c:v>24.482972871360001</c:v>
                </c:pt>
                <c:pt idx="2944">
                  <c:v>24.485720172900002</c:v>
                </c:pt>
                <c:pt idx="2945">
                  <c:v>24.488965360439998</c:v>
                </c:pt>
                <c:pt idx="2946">
                  <c:v>24.501074483180002</c:v>
                </c:pt>
                <c:pt idx="2947">
                  <c:v>24.510775793580002</c:v>
                </c:pt>
                <c:pt idx="2948">
                  <c:v>24.583949592869999</c:v>
                </c:pt>
                <c:pt idx="2949">
                  <c:v>24.606640908820001</c:v>
                </c:pt>
                <c:pt idx="2950">
                  <c:v>24.643895608619999</c:v>
                </c:pt>
                <c:pt idx="2951">
                  <c:v>24.75493384424</c:v>
                </c:pt>
                <c:pt idx="2952">
                  <c:v>25.16253480576</c:v>
                </c:pt>
                <c:pt idx="2953">
                  <c:v>25.254758331150001</c:v>
                </c:pt>
                <c:pt idx="2954">
                  <c:v>25.23442177954</c:v>
                </c:pt>
                <c:pt idx="2955">
                  <c:v>25.235291504549998</c:v>
                </c:pt>
                <c:pt idx="2956">
                  <c:v>25.240194060919997</c:v>
                </c:pt>
                <c:pt idx="2957">
                  <c:v>25.348354414990002</c:v>
                </c:pt>
                <c:pt idx="2958">
                  <c:v>25.330187291630001</c:v>
                </c:pt>
                <c:pt idx="2959">
                  <c:v>25.32011134955</c:v>
                </c:pt>
                <c:pt idx="2960">
                  <c:v>25.704740816299999</c:v>
                </c:pt>
                <c:pt idx="2961">
                  <c:v>25.70165673336</c:v>
                </c:pt>
                <c:pt idx="2962">
                  <c:v>25.698991622099999</c:v>
                </c:pt>
                <c:pt idx="2963">
                  <c:v>25.72554935186</c:v>
                </c:pt>
                <c:pt idx="2964">
                  <c:v>25.34333620436</c:v>
                </c:pt>
                <c:pt idx="2965">
                  <c:v>27.365412425180001</c:v>
                </c:pt>
                <c:pt idx="2966">
                  <c:v>27.283009408529999</c:v>
                </c:pt>
                <c:pt idx="2967">
                  <c:v>27.284147481209999</c:v>
                </c:pt>
                <c:pt idx="2968">
                  <c:v>27.297677330380001</c:v>
                </c:pt>
                <c:pt idx="2969">
                  <c:v>27.300086675159999</c:v>
                </c:pt>
                <c:pt idx="2970">
                  <c:v>27.331673441549999</c:v>
                </c:pt>
                <c:pt idx="2971">
                  <c:v>27.329606837819998</c:v>
                </c:pt>
                <c:pt idx="2972">
                  <c:v>27.299587601639999</c:v>
                </c:pt>
                <c:pt idx="2973">
                  <c:v>27.361767481680001</c:v>
                </c:pt>
                <c:pt idx="2974">
                  <c:v>27.363642807889999</c:v>
                </c:pt>
                <c:pt idx="2975">
                  <c:v>27.355347772330003</c:v>
                </c:pt>
                <c:pt idx="2976">
                  <c:v>27.42011873145</c:v>
                </c:pt>
                <c:pt idx="2977">
                  <c:v>27.428148356040001</c:v>
                </c:pt>
                <c:pt idx="2978">
                  <c:v>25.655924267259998</c:v>
                </c:pt>
                <c:pt idx="2979">
                  <c:v>25.648740337930001</c:v>
                </c:pt>
                <c:pt idx="2980">
                  <c:v>25.639138749410002</c:v>
                </c:pt>
                <c:pt idx="2981">
                  <c:v>25.63550672565</c:v>
                </c:pt>
                <c:pt idx="2982">
                  <c:v>25.932539819479999</c:v>
                </c:pt>
                <c:pt idx="2983">
                  <c:v>25.93473496391</c:v>
                </c:pt>
                <c:pt idx="2984">
                  <c:v>25.929521580919999</c:v>
                </c:pt>
                <c:pt idx="2985">
                  <c:v>25.970193855369999</c:v>
                </c:pt>
                <c:pt idx="2986">
                  <c:v>25.97677914394</c:v>
                </c:pt>
                <c:pt idx="2987">
                  <c:v>26.032934686689998</c:v>
                </c:pt>
                <c:pt idx="2988">
                  <c:v>26.037482201939998</c:v>
                </c:pt>
                <c:pt idx="2989">
                  <c:v>26.033758480229999</c:v>
                </c:pt>
                <c:pt idx="2990">
                  <c:v>26.03298463354</c:v>
                </c:pt>
                <c:pt idx="2991">
                  <c:v>26.039210436979999</c:v>
                </c:pt>
                <c:pt idx="2992">
                  <c:v>26.09208871925</c:v>
                </c:pt>
                <c:pt idx="2993">
                  <c:v>26.125028679250001</c:v>
                </c:pt>
                <c:pt idx="2994">
                  <c:v>26.157786362470002</c:v>
                </c:pt>
                <c:pt idx="2995">
                  <c:v>26.253551562950001</c:v>
                </c:pt>
                <c:pt idx="2996">
                  <c:v>26.250896135599998</c:v>
                </c:pt>
                <c:pt idx="2997">
                  <c:v>26.253611350269999</c:v>
                </c:pt>
                <c:pt idx="2998">
                  <c:v>26.254240148290002</c:v>
                </c:pt>
                <c:pt idx="2999">
                  <c:v>26.2070095845</c:v>
                </c:pt>
                <c:pt idx="3000">
                  <c:v>26.198725028590001</c:v>
                </c:pt>
                <c:pt idx="3001">
                  <c:v>26.25022705804</c:v>
                </c:pt>
                <c:pt idx="3002">
                  <c:v>26.252353548249999</c:v>
                </c:pt>
                <c:pt idx="3003">
                  <c:v>26.250734302270001</c:v>
                </c:pt>
                <c:pt idx="3004">
                  <c:v>26.31158086168</c:v>
                </c:pt>
                <c:pt idx="3005">
                  <c:v>26.31727993997</c:v>
                </c:pt>
                <c:pt idx="3006">
                  <c:v>26.522929743419997</c:v>
                </c:pt>
                <c:pt idx="3007">
                  <c:v>26.189814119539999</c:v>
                </c:pt>
                <c:pt idx="3008">
                  <c:v>26.350330481330001</c:v>
                </c:pt>
                <c:pt idx="3009">
                  <c:v>27.613832966700002</c:v>
                </c:pt>
                <c:pt idx="3010">
                  <c:v>27.616465205810002</c:v>
                </c:pt>
                <c:pt idx="3011">
                  <c:v>27.69018928062</c:v>
                </c:pt>
                <c:pt idx="3012">
                  <c:v>27.789607027310002</c:v>
                </c:pt>
                <c:pt idx="3013">
                  <c:v>27.79514179513</c:v>
                </c:pt>
                <c:pt idx="3014">
                  <c:v>27.741153534839999</c:v>
                </c:pt>
                <c:pt idx="3015">
                  <c:v>27.749198776180002</c:v>
                </c:pt>
                <c:pt idx="3016">
                  <c:v>27.766889360220002</c:v>
                </c:pt>
                <c:pt idx="3017">
                  <c:v>27.769796227</c:v>
                </c:pt>
                <c:pt idx="3018">
                  <c:v>27.770076414209999</c:v>
                </c:pt>
                <c:pt idx="3019">
                  <c:v>27.767889440729999</c:v>
                </c:pt>
                <c:pt idx="3020">
                  <c:v>27.732680260360002</c:v>
                </c:pt>
                <c:pt idx="3021">
                  <c:v>27.824714517299999</c:v>
                </c:pt>
                <c:pt idx="3022">
                  <c:v>27.823890697990002</c:v>
                </c:pt>
                <c:pt idx="3023">
                  <c:v>27.973266428380001</c:v>
                </c:pt>
                <c:pt idx="3024">
                  <c:v>28.150620314680001</c:v>
                </c:pt>
                <c:pt idx="3025">
                  <c:v>28.146123385439999</c:v>
                </c:pt>
                <c:pt idx="3026">
                  <c:v>28.149579710539999</c:v>
                </c:pt>
                <c:pt idx="3027">
                  <c:v>28.15242064856</c:v>
                </c:pt>
                <c:pt idx="3028">
                  <c:v>28.198317542150001</c:v>
                </c:pt>
                <c:pt idx="3029">
                  <c:v>28.17493437237</c:v>
                </c:pt>
                <c:pt idx="3030">
                  <c:v>28.272826012310002</c:v>
                </c:pt>
                <c:pt idx="3031">
                  <c:v>28.27176283631</c:v>
                </c:pt>
                <c:pt idx="3032">
                  <c:v>28.27276481346</c:v>
                </c:pt>
                <c:pt idx="3033">
                  <c:v>28.270016679279998</c:v>
                </c:pt>
                <c:pt idx="3034">
                  <c:v>28.266563887970001</c:v>
                </c:pt>
                <c:pt idx="3035">
                  <c:v>28.266291379449999</c:v>
                </c:pt>
                <c:pt idx="3036">
                  <c:v>28.21099843815</c:v>
                </c:pt>
                <c:pt idx="3037">
                  <c:v>28.31711112959</c:v>
                </c:pt>
                <c:pt idx="3038">
                  <c:v>28.318605832839999</c:v>
                </c:pt>
                <c:pt idx="3039">
                  <c:v>28.28543859953</c:v>
                </c:pt>
                <c:pt idx="3040">
                  <c:v>28.281349411220003</c:v>
                </c:pt>
                <c:pt idx="3041">
                  <c:v>28.98098385039</c:v>
                </c:pt>
                <c:pt idx="3042">
                  <c:v>28.280761541650001</c:v>
                </c:pt>
                <c:pt idx="3043">
                  <c:v>28.23627592831</c:v>
                </c:pt>
                <c:pt idx="3044">
                  <c:v>28.206137495979998</c:v>
                </c:pt>
                <c:pt idx="3045">
                  <c:v>28.204321588279999</c:v>
                </c:pt>
                <c:pt idx="3046">
                  <c:v>28.204957834959998</c:v>
                </c:pt>
                <c:pt idx="3047">
                  <c:v>28.20076855233</c:v>
                </c:pt>
                <c:pt idx="3048">
                  <c:v>28.202178614599998</c:v>
                </c:pt>
                <c:pt idx="3049">
                  <c:v>28.230378197570001</c:v>
                </c:pt>
                <c:pt idx="3050">
                  <c:v>28.23175589992</c:v>
                </c:pt>
                <c:pt idx="3051">
                  <c:v>28.2344094169</c:v>
                </c:pt>
                <c:pt idx="3052">
                  <c:v>28.23252668776</c:v>
                </c:pt>
                <c:pt idx="3053">
                  <c:v>28.219526244759997</c:v>
                </c:pt>
                <c:pt idx="3054">
                  <c:v>28.219022464159998</c:v>
                </c:pt>
                <c:pt idx="3055">
                  <c:v>28.2724657065</c:v>
                </c:pt>
                <c:pt idx="3056">
                  <c:v>28.273424345759999</c:v>
                </c:pt>
                <c:pt idx="3057">
                  <c:v>28.31355450221</c:v>
                </c:pt>
                <c:pt idx="3058">
                  <c:v>28.272963923900001</c:v>
                </c:pt>
                <c:pt idx="3059">
                  <c:v>28.270099940849999</c:v>
                </c:pt>
                <c:pt idx="3060">
                  <c:v>28.276373993789999</c:v>
                </c:pt>
                <c:pt idx="3061">
                  <c:v>28.295723575099998</c:v>
                </c:pt>
                <c:pt idx="3062">
                  <c:v>28.340853328209999</c:v>
                </c:pt>
                <c:pt idx="3063">
                  <c:v>28.34301095591</c:v>
                </c:pt>
                <c:pt idx="3064">
                  <c:v>28.315530554430001</c:v>
                </c:pt>
                <c:pt idx="3065">
                  <c:v>28.31956363254</c:v>
                </c:pt>
                <c:pt idx="3066">
                  <c:v>28.54808448012</c:v>
                </c:pt>
                <c:pt idx="3067">
                  <c:v>28.54323001369</c:v>
                </c:pt>
                <c:pt idx="3068">
                  <c:v>28.526515827130002</c:v>
                </c:pt>
                <c:pt idx="3069">
                  <c:v>28.529879280719999</c:v>
                </c:pt>
                <c:pt idx="3070">
                  <c:v>28.534216041369998</c:v>
                </c:pt>
                <c:pt idx="3071">
                  <c:v>28.535378969389999</c:v>
                </c:pt>
                <c:pt idx="3072">
                  <c:v>28.534762825160001</c:v>
                </c:pt>
                <c:pt idx="3073">
                  <c:v>28.720132750000001</c:v>
                </c:pt>
                <c:pt idx="3074">
                  <c:v>28.739413587680001</c:v>
                </c:pt>
                <c:pt idx="3075">
                  <c:v>28.753721723959998</c:v>
                </c:pt>
                <c:pt idx="3076">
                  <c:v>28.754946545110002</c:v>
                </c:pt>
                <c:pt idx="3077">
                  <c:v>28.837378192110002</c:v>
                </c:pt>
                <c:pt idx="3078">
                  <c:v>28.83952731462</c:v>
                </c:pt>
                <c:pt idx="3079">
                  <c:v>28.841218082930002</c:v>
                </c:pt>
                <c:pt idx="3080">
                  <c:v>28.85581119363</c:v>
                </c:pt>
                <c:pt idx="3081">
                  <c:v>28.868025383599999</c:v>
                </c:pt>
                <c:pt idx="3082">
                  <c:v>28.83109342054</c:v>
                </c:pt>
                <c:pt idx="3083">
                  <c:v>28.84367650187</c:v>
                </c:pt>
                <c:pt idx="3084">
                  <c:v>28.846170000060003</c:v>
                </c:pt>
                <c:pt idx="3085">
                  <c:v>28.83726010006</c:v>
                </c:pt>
                <c:pt idx="3086">
                  <c:v>28.832949504130003</c:v>
                </c:pt>
                <c:pt idx="3087">
                  <c:v>28.829551676139999</c:v>
                </c:pt>
                <c:pt idx="3088">
                  <c:v>28.408487220840001</c:v>
                </c:pt>
                <c:pt idx="3089">
                  <c:v>28.449967137599998</c:v>
                </c:pt>
                <c:pt idx="3090">
                  <c:v>28.438121928369998</c:v>
                </c:pt>
                <c:pt idx="3091">
                  <c:v>28.440134540990002</c:v>
                </c:pt>
                <c:pt idx="3092">
                  <c:v>28.469042910180001</c:v>
                </c:pt>
                <c:pt idx="3093">
                  <c:v>28.473606398439998</c:v>
                </c:pt>
                <c:pt idx="3094">
                  <c:v>28.4740741112</c:v>
                </c:pt>
                <c:pt idx="3095">
                  <c:v>28.472972722209999</c:v>
                </c:pt>
                <c:pt idx="3096">
                  <c:v>28.449150918130002</c:v>
                </c:pt>
                <c:pt idx="3097">
                  <c:v>28.433513302910001</c:v>
                </c:pt>
                <c:pt idx="3098">
                  <c:v>28.434552993779999</c:v>
                </c:pt>
                <c:pt idx="3099">
                  <c:v>28.36212995684</c:v>
                </c:pt>
                <c:pt idx="3100">
                  <c:v>28.35939354249</c:v>
                </c:pt>
                <c:pt idx="3101">
                  <c:v>28.36070016487</c:v>
                </c:pt>
                <c:pt idx="3102">
                  <c:v>28.262336045000001</c:v>
                </c:pt>
                <c:pt idx="3103">
                  <c:v>28.22274106739</c:v>
                </c:pt>
                <c:pt idx="3104">
                  <c:v>28.286606662650001</c:v>
                </c:pt>
                <c:pt idx="3105">
                  <c:v>28.271033785949999</c:v>
                </c:pt>
                <c:pt idx="3106">
                  <c:v>28.272178947729998</c:v>
                </c:pt>
                <c:pt idx="3107">
                  <c:v>28.291895238830001</c:v>
                </c:pt>
                <c:pt idx="3108">
                  <c:v>28.39504356638</c:v>
                </c:pt>
                <c:pt idx="3109">
                  <c:v>28.39418340376</c:v>
                </c:pt>
                <c:pt idx="3110">
                  <c:v>28.39156786841</c:v>
                </c:pt>
                <c:pt idx="3111">
                  <c:v>28.68724836993</c:v>
                </c:pt>
                <c:pt idx="3112">
                  <c:v>28.69250711426</c:v>
                </c:pt>
                <c:pt idx="3113">
                  <c:v>28.69407095</c:v>
                </c:pt>
                <c:pt idx="3114">
                  <c:v>28.727269142859999</c:v>
                </c:pt>
                <c:pt idx="3115">
                  <c:v>28.725156782300001</c:v>
                </c:pt>
                <c:pt idx="3116">
                  <c:v>28.698198272740001</c:v>
                </c:pt>
                <c:pt idx="3117">
                  <c:v>28.699995707150002</c:v>
                </c:pt>
                <c:pt idx="3118">
                  <c:v>28.697604765970002</c:v>
                </c:pt>
                <c:pt idx="3119">
                  <c:v>28.72563649716</c:v>
                </c:pt>
                <c:pt idx="3120">
                  <c:v>28.755545644110001</c:v>
                </c:pt>
                <c:pt idx="3121">
                  <c:v>28.402204130279998</c:v>
                </c:pt>
                <c:pt idx="3122">
                  <c:v>28.712668797099997</c:v>
                </c:pt>
                <c:pt idx="3123">
                  <c:v>28.431684935589999</c:v>
                </c:pt>
                <c:pt idx="3124">
                  <c:v>28.370660323039999</c:v>
                </c:pt>
                <c:pt idx="3125">
                  <c:v>28.85713272065</c:v>
                </c:pt>
                <c:pt idx="3126">
                  <c:v>29.027622812400001</c:v>
                </c:pt>
                <c:pt idx="3127">
                  <c:v>29.029443233409999</c:v>
                </c:pt>
                <c:pt idx="3128">
                  <c:v>29.03062410715</c:v>
                </c:pt>
                <c:pt idx="3129">
                  <c:v>29.080340737909999</c:v>
                </c:pt>
                <c:pt idx="3130">
                  <c:v>29.09879542673</c:v>
                </c:pt>
                <c:pt idx="3131">
                  <c:v>29.102836943169997</c:v>
                </c:pt>
                <c:pt idx="3132">
                  <c:v>29.182437986259998</c:v>
                </c:pt>
                <c:pt idx="3133">
                  <c:v>29.195085913990003</c:v>
                </c:pt>
                <c:pt idx="3134">
                  <c:v>29.18508390669</c:v>
                </c:pt>
                <c:pt idx="3135">
                  <c:v>29.334597577990003</c:v>
                </c:pt>
                <c:pt idx="3136">
                  <c:v>29.336456777720002</c:v>
                </c:pt>
                <c:pt idx="3137">
                  <c:v>29.339364015369998</c:v>
                </c:pt>
                <c:pt idx="3138">
                  <c:v>29.350216944340001</c:v>
                </c:pt>
                <c:pt idx="3139">
                  <c:v>29.405641762490003</c:v>
                </c:pt>
                <c:pt idx="3140">
                  <c:v>29.408595477750001</c:v>
                </c:pt>
                <c:pt idx="3141">
                  <c:v>29.405573355740003</c:v>
                </c:pt>
                <c:pt idx="3142">
                  <c:v>29.417208704020002</c:v>
                </c:pt>
                <c:pt idx="3143">
                  <c:v>29.518125834720003</c:v>
                </c:pt>
                <c:pt idx="3144">
                  <c:v>29.52392834974</c:v>
                </c:pt>
                <c:pt idx="3145">
                  <c:v>29.48074729232</c:v>
                </c:pt>
                <c:pt idx="3146">
                  <c:v>29.482699652900003</c:v>
                </c:pt>
                <c:pt idx="3147">
                  <c:v>29.468762907040002</c:v>
                </c:pt>
                <c:pt idx="3148">
                  <c:v>29.492090783609999</c:v>
                </c:pt>
                <c:pt idx="3149">
                  <c:v>29.485694387340001</c:v>
                </c:pt>
                <c:pt idx="3150">
                  <c:v>29.4827702121</c:v>
                </c:pt>
                <c:pt idx="3151">
                  <c:v>29.628958399590001</c:v>
                </c:pt>
                <c:pt idx="3152">
                  <c:v>29.613090733349999</c:v>
                </c:pt>
                <c:pt idx="3153">
                  <c:v>29.639548489240003</c:v>
                </c:pt>
                <c:pt idx="3154">
                  <c:v>29.645497957459998</c:v>
                </c:pt>
                <c:pt idx="3155">
                  <c:v>29.64657831097</c:v>
                </c:pt>
                <c:pt idx="3156">
                  <c:v>29.840794100830003</c:v>
                </c:pt>
                <c:pt idx="3157">
                  <c:v>29.8445000468</c:v>
                </c:pt>
                <c:pt idx="3158">
                  <c:v>29.843876904990001</c:v>
                </c:pt>
                <c:pt idx="3159">
                  <c:v>29.850907891289999</c:v>
                </c:pt>
                <c:pt idx="3160">
                  <c:v>29.846371442980001</c:v>
                </c:pt>
                <c:pt idx="3161">
                  <c:v>29.59687112348</c:v>
                </c:pt>
                <c:pt idx="3162">
                  <c:v>29.608548373910001</c:v>
                </c:pt>
                <c:pt idx="3163">
                  <c:v>29.60828195601</c:v>
                </c:pt>
                <c:pt idx="3164">
                  <c:v>29.52760851291</c:v>
                </c:pt>
                <c:pt idx="3165">
                  <c:v>29.62343017713</c:v>
                </c:pt>
                <c:pt idx="3166">
                  <c:v>29.67011906147</c:v>
                </c:pt>
                <c:pt idx="3167">
                  <c:v>29.762650754039999</c:v>
                </c:pt>
                <c:pt idx="3168">
                  <c:v>29.724228510370001</c:v>
                </c:pt>
                <c:pt idx="3169">
                  <c:v>29.69732079093</c:v>
                </c:pt>
                <c:pt idx="3170">
                  <c:v>29.697890042970002</c:v>
                </c:pt>
                <c:pt idx="3171">
                  <c:v>29.695144732479999</c:v>
                </c:pt>
                <c:pt idx="3172">
                  <c:v>29.69358643851</c:v>
                </c:pt>
                <c:pt idx="3173">
                  <c:v>29.732878051890001</c:v>
                </c:pt>
                <c:pt idx="3174">
                  <c:v>29.727033245639998</c:v>
                </c:pt>
                <c:pt idx="3175">
                  <c:v>29.732525123409999</c:v>
                </c:pt>
                <c:pt idx="3176">
                  <c:v>29.737222314139999</c:v>
                </c:pt>
                <c:pt idx="3177">
                  <c:v>29.86476777827</c:v>
                </c:pt>
                <c:pt idx="3178">
                  <c:v>29.866307816040003</c:v>
                </c:pt>
                <c:pt idx="3179">
                  <c:v>29.960385994119999</c:v>
                </c:pt>
                <c:pt idx="3180">
                  <c:v>29.904572663740002</c:v>
                </c:pt>
                <c:pt idx="3181">
                  <c:v>29.95647680271</c:v>
                </c:pt>
                <c:pt idx="3182">
                  <c:v>29.956836765669998</c:v>
                </c:pt>
                <c:pt idx="3183">
                  <c:v>29.95797648445</c:v>
                </c:pt>
                <c:pt idx="3184">
                  <c:v>30.122341388679999</c:v>
                </c:pt>
                <c:pt idx="3185">
                  <c:v>30.127066864819998</c:v>
                </c:pt>
                <c:pt idx="3186">
                  <c:v>30.029577763490003</c:v>
                </c:pt>
                <c:pt idx="3187">
                  <c:v>30.038166468180002</c:v>
                </c:pt>
                <c:pt idx="3188">
                  <c:v>29.988537232500001</c:v>
                </c:pt>
                <c:pt idx="3189">
                  <c:v>30.005259614819998</c:v>
                </c:pt>
                <c:pt idx="3190">
                  <c:v>30.00025010493</c:v>
                </c:pt>
                <c:pt idx="3191">
                  <c:v>29.509974290779997</c:v>
                </c:pt>
                <c:pt idx="3192">
                  <c:v>29.762159079050001</c:v>
                </c:pt>
                <c:pt idx="3193">
                  <c:v>29.744450339310003</c:v>
                </c:pt>
                <c:pt idx="3194">
                  <c:v>29.743073446419999</c:v>
                </c:pt>
                <c:pt idx="3195">
                  <c:v>29.768467965310002</c:v>
                </c:pt>
                <c:pt idx="3196">
                  <c:v>29.76702546884</c:v>
                </c:pt>
                <c:pt idx="3197">
                  <c:v>29.76961864575</c:v>
                </c:pt>
                <c:pt idx="3198">
                  <c:v>29.897609774740001</c:v>
                </c:pt>
                <c:pt idx="3199">
                  <c:v>29.810102517320001</c:v>
                </c:pt>
                <c:pt idx="3200">
                  <c:v>29.905844864950001</c:v>
                </c:pt>
                <c:pt idx="3201">
                  <c:v>29.813721362959999</c:v>
                </c:pt>
                <c:pt idx="3202">
                  <c:v>29.841350062650001</c:v>
                </c:pt>
                <c:pt idx="3203">
                  <c:v>29.77359116585</c:v>
                </c:pt>
                <c:pt idx="3204">
                  <c:v>29.775464654869999</c:v>
                </c:pt>
                <c:pt idx="3205">
                  <c:v>29.773133643439998</c:v>
                </c:pt>
                <c:pt idx="3206">
                  <c:v>29.77615144724</c:v>
                </c:pt>
                <c:pt idx="3207">
                  <c:v>29.782394493630001</c:v>
                </c:pt>
                <c:pt idx="3208">
                  <c:v>29.883843834970001</c:v>
                </c:pt>
                <c:pt idx="3209">
                  <c:v>29.87738390162</c:v>
                </c:pt>
                <c:pt idx="3210">
                  <c:v>29.829111122150003</c:v>
                </c:pt>
                <c:pt idx="3211">
                  <c:v>29.80146993584</c:v>
                </c:pt>
                <c:pt idx="3212">
                  <c:v>29.785497223949999</c:v>
                </c:pt>
                <c:pt idx="3213">
                  <c:v>29.773336802259998</c:v>
                </c:pt>
                <c:pt idx="3214">
                  <c:v>29.773376880480001</c:v>
                </c:pt>
                <c:pt idx="3215">
                  <c:v>29.768183312240001</c:v>
                </c:pt>
                <c:pt idx="3216">
                  <c:v>29.765989511770002</c:v>
                </c:pt>
                <c:pt idx="3217">
                  <c:v>29.79360982875</c:v>
                </c:pt>
                <c:pt idx="3218">
                  <c:v>29.794208296810002</c:v>
                </c:pt>
                <c:pt idx="3219">
                  <c:v>29.797729379700002</c:v>
                </c:pt>
                <c:pt idx="3220">
                  <c:v>29.786658112430001</c:v>
                </c:pt>
                <c:pt idx="3221">
                  <c:v>29.788986078040001</c:v>
                </c:pt>
                <c:pt idx="3222">
                  <c:v>29.932306240619997</c:v>
                </c:pt>
                <c:pt idx="3223">
                  <c:v>29.874318460769999</c:v>
                </c:pt>
                <c:pt idx="3224">
                  <c:v>29.883646608429999</c:v>
                </c:pt>
                <c:pt idx="3225">
                  <c:v>29.851194773269999</c:v>
                </c:pt>
                <c:pt idx="3226">
                  <c:v>29.746533762679999</c:v>
                </c:pt>
                <c:pt idx="3227">
                  <c:v>29.711505253040002</c:v>
                </c:pt>
                <c:pt idx="3228">
                  <c:v>29.704262379759999</c:v>
                </c:pt>
                <c:pt idx="3229">
                  <c:v>29.805099849080001</c:v>
                </c:pt>
                <c:pt idx="3230">
                  <c:v>29.819363023209998</c:v>
                </c:pt>
                <c:pt idx="3231">
                  <c:v>29.808188895400001</c:v>
                </c:pt>
                <c:pt idx="3232">
                  <c:v>29.80728342303</c:v>
                </c:pt>
                <c:pt idx="3233">
                  <c:v>29.777902129380003</c:v>
                </c:pt>
                <c:pt idx="3234">
                  <c:v>29.770620277500001</c:v>
                </c:pt>
                <c:pt idx="3235">
                  <c:v>29.765707249889999</c:v>
                </c:pt>
                <c:pt idx="3236">
                  <c:v>29.748250627680001</c:v>
                </c:pt>
                <c:pt idx="3237">
                  <c:v>29.7500205943</c:v>
                </c:pt>
                <c:pt idx="3238">
                  <c:v>29.753364416619998</c:v>
                </c:pt>
                <c:pt idx="3239">
                  <c:v>29.904680627610002</c:v>
                </c:pt>
                <c:pt idx="3240">
                  <c:v>29.9038588455</c:v>
                </c:pt>
                <c:pt idx="3241">
                  <c:v>30.173707055520001</c:v>
                </c:pt>
                <c:pt idx="3242">
                  <c:v>30.39544935096</c:v>
                </c:pt>
                <c:pt idx="3243">
                  <c:v>30.38971095658</c:v>
                </c:pt>
                <c:pt idx="3244">
                  <c:v>30.388288404900003</c:v>
                </c:pt>
                <c:pt idx="3245">
                  <c:v>30.355006672279998</c:v>
                </c:pt>
                <c:pt idx="3246">
                  <c:v>30.731414532590001</c:v>
                </c:pt>
                <c:pt idx="3247">
                  <c:v>30.607092893529998</c:v>
                </c:pt>
                <c:pt idx="3248">
                  <c:v>30.606803996349999</c:v>
                </c:pt>
                <c:pt idx="3249">
                  <c:v>30.643362186819999</c:v>
                </c:pt>
                <c:pt idx="3250">
                  <c:v>30.506617664169998</c:v>
                </c:pt>
                <c:pt idx="3251">
                  <c:v>30.483477259160001</c:v>
                </c:pt>
                <c:pt idx="3252">
                  <c:v>30.479712176540001</c:v>
                </c:pt>
                <c:pt idx="3253">
                  <c:v>30.468182434639999</c:v>
                </c:pt>
                <c:pt idx="3254">
                  <c:v>30.468312179880002</c:v>
                </c:pt>
                <c:pt idx="3255">
                  <c:v>30.507203099689999</c:v>
                </c:pt>
                <c:pt idx="3256">
                  <c:v>30.388581171729999</c:v>
                </c:pt>
                <c:pt idx="3257">
                  <c:v>30.465237086639998</c:v>
                </c:pt>
                <c:pt idx="3258">
                  <c:v>33.05756295882</c:v>
                </c:pt>
                <c:pt idx="3259">
                  <c:v>33.152898890049997</c:v>
                </c:pt>
                <c:pt idx="3260">
                  <c:v>33.245961833220001</c:v>
                </c:pt>
                <c:pt idx="3261">
                  <c:v>33.25128700626</c:v>
                </c:pt>
                <c:pt idx="3262">
                  <c:v>33.351494048500001</c:v>
                </c:pt>
                <c:pt idx="3263">
                  <c:v>33.362101451790004</c:v>
                </c:pt>
                <c:pt idx="3264">
                  <c:v>33.35614347077</c:v>
                </c:pt>
                <c:pt idx="3265">
                  <c:v>33.315682234020002</c:v>
                </c:pt>
                <c:pt idx="3266">
                  <c:v>33.312157733279996</c:v>
                </c:pt>
                <c:pt idx="3267">
                  <c:v>33.321752292569997</c:v>
                </c:pt>
                <c:pt idx="3268">
                  <c:v>33.321038887669999</c:v>
                </c:pt>
                <c:pt idx="3269">
                  <c:v>33.34812045836</c:v>
                </c:pt>
                <c:pt idx="3270">
                  <c:v>33.361490352360001</c:v>
                </c:pt>
                <c:pt idx="3271">
                  <c:v>33.265982241270002</c:v>
                </c:pt>
                <c:pt idx="3272">
                  <c:v>33.255215843160002</c:v>
                </c:pt>
                <c:pt idx="3273">
                  <c:v>33.308628254060004</c:v>
                </c:pt>
                <c:pt idx="3274">
                  <c:v>33.301659888860002</c:v>
                </c:pt>
                <c:pt idx="3275">
                  <c:v>33.304949422980002</c:v>
                </c:pt>
                <c:pt idx="3276">
                  <c:v>33.34169821839</c:v>
                </c:pt>
                <c:pt idx="3277">
                  <c:v>34.3623455822</c:v>
                </c:pt>
                <c:pt idx="3278">
                  <c:v>34.408186378469999</c:v>
                </c:pt>
                <c:pt idx="3279">
                  <c:v>34.408727288099996</c:v>
                </c:pt>
                <c:pt idx="3280">
                  <c:v>34.410699203610001</c:v>
                </c:pt>
                <c:pt idx="3281">
                  <c:v>34.411900525660002</c:v>
                </c:pt>
                <c:pt idx="3282">
                  <c:v>34.459225902470003</c:v>
                </c:pt>
                <c:pt idx="3283">
                  <c:v>35.146625801279995</c:v>
                </c:pt>
                <c:pt idx="3284">
                  <c:v>34.453796920999999</c:v>
                </c:pt>
                <c:pt idx="3285">
                  <c:v>34.471100499870005</c:v>
                </c:pt>
                <c:pt idx="3286">
                  <c:v>34.518898715620004</c:v>
                </c:pt>
                <c:pt idx="3287">
                  <c:v>34.520140605629997</c:v>
                </c:pt>
                <c:pt idx="3288">
                  <c:v>34.5256940234</c:v>
                </c:pt>
                <c:pt idx="3289">
                  <c:v>34.524502841089998</c:v>
                </c:pt>
                <c:pt idx="3290">
                  <c:v>34.525827980199999</c:v>
                </c:pt>
                <c:pt idx="3291">
                  <c:v>34.518394660669998</c:v>
                </c:pt>
                <c:pt idx="3292">
                  <c:v>34.522317023420001</c:v>
                </c:pt>
                <c:pt idx="3293">
                  <c:v>34.465464315199995</c:v>
                </c:pt>
                <c:pt idx="3294">
                  <c:v>34.473354919760006</c:v>
                </c:pt>
                <c:pt idx="3295">
                  <c:v>34.46821350383</c:v>
                </c:pt>
                <c:pt idx="3296">
                  <c:v>34.497039621420001</c:v>
                </c:pt>
                <c:pt idx="3297">
                  <c:v>33.414540534730001</c:v>
                </c:pt>
                <c:pt idx="3298">
                  <c:v>33.405032433629998</c:v>
                </c:pt>
                <c:pt idx="3299">
                  <c:v>33.406699610209998</c:v>
                </c:pt>
                <c:pt idx="3300">
                  <c:v>33.44005602328</c:v>
                </c:pt>
                <c:pt idx="3301">
                  <c:v>33.436596161300002</c:v>
                </c:pt>
                <c:pt idx="3302">
                  <c:v>33.437092073629998</c:v>
                </c:pt>
                <c:pt idx="3303">
                  <c:v>33.43430829543</c:v>
                </c:pt>
                <c:pt idx="3304">
                  <c:v>33.557821794220004</c:v>
                </c:pt>
                <c:pt idx="3305">
                  <c:v>33.530062428359997</c:v>
                </c:pt>
                <c:pt idx="3306">
                  <c:v>33.583123435339999</c:v>
                </c:pt>
                <c:pt idx="3307">
                  <c:v>33.581797226079999</c:v>
                </c:pt>
                <c:pt idx="3308">
                  <c:v>33.581883135830005</c:v>
                </c:pt>
                <c:pt idx="3309">
                  <c:v>33.571772498549997</c:v>
                </c:pt>
                <c:pt idx="3310">
                  <c:v>33.588676488769998</c:v>
                </c:pt>
                <c:pt idx="3311">
                  <c:v>33.529018897340002</c:v>
                </c:pt>
                <c:pt idx="3312">
                  <c:v>33.527996738079999</c:v>
                </c:pt>
                <c:pt idx="3313">
                  <c:v>33.582584851230003</c:v>
                </c:pt>
                <c:pt idx="3314">
                  <c:v>33.577544945429999</c:v>
                </c:pt>
                <c:pt idx="3315">
                  <c:v>34.572003793699999</c:v>
                </c:pt>
                <c:pt idx="3316">
                  <c:v>34.605812411870005</c:v>
                </c:pt>
                <c:pt idx="3317">
                  <c:v>34.670506595180001</c:v>
                </c:pt>
                <c:pt idx="3318">
                  <c:v>34.666537184949995</c:v>
                </c:pt>
                <c:pt idx="3319">
                  <c:v>34.67340188435</c:v>
                </c:pt>
                <c:pt idx="3320">
                  <c:v>34.748984047330005</c:v>
                </c:pt>
                <c:pt idx="3321">
                  <c:v>34.707984048699998</c:v>
                </c:pt>
                <c:pt idx="3322">
                  <c:v>34.855761972410001</c:v>
                </c:pt>
                <c:pt idx="3323">
                  <c:v>34.853094449289998</c:v>
                </c:pt>
                <c:pt idx="3324">
                  <c:v>34.87068455424</c:v>
                </c:pt>
                <c:pt idx="3325">
                  <c:v>35.036335162230003</c:v>
                </c:pt>
                <c:pt idx="3326">
                  <c:v>35.053745484849998</c:v>
                </c:pt>
                <c:pt idx="3327">
                  <c:v>35.051267631789997</c:v>
                </c:pt>
                <c:pt idx="3328">
                  <c:v>34.807024248330002</c:v>
                </c:pt>
                <c:pt idx="3329">
                  <c:v>34.832002636489996</c:v>
                </c:pt>
                <c:pt idx="3330">
                  <c:v>34.83092447752</c:v>
                </c:pt>
                <c:pt idx="3331">
                  <c:v>34.830272896430003</c:v>
                </c:pt>
                <c:pt idx="3332">
                  <c:v>34.755615189469999</c:v>
                </c:pt>
                <c:pt idx="3333">
                  <c:v>34.746072898449995</c:v>
                </c:pt>
                <c:pt idx="3334">
                  <c:v>34.788311027889996</c:v>
                </c:pt>
                <c:pt idx="3335">
                  <c:v>33.67472276745</c:v>
                </c:pt>
                <c:pt idx="3336">
                  <c:v>33.669650056830001</c:v>
                </c:pt>
                <c:pt idx="3337">
                  <c:v>33.668087889719999</c:v>
                </c:pt>
                <c:pt idx="3338">
                  <c:v>33.666866130339997</c:v>
                </c:pt>
                <c:pt idx="3339">
                  <c:v>33.667779567129998</c:v>
                </c:pt>
                <c:pt idx="3340">
                  <c:v>33.671252607930001</c:v>
                </c:pt>
                <c:pt idx="3341">
                  <c:v>33.679913287310001</c:v>
                </c:pt>
                <c:pt idx="3342">
                  <c:v>33.672745153249998</c:v>
                </c:pt>
                <c:pt idx="3343">
                  <c:v>33.711697009570003</c:v>
                </c:pt>
                <c:pt idx="3344">
                  <c:v>33.719431716240003</c:v>
                </c:pt>
                <c:pt idx="3345">
                  <c:v>33.724856775239999</c:v>
                </c:pt>
                <c:pt idx="3346">
                  <c:v>33.648245821529997</c:v>
                </c:pt>
                <c:pt idx="3347">
                  <c:v>33.5979879888</c:v>
                </c:pt>
                <c:pt idx="3348">
                  <c:v>33.598995206220003</c:v>
                </c:pt>
                <c:pt idx="3349">
                  <c:v>33.606899466080002</c:v>
                </c:pt>
                <c:pt idx="3350">
                  <c:v>33.601043909749997</c:v>
                </c:pt>
                <c:pt idx="3351">
                  <c:v>33.600174402</c:v>
                </c:pt>
                <c:pt idx="3352">
                  <c:v>33.652069458370001</c:v>
                </c:pt>
                <c:pt idx="3353">
                  <c:v>33.585911374730003</c:v>
                </c:pt>
                <c:pt idx="3354">
                  <c:v>33.678241923439998</c:v>
                </c:pt>
                <c:pt idx="3355">
                  <c:v>33.674499384459999</c:v>
                </c:pt>
                <c:pt idx="3356">
                  <c:v>33.58222996077</c:v>
                </c:pt>
                <c:pt idx="3357">
                  <c:v>33.575309331680003</c:v>
                </c:pt>
                <c:pt idx="3358">
                  <c:v>33.593718771459997</c:v>
                </c:pt>
                <c:pt idx="3359">
                  <c:v>33.579014108590002</c:v>
                </c:pt>
                <c:pt idx="3360">
                  <c:v>33.512050012019998</c:v>
                </c:pt>
                <c:pt idx="3361">
                  <c:v>33.516983302219998</c:v>
                </c:pt>
                <c:pt idx="3362">
                  <c:v>33.521830094049996</c:v>
                </c:pt>
                <c:pt idx="3363">
                  <c:v>33.522951711529998</c:v>
                </c:pt>
                <c:pt idx="3364">
                  <c:v>33.585049176749997</c:v>
                </c:pt>
                <c:pt idx="3365">
                  <c:v>33.602550088500003</c:v>
                </c:pt>
                <c:pt idx="3366">
                  <c:v>33.596455428500001</c:v>
                </c:pt>
                <c:pt idx="3367">
                  <c:v>33.709394592480002</c:v>
                </c:pt>
                <c:pt idx="3368">
                  <c:v>33.673326962880004</c:v>
                </c:pt>
                <c:pt idx="3369">
                  <c:v>33.67411974617</c:v>
                </c:pt>
                <c:pt idx="3370">
                  <c:v>33.670224629029995</c:v>
                </c:pt>
                <c:pt idx="3371">
                  <c:v>33.639144116110003</c:v>
                </c:pt>
                <c:pt idx="3372">
                  <c:v>33.614837548830003</c:v>
                </c:pt>
                <c:pt idx="3373">
                  <c:v>33.531442608619997</c:v>
                </c:pt>
                <c:pt idx="3374">
                  <c:v>33.523194093519997</c:v>
                </c:pt>
                <c:pt idx="3375">
                  <c:v>33.519317039859999</c:v>
                </c:pt>
                <c:pt idx="3376">
                  <c:v>33.553415165810001</c:v>
                </c:pt>
                <c:pt idx="3377">
                  <c:v>33.550679983030001</c:v>
                </c:pt>
                <c:pt idx="3378">
                  <c:v>33.515809828900004</c:v>
                </c:pt>
                <c:pt idx="3379">
                  <c:v>33.670500345969998</c:v>
                </c:pt>
                <c:pt idx="3380">
                  <c:v>33.688385285290003</c:v>
                </c:pt>
                <c:pt idx="3381">
                  <c:v>33.675291981050002</c:v>
                </c:pt>
                <c:pt idx="3382">
                  <c:v>33.67747802345</c:v>
                </c:pt>
                <c:pt idx="3383">
                  <c:v>33.659105642850001</c:v>
                </c:pt>
                <c:pt idx="3384">
                  <c:v>33.638360759059999</c:v>
                </c:pt>
                <c:pt idx="3385">
                  <c:v>33.63745611353</c:v>
                </c:pt>
                <c:pt idx="3386">
                  <c:v>33.611120220389999</c:v>
                </c:pt>
                <c:pt idx="3387">
                  <c:v>33.645115520720005</c:v>
                </c:pt>
                <c:pt idx="3388">
                  <c:v>33.57599793763</c:v>
                </c:pt>
                <c:pt idx="3389">
                  <c:v>33.651549646279996</c:v>
                </c:pt>
                <c:pt idx="3390">
                  <c:v>33.733540321870002</c:v>
                </c:pt>
                <c:pt idx="3391">
                  <c:v>33.727970411859999</c:v>
                </c:pt>
                <c:pt idx="3392">
                  <c:v>33.725887920230001</c:v>
                </c:pt>
                <c:pt idx="3393">
                  <c:v>33.742608478900003</c:v>
                </c:pt>
                <c:pt idx="3394">
                  <c:v>33.826541999379998</c:v>
                </c:pt>
                <c:pt idx="3395">
                  <c:v>33.763457623259995</c:v>
                </c:pt>
                <c:pt idx="3396">
                  <c:v>33.778154726029996</c:v>
                </c:pt>
                <c:pt idx="3397">
                  <c:v>33.697092938159997</c:v>
                </c:pt>
                <c:pt idx="3398">
                  <c:v>33.693360074529998</c:v>
                </c:pt>
                <c:pt idx="3399">
                  <c:v>34.750312869319998</c:v>
                </c:pt>
                <c:pt idx="3400">
                  <c:v>34.741999943970001</c:v>
                </c:pt>
                <c:pt idx="3401">
                  <c:v>34.740264449930002</c:v>
                </c:pt>
                <c:pt idx="3402">
                  <c:v>35.278775015739996</c:v>
                </c:pt>
                <c:pt idx="3403">
                  <c:v>35.332234780829999</c:v>
                </c:pt>
                <c:pt idx="3404">
                  <c:v>35.332493207580001</c:v>
                </c:pt>
                <c:pt idx="3405">
                  <c:v>37.872275352460001</c:v>
                </c:pt>
                <c:pt idx="3406">
                  <c:v>35.325044257709997</c:v>
                </c:pt>
                <c:pt idx="3407">
                  <c:v>35.3303147942</c:v>
                </c:pt>
                <c:pt idx="3408">
                  <c:v>35.325026854120004</c:v>
                </c:pt>
                <c:pt idx="3409">
                  <c:v>35.317610238050001</c:v>
                </c:pt>
                <c:pt idx="3410">
                  <c:v>35.431636285709999</c:v>
                </c:pt>
                <c:pt idx="3411">
                  <c:v>35.392610572449996</c:v>
                </c:pt>
                <c:pt idx="3412">
                  <c:v>35.513393649820003</c:v>
                </c:pt>
                <c:pt idx="3413">
                  <c:v>35.502134411210001</c:v>
                </c:pt>
                <c:pt idx="3414">
                  <c:v>35.563181846429998</c:v>
                </c:pt>
                <c:pt idx="3415">
                  <c:v>36.044042332410001</c:v>
                </c:pt>
                <c:pt idx="3416">
                  <c:v>36.034239779110003</c:v>
                </c:pt>
                <c:pt idx="3417">
                  <c:v>36.032504437029999</c:v>
                </c:pt>
                <c:pt idx="3418">
                  <c:v>36.008349847959998</c:v>
                </c:pt>
                <c:pt idx="3419">
                  <c:v>36.011345790940005</c:v>
                </c:pt>
                <c:pt idx="3420">
                  <c:v>36.002062155269996</c:v>
                </c:pt>
                <c:pt idx="3421">
                  <c:v>34.885947924059998</c:v>
                </c:pt>
                <c:pt idx="3422">
                  <c:v>34.934866775559996</c:v>
                </c:pt>
                <c:pt idx="3423">
                  <c:v>34.989381989569999</c:v>
                </c:pt>
                <c:pt idx="3424">
                  <c:v>35.376191148839993</c:v>
                </c:pt>
                <c:pt idx="3425">
                  <c:v>35.375489483849996</c:v>
                </c:pt>
                <c:pt idx="3426">
                  <c:v>35.362910311370001</c:v>
                </c:pt>
                <c:pt idx="3427">
                  <c:v>35.363340743819997</c:v>
                </c:pt>
                <c:pt idx="3428">
                  <c:v>35.360622811800006</c:v>
                </c:pt>
                <c:pt idx="3429">
                  <c:v>35.376399137349999</c:v>
                </c:pt>
                <c:pt idx="3430">
                  <c:v>35.380840567230003</c:v>
                </c:pt>
                <c:pt idx="3431">
                  <c:v>35.401879201599996</c:v>
                </c:pt>
                <c:pt idx="3432">
                  <c:v>35.454312603349997</c:v>
                </c:pt>
                <c:pt idx="3433">
                  <c:v>35.375136898649998</c:v>
                </c:pt>
                <c:pt idx="3434">
                  <c:v>35.881444853779996</c:v>
                </c:pt>
                <c:pt idx="3435">
                  <c:v>35.891727184040001</c:v>
                </c:pt>
                <c:pt idx="3436">
                  <c:v>35.889817664519995</c:v>
                </c:pt>
                <c:pt idx="3437">
                  <c:v>35.889513200580005</c:v>
                </c:pt>
                <c:pt idx="3438">
                  <c:v>35.864717098470003</c:v>
                </c:pt>
                <c:pt idx="3439">
                  <c:v>35.795995836879996</c:v>
                </c:pt>
                <c:pt idx="3440">
                  <c:v>35.788698142370002</c:v>
                </c:pt>
                <c:pt idx="3441">
                  <c:v>35.776188872150001</c:v>
                </c:pt>
                <c:pt idx="3442">
                  <c:v>35.787404292830004</c:v>
                </c:pt>
                <c:pt idx="3443">
                  <c:v>35.7591737933</c:v>
                </c:pt>
                <c:pt idx="3444">
                  <c:v>35.749814699519995</c:v>
                </c:pt>
                <c:pt idx="3445">
                  <c:v>35.751589059920001</c:v>
                </c:pt>
                <c:pt idx="3446">
                  <c:v>35.751236633669997</c:v>
                </c:pt>
                <c:pt idx="3447">
                  <c:v>35.361320686260001</c:v>
                </c:pt>
                <c:pt idx="3448">
                  <c:v>35.697246997309996</c:v>
                </c:pt>
                <c:pt idx="3449">
                  <c:v>35.728855673160005</c:v>
                </c:pt>
                <c:pt idx="3450">
                  <c:v>35.727304225579999</c:v>
                </c:pt>
                <c:pt idx="3451">
                  <c:v>35.737173718500003</c:v>
                </c:pt>
                <c:pt idx="3452">
                  <c:v>35.835574345300003</c:v>
                </c:pt>
                <c:pt idx="3453">
                  <c:v>36.258045520349995</c:v>
                </c:pt>
                <c:pt idx="3454">
                  <c:v>36.568647438220005</c:v>
                </c:pt>
                <c:pt idx="3455">
                  <c:v>36.448313226769997</c:v>
                </c:pt>
                <c:pt idx="3456">
                  <c:v>39.810504525199995</c:v>
                </c:pt>
                <c:pt idx="3457">
                  <c:v>39.846576719429997</c:v>
                </c:pt>
                <c:pt idx="3458">
                  <c:v>39.857771980209996</c:v>
                </c:pt>
                <c:pt idx="3459">
                  <c:v>39.976293674360001</c:v>
                </c:pt>
                <c:pt idx="3460">
                  <c:v>40.054029480910003</c:v>
                </c:pt>
                <c:pt idx="3461">
                  <c:v>39.360102418819999</c:v>
                </c:pt>
                <c:pt idx="3462">
                  <c:v>39.37491225414</c:v>
                </c:pt>
                <c:pt idx="3463">
                  <c:v>39.473225948580001</c:v>
                </c:pt>
                <c:pt idx="3464">
                  <c:v>39.454196623419996</c:v>
                </c:pt>
                <c:pt idx="3465">
                  <c:v>40.259637290900002</c:v>
                </c:pt>
                <c:pt idx="3466">
                  <c:v>40.316420879109998</c:v>
                </c:pt>
                <c:pt idx="3467">
                  <c:v>40.310620732899999</c:v>
                </c:pt>
                <c:pt idx="3468">
                  <c:v>40.338651872</c:v>
                </c:pt>
                <c:pt idx="3469">
                  <c:v>40.316836726310001</c:v>
                </c:pt>
                <c:pt idx="3470">
                  <c:v>40.471692675260002</c:v>
                </c:pt>
                <c:pt idx="3471">
                  <c:v>40.471320988910001</c:v>
                </c:pt>
                <c:pt idx="3472">
                  <c:v>40.496480839169998</c:v>
                </c:pt>
                <c:pt idx="3473">
                  <c:v>40.345667863149998</c:v>
                </c:pt>
                <c:pt idx="3474">
                  <c:v>40.33860422862</c:v>
                </c:pt>
                <c:pt idx="3475">
                  <c:v>40.293911871669998</c:v>
                </c:pt>
                <c:pt idx="3476">
                  <c:v>40.367734600650003</c:v>
                </c:pt>
                <c:pt idx="3477">
                  <c:v>40.310241598809995</c:v>
                </c:pt>
                <c:pt idx="3478">
                  <c:v>40.539338549459998</c:v>
                </c:pt>
                <c:pt idx="3479">
                  <c:v>40.551497676069999</c:v>
                </c:pt>
                <c:pt idx="3480">
                  <c:v>40.552313276970004</c:v>
                </c:pt>
                <c:pt idx="3481">
                  <c:v>40.54693034324</c:v>
                </c:pt>
                <c:pt idx="3482">
                  <c:v>40.518117700110004</c:v>
                </c:pt>
                <c:pt idx="3483">
                  <c:v>42.831737952980006</c:v>
                </c:pt>
                <c:pt idx="3484">
                  <c:v>40.505214522830002</c:v>
                </c:pt>
                <c:pt idx="3485">
                  <c:v>40.492705732959998</c:v>
                </c:pt>
                <c:pt idx="3486">
                  <c:v>40.611542137620006</c:v>
                </c:pt>
                <c:pt idx="3487">
                  <c:v>40.585111594819999</c:v>
                </c:pt>
                <c:pt idx="3488">
                  <c:v>40.434989582</c:v>
                </c:pt>
                <c:pt idx="3489">
                  <c:v>40.435207588760001</c:v>
                </c:pt>
                <c:pt idx="3490">
                  <c:v>40.417835717849997</c:v>
                </c:pt>
                <c:pt idx="3491">
                  <c:v>40.456392446789998</c:v>
                </c:pt>
                <c:pt idx="3492">
                  <c:v>40.491482919089997</c:v>
                </c:pt>
                <c:pt idx="3493">
                  <c:v>40.502766098389998</c:v>
                </c:pt>
                <c:pt idx="3494">
                  <c:v>42.66571077271</c:v>
                </c:pt>
                <c:pt idx="3495">
                  <c:v>42.644560909040003</c:v>
                </c:pt>
                <c:pt idx="3496">
                  <c:v>42.3872803342</c:v>
                </c:pt>
                <c:pt idx="3497">
                  <c:v>42.38489780842</c:v>
                </c:pt>
                <c:pt idx="3498">
                  <c:v>42.437456613000002</c:v>
                </c:pt>
                <c:pt idx="3499">
                  <c:v>42.434631128760003</c:v>
                </c:pt>
                <c:pt idx="3500">
                  <c:v>42.434641451190004</c:v>
                </c:pt>
                <c:pt idx="3501">
                  <c:v>42.485092129930003</c:v>
                </c:pt>
                <c:pt idx="3502">
                  <c:v>42.480784426040003</c:v>
                </c:pt>
                <c:pt idx="3503">
                  <c:v>42.482881195570002</c:v>
                </c:pt>
                <c:pt idx="3504">
                  <c:v>42.701640346589997</c:v>
                </c:pt>
                <c:pt idx="3505">
                  <c:v>42.825388856609997</c:v>
                </c:pt>
                <c:pt idx="3506">
                  <c:v>42.943061736080004</c:v>
                </c:pt>
                <c:pt idx="3507">
                  <c:v>44.384128915410002</c:v>
                </c:pt>
                <c:pt idx="3508">
                  <c:v>45.026956886569998</c:v>
                </c:pt>
                <c:pt idx="3509">
                  <c:v>45.035290531739996</c:v>
                </c:pt>
                <c:pt idx="3510">
                  <c:v>45.17351260913</c:v>
                </c:pt>
                <c:pt idx="3511">
                  <c:v>45.228267807589994</c:v>
                </c:pt>
                <c:pt idx="3512">
                  <c:v>45.220433553680003</c:v>
                </c:pt>
                <c:pt idx="3513">
                  <c:v>45.223201072180004</c:v>
                </c:pt>
                <c:pt idx="3514">
                  <c:v>45.371824869550004</c:v>
                </c:pt>
                <c:pt idx="3515">
                  <c:v>45.387694792630001</c:v>
                </c:pt>
                <c:pt idx="3516">
                  <c:v>45.3117715152</c:v>
                </c:pt>
                <c:pt idx="3517">
                  <c:v>45.306047833980003</c:v>
                </c:pt>
                <c:pt idx="3518">
                  <c:v>45.313826770390001</c:v>
                </c:pt>
                <c:pt idx="3519">
                  <c:v>45.303846820730001</c:v>
                </c:pt>
                <c:pt idx="3520">
                  <c:v>45.232271896779999</c:v>
                </c:pt>
                <c:pt idx="3521">
                  <c:v>45.231325154170001</c:v>
                </c:pt>
                <c:pt idx="3522">
                  <c:v>45.153516527240001</c:v>
                </c:pt>
                <c:pt idx="3523">
                  <c:v>45.151382381029997</c:v>
                </c:pt>
                <c:pt idx="3524">
                  <c:v>45.081493405899998</c:v>
                </c:pt>
                <c:pt idx="3525">
                  <c:v>45.068211679120004</c:v>
                </c:pt>
                <c:pt idx="3526">
                  <c:v>45.060177297819997</c:v>
                </c:pt>
                <c:pt idx="3527">
                  <c:v>45.062839057239998</c:v>
                </c:pt>
                <c:pt idx="3528">
                  <c:v>45.001554988190001</c:v>
                </c:pt>
                <c:pt idx="3529">
                  <c:v>45.002005074000003</c:v>
                </c:pt>
                <c:pt idx="3530">
                  <c:v>44.974809765190003</c:v>
                </c:pt>
                <c:pt idx="3531">
                  <c:v>44.97519309842</c:v>
                </c:pt>
                <c:pt idx="3532">
                  <c:v>44.983772054970004</c:v>
                </c:pt>
                <c:pt idx="3533">
                  <c:v>45.082980224319996</c:v>
                </c:pt>
                <c:pt idx="3534">
                  <c:v>45.08119895614</c:v>
                </c:pt>
                <c:pt idx="3535">
                  <c:v>45.074616586040001</c:v>
                </c:pt>
                <c:pt idx="3536">
                  <c:v>45.08845996022</c:v>
                </c:pt>
                <c:pt idx="3537">
                  <c:v>45.172986275489997</c:v>
                </c:pt>
                <c:pt idx="3538">
                  <c:v>44.987410109309998</c:v>
                </c:pt>
                <c:pt idx="3539">
                  <c:v>45.0918719334</c:v>
                </c:pt>
                <c:pt idx="3540">
                  <c:v>45.075148006829998</c:v>
                </c:pt>
                <c:pt idx="3541">
                  <c:v>45.073367513610002</c:v>
                </c:pt>
                <c:pt idx="3542">
                  <c:v>45.062521318670001</c:v>
                </c:pt>
                <c:pt idx="3543">
                  <c:v>44.983933910160005</c:v>
                </c:pt>
                <c:pt idx="3544">
                  <c:v>45.0463035991</c:v>
                </c:pt>
                <c:pt idx="3545">
                  <c:v>45.037613832609999</c:v>
                </c:pt>
                <c:pt idx="3546">
                  <c:v>45.030681486279995</c:v>
                </c:pt>
                <c:pt idx="3547">
                  <c:v>45.026749520099997</c:v>
                </c:pt>
                <c:pt idx="3548">
                  <c:v>45.00735545853</c:v>
                </c:pt>
                <c:pt idx="3549">
                  <c:v>45.002034187429999</c:v>
                </c:pt>
                <c:pt idx="3550">
                  <c:v>45.018463254650001</c:v>
                </c:pt>
                <c:pt idx="3551">
                  <c:v>45.057827322269993</c:v>
                </c:pt>
                <c:pt idx="3552">
                  <c:v>45.062086939230007</c:v>
                </c:pt>
                <c:pt idx="3553">
                  <c:v>45.040162041769996</c:v>
                </c:pt>
                <c:pt idx="3554">
                  <c:v>45.052906962239994</c:v>
                </c:pt>
                <c:pt idx="3555">
                  <c:v>45.052848703320002</c:v>
                </c:pt>
                <c:pt idx="3556">
                  <c:v>45.048899390989995</c:v>
                </c:pt>
                <c:pt idx="3557">
                  <c:v>45.049594773149998</c:v>
                </c:pt>
                <c:pt idx="3558">
                  <c:v>47.30334864892</c:v>
                </c:pt>
                <c:pt idx="3559">
                  <c:v>47.302141002970004</c:v>
                </c:pt>
                <c:pt idx="3560">
                  <c:v>47.20881498536</c:v>
                </c:pt>
                <c:pt idx="3561">
                  <c:v>47.073784811860001</c:v>
                </c:pt>
                <c:pt idx="3562">
                  <c:v>47.06420354654</c:v>
                </c:pt>
                <c:pt idx="3563">
                  <c:v>47.184216437810001</c:v>
                </c:pt>
                <c:pt idx="3564">
                  <c:v>47.173924236760001</c:v>
                </c:pt>
                <c:pt idx="3565">
                  <c:v>47.169928000190005</c:v>
                </c:pt>
                <c:pt idx="3566">
                  <c:v>47.141855181490001</c:v>
                </c:pt>
                <c:pt idx="3567">
                  <c:v>47.134036898089995</c:v>
                </c:pt>
                <c:pt idx="3568">
                  <c:v>47.436492609839995</c:v>
                </c:pt>
                <c:pt idx="3569">
                  <c:v>47.785535635190001</c:v>
                </c:pt>
                <c:pt idx="3570">
                  <c:v>47.786115747579998</c:v>
                </c:pt>
                <c:pt idx="3571">
                  <c:v>47.777206566250001</c:v>
                </c:pt>
                <c:pt idx="3572">
                  <c:v>47.775002807900002</c:v>
                </c:pt>
                <c:pt idx="3573">
                  <c:v>47.774953992260002</c:v>
                </c:pt>
                <c:pt idx="3574">
                  <c:v>47.773163629980004</c:v>
                </c:pt>
                <c:pt idx="3575">
                  <c:v>47.773527477900004</c:v>
                </c:pt>
                <c:pt idx="3576">
                  <c:v>49.491094850510002</c:v>
                </c:pt>
                <c:pt idx="3577">
                  <c:v>49.389728204879994</c:v>
                </c:pt>
                <c:pt idx="3578">
                  <c:v>49.458506930889996</c:v>
                </c:pt>
                <c:pt idx="3579">
                  <c:v>49.459512069730003</c:v>
                </c:pt>
                <c:pt idx="3580">
                  <c:v>49.375317456139996</c:v>
                </c:pt>
                <c:pt idx="3581">
                  <c:v>49.366790848129995</c:v>
                </c:pt>
                <c:pt idx="3582">
                  <c:v>49.359026558059995</c:v>
                </c:pt>
                <c:pt idx="3583">
                  <c:v>49.358658957400003</c:v>
                </c:pt>
                <c:pt idx="3584">
                  <c:v>49.278546817910005</c:v>
                </c:pt>
                <c:pt idx="3585">
                  <c:v>49.281356085079999</c:v>
                </c:pt>
                <c:pt idx="3586">
                  <c:v>49.258831285669999</c:v>
                </c:pt>
                <c:pt idx="3587">
                  <c:v>49.252765508400003</c:v>
                </c:pt>
                <c:pt idx="3588">
                  <c:v>49.244770380440002</c:v>
                </c:pt>
                <c:pt idx="3589">
                  <c:v>49.257977501980001</c:v>
                </c:pt>
                <c:pt idx="3590">
                  <c:v>49.332767626250003</c:v>
                </c:pt>
                <c:pt idx="3591">
                  <c:v>49.331891857209996</c:v>
                </c:pt>
                <c:pt idx="3592">
                  <c:v>49.326084873010004</c:v>
                </c:pt>
                <c:pt idx="3593">
                  <c:v>49.32591499702</c:v>
                </c:pt>
                <c:pt idx="3594">
                  <c:v>49.32793349376</c:v>
                </c:pt>
                <c:pt idx="3595">
                  <c:v>49.32297881889</c:v>
                </c:pt>
                <c:pt idx="3596">
                  <c:v>49.292296292000003</c:v>
                </c:pt>
                <c:pt idx="3597">
                  <c:v>49.035122210110003</c:v>
                </c:pt>
                <c:pt idx="3598">
                  <c:v>49.027108328959997</c:v>
                </c:pt>
                <c:pt idx="3599">
                  <c:v>49.027566866480001</c:v>
                </c:pt>
                <c:pt idx="3600">
                  <c:v>49.014955009419999</c:v>
                </c:pt>
                <c:pt idx="3601">
                  <c:v>49.04352886062</c:v>
                </c:pt>
                <c:pt idx="3602">
                  <c:v>49.055706350629997</c:v>
                </c:pt>
                <c:pt idx="3603">
                  <c:v>48.981640916449997</c:v>
                </c:pt>
                <c:pt idx="3604">
                  <c:v>48.9663357612</c:v>
                </c:pt>
                <c:pt idx="3605">
                  <c:v>48.96362362152</c:v>
                </c:pt>
                <c:pt idx="3606">
                  <c:v>49.06519464886</c:v>
                </c:pt>
                <c:pt idx="3607">
                  <c:v>49.112496750199995</c:v>
                </c:pt>
                <c:pt idx="3608">
                  <c:v>49.122898605769997</c:v>
                </c:pt>
                <c:pt idx="3609">
                  <c:v>49.113668529690003</c:v>
                </c:pt>
                <c:pt idx="3610">
                  <c:v>49.126183542599996</c:v>
                </c:pt>
                <c:pt idx="3611">
                  <c:v>49.128377227009999</c:v>
                </c:pt>
                <c:pt idx="3612">
                  <c:v>49.275892007639996</c:v>
                </c:pt>
                <c:pt idx="3613">
                  <c:v>49.199677610099997</c:v>
                </c:pt>
                <c:pt idx="3614">
                  <c:v>49.215150428480001</c:v>
                </c:pt>
                <c:pt idx="3615">
                  <c:v>49.221535271940006</c:v>
                </c:pt>
                <c:pt idx="3616">
                  <c:v>49.215967859789998</c:v>
                </c:pt>
                <c:pt idx="3617">
                  <c:v>49.214313663160006</c:v>
                </c:pt>
                <c:pt idx="3618">
                  <c:v>48.886519371360002</c:v>
                </c:pt>
                <c:pt idx="3619">
                  <c:v>48.679440024239995</c:v>
                </c:pt>
                <c:pt idx="3620">
                  <c:v>48.679788046399999</c:v>
                </c:pt>
                <c:pt idx="3621">
                  <c:v>48.713012771690003</c:v>
                </c:pt>
                <c:pt idx="3622">
                  <c:v>48.784627013669997</c:v>
                </c:pt>
                <c:pt idx="3623">
                  <c:v>48.776833302829999</c:v>
                </c:pt>
                <c:pt idx="3624">
                  <c:v>48.616027497370006</c:v>
                </c:pt>
                <c:pt idx="3625">
                  <c:v>48.607122720839996</c:v>
                </c:pt>
                <c:pt idx="3626">
                  <c:v>49.491193339029998</c:v>
                </c:pt>
                <c:pt idx="3627">
                  <c:v>49.482288992560001</c:v>
                </c:pt>
                <c:pt idx="3628">
                  <c:v>49.46151888488</c:v>
                </c:pt>
                <c:pt idx="3629">
                  <c:v>49.443670574039999</c:v>
                </c:pt>
                <c:pt idx="3630">
                  <c:v>49.447415334390001</c:v>
                </c:pt>
                <c:pt idx="3631">
                  <c:v>49.5324371476</c:v>
                </c:pt>
                <c:pt idx="3632">
                  <c:v>49.529691698459999</c:v>
                </c:pt>
                <c:pt idx="3633">
                  <c:v>49.530261331719998</c:v>
                </c:pt>
                <c:pt idx="3634">
                  <c:v>49.705132976900003</c:v>
                </c:pt>
                <c:pt idx="3635">
                  <c:v>49.705080471769996</c:v>
                </c:pt>
                <c:pt idx="3636">
                  <c:v>49.743760663099998</c:v>
                </c:pt>
                <c:pt idx="3637">
                  <c:v>50.214950318599996</c:v>
                </c:pt>
                <c:pt idx="3638">
                  <c:v>49.90270597824</c:v>
                </c:pt>
                <c:pt idx="3639">
                  <c:v>49.838391066940005</c:v>
                </c:pt>
                <c:pt idx="3640">
                  <c:v>49.839053237410006</c:v>
                </c:pt>
                <c:pt idx="3641">
                  <c:v>49.846069926449999</c:v>
                </c:pt>
                <c:pt idx="3642">
                  <c:v>49.85501265605</c:v>
                </c:pt>
                <c:pt idx="3643">
                  <c:v>49.855705299129994</c:v>
                </c:pt>
                <c:pt idx="3644">
                  <c:v>49.825589178309997</c:v>
                </c:pt>
                <c:pt idx="3645">
                  <c:v>49.740744159709998</c:v>
                </c:pt>
                <c:pt idx="3646">
                  <c:v>49.737644590610003</c:v>
                </c:pt>
                <c:pt idx="3647">
                  <c:v>49.726702007970005</c:v>
                </c:pt>
                <c:pt idx="3648">
                  <c:v>49.724915711809999</c:v>
                </c:pt>
                <c:pt idx="3649">
                  <c:v>49.714419336489996</c:v>
                </c:pt>
                <c:pt idx="3650">
                  <c:v>49.713656330059997</c:v>
                </c:pt>
                <c:pt idx="3651">
                  <c:v>49.816335457309997</c:v>
                </c:pt>
                <c:pt idx="3652">
                  <c:v>49.873530278650001</c:v>
                </c:pt>
                <c:pt idx="3653">
                  <c:v>49.873761614140001</c:v>
                </c:pt>
                <c:pt idx="3654">
                  <c:v>49.98969825679</c:v>
                </c:pt>
                <c:pt idx="3655">
                  <c:v>49.990567749769994</c:v>
                </c:pt>
                <c:pt idx="3656">
                  <c:v>49.981299315010006</c:v>
                </c:pt>
                <c:pt idx="3657">
                  <c:v>50.026330635739996</c:v>
                </c:pt>
                <c:pt idx="3658">
                  <c:v>50.070423636320001</c:v>
                </c:pt>
                <c:pt idx="3659">
                  <c:v>50.066946343730002</c:v>
                </c:pt>
                <c:pt idx="3660">
                  <c:v>50.276705356629996</c:v>
                </c:pt>
                <c:pt idx="3661">
                  <c:v>50.327626190019998</c:v>
                </c:pt>
                <c:pt idx="3662">
                  <c:v>50.324206437870004</c:v>
                </c:pt>
                <c:pt idx="3663">
                  <c:v>50.331498403540003</c:v>
                </c:pt>
                <c:pt idx="3664">
                  <c:v>50.332192383169996</c:v>
                </c:pt>
                <c:pt idx="3665">
                  <c:v>50.330111185850001</c:v>
                </c:pt>
                <c:pt idx="3666">
                  <c:v>50.318423444410001</c:v>
                </c:pt>
                <c:pt idx="3667">
                  <c:v>50.861358099589999</c:v>
                </c:pt>
                <c:pt idx="3668">
                  <c:v>51.13436984418</c:v>
                </c:pt>
                <c:pt idx="3669">
                  <c:v>51.126024211980003</c:v>
                </c:pt>
                <c:pt idx="3670">
                  <c:v>51.17456177655</c:v>
                </c:pt>
                <c:pt idx="3671">
                  <c:v>51.50680956838</c:v>
                </c:pt>
                <c:pt idx="3672">
                  <c:v>51.741681097419999</c:v>
                </c:pt>
                <c:pt idx="3673">
                  <c:v>51.841695221249999</c:v>
                </c:pt>
                <c:pt idx="3674">
                  <c:v>51.820396526580005</c:v>
                </c:pt>
                <c:pt idx="3675">
                  <c:v>51.815797309190003</c:v>
                </c:pt>
                <c:pt idx="3676">
                  <c:v>51.810256398919996</c:v>
                </c:pt>
                <c:pt idx="3677">
                  <c:v>51.801304426470004</c:v>
                </c:pt>
                <c:pt idx="3678">
                  <c:v>51.804157568040004</c:v>
                </c:pt>
                <c:pt idx="3679">
                  <c:v>51.74482499901</c:v>
                </c:pt>
                <c:pt idx="3680">
                  <c:v>51.818821478750003</c:v>
                </c:pt>
                <c:pt idx="3681">
                  <c:v>51.844238434129998</c:v>
                </c:pt>
                <c:pt idx="3682">
                  <c:v>51.692991376949998</c:v>
                </c:pt>
                <c:pt idx="3683">
                  <c:v>51.695272826120004</c:v>
                </c:pt>
                <c:pt idx="3684">
                  <c:v>51.6954810911</c:v>
                </c:pt>
                <c:pt idx="3685">
                  <c:v>51.69359122905</c:v>
                </c:pt>
                <c:pt idx="3686">
                  <c:v>51.692623684239997</c:v>
                </c:pt>
                <c:pt idx="3687">
                  <c:v>51.980787403249998</c:v>
                </c:pt>
                <c:pt idx="3688">
                  <c:v>51.977099968440001</c:v>
                </c:pt>
                <c:pt idx="3689">
                  <c:v>51.822423369390002</c:v>
                </c:pt>
                <c:pt idx="3690">
                  <c:v>51.193555889439999</c:v>
                </c:pt>
                <c:pt idx="3691">
                  <c:v>51.184102963709996</c:v>
                </c:pt>
                <c:pt idx="3692">
                  <c:v>50.917874995120002</c:v>
                </c:pt>
                <c:pt idx="3693">
                  <c:v>50.848240981220002</c:v>
                </c:pt>
                <c:pt idx="3694">
                  <c:v>50.849030189800004</c:v>
                </c:pt>
                <c:pt idx="3695">
                  <c:v>50.846585634100002</c:v>
                </c:pt>
                <c:pt idx="3696">
                  <c:v>51.102439738459999</c:v>
                </c:pt>
                <c:pt idx="3697">
                  <c:v>51.13142059418</c:v>
                </c:pt>
                <c:pt idx="3698">
                  <c:v>51.136137187430002</c:v>
                </c:pt>
                <c:pt idx="3699">
                  <c:v>51.15715909571</c:v>
                </c:pt>
                <c:pt idx="3700">
                  <c:v>51.274318588219998</c:v>
                </c:pt>
                <c:pt idx="3701">
                  <c:v>51.344540601029998</c:v>
                </c:pt>
                <c:pt idx="3702">
                  <c:v>51.327243648739994</c:v>
                </c:pt>
                <c:pt idx="3703">
                  <c:v>51.27745281392</c:v>
                </c:pt>
                <c:pt idx="3704">
                  <c:v>51.174676133870001</c:v>
                </c:pt>
                <c:pt idx="3705">
                  <c:v>51.099931728150004</c:v>
                </c:pt>
                <c:pt idx="3706">
                  <c:v>51.156101149519998</c:v>
                </c:pt>
                <c:pt idx="3707">
                  <c:v>51.335988126910003</c:v>
                </c:pt>
                <c:pt idx="3708">
                  <c:v>51.357684476039999</c:v>
                </c:pt>
                <c:pt idx="3709">
                  <c:v>51.353163724280002</c:v>
                </c:pt>
                <c:pt idx="3710">
                  <c:v>51.359908961640002</c:v>
                </c:pt>
                <c:pt idx="3711">
                  <c:v>51.273263333930004</c:v>
                </c:pt>
                <c:pt idx="3712">
                  <c:v>51.258593828919999</c:v>
                </c:pt>
                <c:pt idx="3713">
                  <c:v>51.51873902925</c:v>
                </c:pt>
                <c:pt idx="3714">
                  <c:v>52.078296741900004</c:v>
                </c:pt>
                <c:pt idx="3715">
                  <c:v>52.097805392929999</c:v>
                </c:pt>
                <c:pt idx="3716">
                  <c:v>52.104139246769996</c:v>
                </c:pt>
                <c:pt idx="3717">
                  <c:v>52.085992667629995</c:v>
                </c:pt>
                <c:pt idx="3718">
                  <c:v>52.084746130949995</c:v>
                </c:pt>
                <c:pt idx="3719">
                  <c:v>52.079584963690003</c:v>
                </c:pt>
                <c:pt idx="3720">
                  <c:v>52.126928507980004</c:v>
                </c:pt>
                <c:pt idx="3721">
                  <c:v>52.127782926129996</c:v>
                </c:pt>
                <c:pt idx="3722">
                  <c:v>52.115749826150001</c:v>
                </c:pt>
                <c:pt idx="3723">
                  <c:v>52.036837696220005</c:v>
                </c:pt>
                <c:pt idx="3724">
                  <c:v>52.021761113059995</c:v>
                </c:pt>
                <c:pt idx="3725">
                  <c:v>51.974478274639999</c:v>
                </c:pt>
                <c:pt idx="3726">
                  <c:v>51.973664608440004</c:v>
                </c:pt>
                <c:pt idx="3727">
                  <c:v>51.891286912040002</c:v>
                </c:pt>
                <c:pt idx="3728">
                  <c:v>51.882197236069999</c:v>
                </c:pt>
                <c:pt idx="3729">
                  <c:v>51.880246804670001</c:v>
                </c:pt>
                <c:pt idx="3730">
                  <c:v>51.877285535889996</c:v>
                </c:pt>
                <c:pt idx="3731">
                  <c:v>51.8803108145</c:v>
                </c:pt>
                <c:pt idx="3732">
                  <c:v>51.793812991400003</c:v>
                </c:pt>
                <c:pt idx="3733">
                  <c:v>51.836595870209997</c:v>
                </c:pt>
                <c:pt idx="3734">
                  <c:v>51.892955683269996</c:v>
                </c:pt>
                <c:pt idx="3735">
                  <c:v>51.887553577330003</c:v>
                </c:pt>
                <c:pt idx="3736">
                  <c:v>51.928625413420001</c:v>
                </c:pt>
                <c:pt idx="3737">
                  <c:v>51.668489978699995</c:v>
                </c:pt>
                <c:pt idx="3738">
                  <c:v>51.489705926379997</c:v>
                </c:pt>
                <c:pt idx="3739">
                  <c:v>51.497038299269995</c:v>
                </c:pt>
                <c:pt idx="3740">
                  <c:v>51.487536023579999</c:v>
                </c:pt>
                <c:pt idx="3741">
                  <c:v>51.486363713279999</c:v>
                </c:pt>
                <c:pt idx="3742">
                  <c:v>51.487575437250001</c:v>
                </c:pt>
                <c:pt idx="3743">
                  <c:v>51.425188018629996</c:v>
                </c:pt>
                <c:pt idx="3744">
                  <c:v>51.42293999364</c:v>
                </c:pt>
                <c:pt idx="3745">
                  <c:v>51.616220070280001</c:v>
                </c:pt>
                <c:pt idx="3746">
                  <c:v>51.645063372099997</c:v>
                </c:pt>
                <c:pt idx="3747">
                  <c:v>51.670808834079999</c:v>
                </c:pt>
                <c:pt idx="3748">
                  <c:v>51.737108351690004</c:v>
                </c:pt>
                <c:pt idx="3749">
                  <c:v>51.739063971300006</c:v>
                </c:pt>
                <c:pt idx="3750">
                  <c:v>51.736900236319997</c:v>
                </c:pt>
                <c:pt idx="3751">
                  <c:v>51.742030140430003</c:v>
                </c:pt>
                <c:pt idx="3752">
                  <c:v>51.761337564960002</c:v>
                </c:pt>
                <c:pt idx="3753">
                  <c:v>51.755404808400002</c:v>
                </c:pt>
                <c:pt idx="3754">
                  <c:v>51.543711227260005</c:v>
                </c:pt>
                <c:pt idx="3755">
                  <c:v>51.5328384357</c:v>
                </c:pt>
                <c:pt idx="3756">
                  <c:v>53.520840992989996</c:v>
                </c:pt>
                <c:pt idx="3757">
                  <c:v>53.562435495209996</c:v>
                </c:pt>
                <c:pt idx="3758">
                  <c:v>53.629595158900003</c:v>
                </c:pt>
                <c:pt idx="3759">
                  <c:v>53.624833200769999</c:v>
                </c:pt>
                <c:pt idx="3760">
                  <c:v>53.892612117660001</c:v>
                </c:pt>
                <c:pt idx="3761">
                  <c:v>54.841262382400004</c:v>
                </c:pt>
                <c:pt idx="3762">
                  <c:v>54.805648577040003</c:v>
                </c:pt>
                <c:pt idx="3763">
                  <c:v>55.095405378380001</c:v>
                </c:pt>
                <c:pt idx="3764">
                  <c:v>55.256999037330004</c:v>
                </c:pt>
                <c:pt idx="3765">
                  <c:v>55.243964228190002</c:v>
                </c:pt>
                <c:pt idx="3766">
                  <c:v>55.251239088079998</c:v>
                </c:pt>
                <c:pt idx="3767">
                  <c:v>55.677726625480005</c:v>
                </c:pt>
                <c:pt idx="3768">
                  <c:v>55.694607866620004</c:v>
                </c:pt>
                <c:pt idx="3769">
                  <c:v>55.594719316949998</c:v>
                </c:pt>
                <c:pt idx="3770">
                  <c:v>55.595633601750002</c:v>
                </c:pt>
                <c:pt idx="3771">
                  <c:v>55.594877436589996</c:v>
                </c:pt>
                <c:pt idx="3772">
                  <c:v>55.589296127029996</c:v>
                </c:pt>
                <c:pt idx="3773">
                  <c:v>55.776741096000002</c:v>
                </c:pt>
                <c:pt idx="3774">
                  <c:v>55.802408756289999</c:v>
                </c:pt>
                <c:pt idx="3775">
                  <c:v>55.663886817129999</c:v>
                </c:pt>
                <c:pt idx="3776">
                  <c:v>55.65162984781</c:v>
                </c:pt>
                <c:pt idx="3777">
                  <c:v>55.700743813309998</c:v>
                </c:pt>
                <c:pt idx="3778">
                  <c:v>55.691782943620005</c:v>
                </c:pt>
                <c:pt idx="3779">
                  <c:v>55.677136952680002</c:v>
                </c:pt>
                <c:pt idx="3780">
                  <c:v>55.690605225300004</c:v>
                </c:pt>
                <c:pt idx="3781">
                  <c:v>55.680749362010005</c:v>
                </c:pt>
                <c:pt idx="3782">
                  <c:v>55.647375170869999</c:v>
                </c:pt>
                <c:pt idx="3783">
                  <c:v>55.650111749040001</c:v>
                </c:pt>
                <c:pt idx="3784">
                  <c:v>55.650270616189999</c:v>
                </c:pt>
                <c:pt idx="3785">
                  <c:v>55.644790875449999</c:v>
                </c:pt>
                <c:pt idx="3786">
                  <c:v>55.606136920360001</c:v>
                </c:pt>
                <c:pt idx="3787">
                  <c:v>55.598060654039998</c:v>
                </c:pt>
                <c:pt idx="3788">
                  <c:v>55.732804986839994</c:v>
                </c:pt>
                <c:pt idx="3789">
                  <c:v>55.731758062680001</c:v>
                </c:pt>
                <c:pt idx="3790">
                  <c:v>55.687539907489999</c:v>
                </c:pt>
                <c:pt idx="3791">
                  <c:v>55.687943876769999</c:v>
                </c:pt>
                <c:pt idx="3792">
                  <c:v>55.692761243100001</c:v>
                </c:pt>
                <c:pt idx="3793">
                  <c:v>55.437467436089996</c:v>
                </c:pt>
                <c:pt idx="3794">
                  <c:v>55.301015622839998</c:v>
                </c:pt>
                <c:pt idx="3795">
                  <c:v>55.291273179480001</c:v>
                </c:pt>
                <c:pt idx="3796">
                  <c:v>55.183154671199993</c:v>
                </c:pt>
                <c:pt idx="3797">
                  <c:v>55.260314831350001</c:v>
                </c:pt>
                <c:pt idx="3798">
                  <c:v>55.255440739980003</c:v>
                </c:pt>
                <c:pt idx="3799">
                  <c:v>55.261991886110003</c:v>
                </c:pt>
                <c:pt idx="3800">
                  <c:v>55.406196247929998</c:v>
                </c:pt>
                <c:pt idx="3801">
                  <c:v>55.44807849587</c:v>
                </c:pt>
                <c:pt idx="3802">
                  <c:v>55.494947535129995</c:v>
                </c:pt>
                <c:pt idx="3803">
                  <c:v>55.492374402750002</c:v>
                </c:pt>
                <c:pt idx="3804">
                  <c:v>55.406812588370002</c:v>
                </c:pt>
                <c:pt idx="3805">
                  <c:v>55.598411748839993</c:v>
                </c:pt>
                <c:pt idx="3806">
                  <c:v>55.611527528140002</c:v>
                </c:pt>
                <c:pt idx="3807">
                  <c:v>55.5824767987</c:v>
                </c:pt>
                <c:pt idx="3808">
                  <c:v>55.455783511139998</c:v>
                </c:pt>
                <c:pt idx="3809">
                  <c:v>55.449130832290003</c:v>
                </c:pt>
                <c:pt idx="3810">
                  <c:v>55.42312551146</c:v>
                </c:pt>
                <c:pt idx="3811">
                  <c:v>55.720530471499998</c:v>
                </c:pt>
                <c:pt idx="3812">
                  <c:v>55.739264133970003</c:v>
                </c:pt>
                <c:pt idx="3813">
                  <c:v>55.744552553489996</c:v>
                </c:pt>
                <c:pt idx="3814">
                  <c:v>55.715521312610001</c:v>
                </c:pt>
                <c:pt idx="3815">
                  <c:v>55.608943469620002</c:v>
                </c:pt>
                <c:pt idx="3816">
                  <c:v>55.594757347190004</c:v>
                </c:pt>
                <c:pt idx="3817">
                  <c:v>55.589621605050006</c:v>
                </c:pt>
                <c:pt idx="3818">
                  <c:v>55.582701738400004</c:v>
                </c:pt>
                <c:pt idx="3819">
                  <c:v>55.514637500760003</c:v>
                </c:pt>
                <c:pt idx="3820">
                  <c:v>55.518352943959997</c:v>
                </c:pt>
                <c:pt idx="3821">
                  <c:v>55.510211245709996</c:v>
                </c:pt>
                <c:pt idx="3822">
                  <c:v>55.520046095790001</c:v>
                </c:pt>
                <c:pt idx="3823">
                  <c:v>55.556724114110004</c:v>
                </c:pt>
                <c:pt idx="3824">
                  <c:v>55.569504775349998</c:v>
                </c:pt>
                <c:pt idx="3825">
                  <c:v>55.559522190709998</c:v>
                </c:pt>
                <c:pt idx="3826">
                  <c:v>55.682660370309996</c:v>
                </c:pt>
                <c:pt idx="3827">
                  <c:v>55.645062191039997</c:v>
                </c:pt>
                <c:pt idx="3828">
                  <c:v>55.644111619919997</c:v>
                </c:pt>
                <c:pt idx="3829">
                  <c:v>55.998353773680002</c:v>
                </c:pt>
                <c:pt idx="3830">
                  <c:v>55.927396857910004</c:v>
                </c:pt>
                <c:pt idx="3831">
                  <c:v>56.41727478987</c:v>
                </c:pt>
                <c:pt idx="3832">
                  <c:v>56.507512155620006</c:v>
                </c:pt>
                <c:pt idx="3833">
                  <c:v>56.490631737889998</c:v>
                </c:pt>
                <c:pt idx="3834">
                  <c:v>56.494468343660003</c:v>
                </c:pt>
                <c:pt idx="3835">
                  <c:v>56.494509154559999</c:v>
                </c:pt>
                <c:pt idx="3836">
                  <c:v>56.403860951459997</c:v>
                </c:pt>
                <c:pt idx="3837">
                  <c:v>56.003700461900003</c:v>
                </c:pt>
                <c:pt idx="3838">
                  <c:v>55.994791415960002</c:v>
                </c:pt>
                <c:pt idx="3839">
                  <c:v>55.982716278570003</c:v>
                </c:pt>
                <c:pt idx="3840">
                  <c:v>55.951449084220002</c:v>
                </c:pt>
                <c:pt idx="3841">
                  <c:v>55.936691884559998</c:v>
                </c:pt>
                <c:pt idx="3842">
                  <c:v>55.911293560379995</c:v>
                </c:pt>
                <c:pt idx="3843">
                  <c:v>55.901214856669995</c:v>
                </c:pt>
                <c:pt idx="3844">
                  <c:v>55.969538763209997</c:v>
                </c:pt>
                <c:pt idx="3845">
                  <c:v>55.992762235569998</c:v>
                </c:pt>
                <c:pt idx="3846">
                  <c:v>56.021454042789998</c:v>
                </c:pt>
                <c:pt idx="3847">
                  <c:v>56.009789329440004</c:v>
                </c:pt>
                <c:pt idx="3848">
                  <c:v>56.702592143780002</c:v>
                </c:pt>
                <c:pt idx="3849">
                  <c:v>56.638086444060001</c:v>
                </c:pt>
                <c:pt idx="3850">
                  <c:v>56.629156235769997</c:v>
                </c:pt>
                <c:pt idx="3851">
                  <c:v>56.633817457669998</c:v>
                </c:pt>
                <c:pt idx="3852">
                  <c:v>56.632810170859997</c:v>
                </c:pt>
                <c:pt idx="3853">
                  <c:v>56.628194749350001</c:v>
                </c:pt>
                <c:pt idx="3854">
                  <c:v>56.638646968059994</c:v>
                </c:pt>
                <c:pt idx="3855">
                  <c:v>56.605861176059996</c:v>
                </c:pt>
                <c:pt idx="3856">
                  <c:v>56.612511877129997</c:v>
                </c:pt>
                <c:pt idx="3857">
                  <c:v>56.622505854570001</c:v>
                </c:pt>
                <c:pt idx="3858">
                  <c:v>56.62558369696</c:v>
                </c:pt>
                <c:pt idx="3859">
                  <c:v>56.624944975250003</c:v>
                </c:pt>
                <c:pt idx="3860">
                  <c:v>56.675103034320003</c:v>
                </c:pt>
                <c:pt idx="3861">
                  <c:v>56.718663487290002</c:v>
                </c:pt>
                <c:pt idx="3862">
                  <c:v>56.732510910169999</c:v>
                </c:pt>
                <c:pt idx="3863">
                  <c:v>56.743930704410005</c:v>
                </c:pt>
                <c:pt idx="3864">
                  <c:v>56.746154317540004</c:v>
                </c:pt>
                <c:pt idx="3865">
                  <c:v>57.542908165309996</c:v>
                </c:pt>
                <c:pt idx="3866">
                  <c:v>57.564160977850001</c:v>
                </c:pt>
                <c:pt idx="3867">
                  <c:v>57.561109015330004</c:v>
                </c:pt>
                <c:pt idx="3868">
                  <c:v>58.536104183459997</c:v>
                </c:pt>
                <c:pt idx="3869">
                  <c:v>58.820750014940003</c:v>
                </c:pt>
                <c:pt idx="3870">
                  <c:v>58.749338233650001</c:v>
                </c:pt>
                <c:pt idx="3871">
                  <c:v>58.743292510860002</c:v>
                </c:pt>
                <c:pt idx="3872">
                  <c:v>58.75288380752</c:v>
                </c:pt>
                <c:pt idx="3873">
                  <c:v>58.760687779649999</c:v>
                </c:pt>
                <c:pt idx="3874">
                  <c:v>58.766298338079999</c:v>
                </c:pt>
                <c:pt idx="3875">
                  <c:v>58.79881987353</c:v>
                </c:pt>
                <c:pt idx="3876">
                  <c:v>58.747917800570001</c:v>
                </c:pt>
                <c:pt idx="3877">
                  <c:v>58.710214649640001</c:v>
                </c:pt>
                <c:pt idx="3878">
                  <c:v>58.6981544434</c:v>
                </c:pt>
                <c:pt idx="3879">
                  <c:v>58.688681658809998</c:v>
                </c:pt>
                <c:pt idx="3880">
                  <c:v>58.624084916809998</c:v>
                </c:pt>
                <c:pt idx="3881">
                  <c:v>58.473954406289998</c:v>
                </c:pt>
                <c:pt idx="3882">
                  <c:v>58.714397376440004</c:v>
                </c:pt>
                <c:pt idx="3883">
                  <c:v>58.720579249970001</c:v>
                </c:pt>
                <c:pt idx="3884">
                  <c:v>58.765751673250001</c:v>
                </c:pt>
                <c:pt idx="3885">
                  <c:v>58.742694162769993</c:v>
                </c:pt>
                <c:pt idx="3886">
                  <c:v>58.74102317413</c:v>
                </c:pt>
                <c:pt idx="3887">
                  <c:v>58.698258195199998</c:v>
                </c:pt>
                <c:pt idx="3888">
                  <c:v>58.697079700529997</c:v>
                </c:pt>
                <c:pt idx="3889">
                  <c:v>58.704320510599999</c:v>
                </c:pt>
                <c:pt idx="3890">
                  <c:v>58.819647278220003</c:v>
                </c:pt>
                <c:pt idx="3891">
                  <c:v>58.705798488260001</c:v>
                </c:pt>
                <c:pt idx="3892">
                  <c:v>58.71722662122</c:v>
                </c:pt>
                <c:pt idx="3893">
                  <c:v>58.717641995820003</c:v>
                </c:pt>
                <c:pt idx="3894">
                  <c:v>58.742400547309998</c:v>
                </c:pt>
                <c:pt idx="3895">
                  <c:v>58.747694441109999</c:v>
                </c:pt>
                <c:pt idx="3896">
                  <c:v>58.767849873949999</c:v>
                </c:pt>
                <c:pt idx="3897">
                  <c:v>58.767750444709996</c:v>
                </c:pt>
                <c:pt idx="3898">
                  <c:v>58.685524381900002</c:v>
                </c:pt>
                <c:pt idx="3899">
                  <c:v>58.821017257690002</c:v>
                </c:pt>
                <c:pt idx="3900">
                  <c:v>58.783035210000001</c:v>
                </c:pt>
                <c:pt idx="3901">
                  <c:v>58.777885869510001</c:v>
                </c:pt>
                <c:pt idx="3902">
                  <c:v>58.817633767220002</c:v>
                </c:pt>
                <c:pt idx="3903">
                  <c:v>58.824147352259999</c:v>
                </c:pt>
                <c:pt idx="3904">
                  <c:v>58.88794859307</c:v>
                </c:pt>
                <c:pt idx="3905">
                  <c:v>58.891062357279999</c:v>
                </c:pt>
                <c:pt idx="3906">
                  <c:v>58.883451391419996</c:v>
                </c:pt>
                <c:pt idx="3907">
                  <c:v>58.882726047769999</c:v>
                </c:pt>
                <c:pt idx="3908">
                  <c:v>58.885218642489995</c:v>
                </c:pt>
                <c:pt idx="3909">
                  <c:v>58.839917811399999</c:v>
                </c:pt>
                <c:pt idx="3910">
                  <c:v>58.813885614120004</c:v>
                </c:pt>
                <c:pt idx="3911">
                  <c:v>58.807752241019998</c:v>
                </c:pt>
                <c:pt idx="3912">
                  <c:v>58.807375049470004</c:v>
                </c:pt>
                <c:pt idx="3913">
                  <c:v>58.82928842826</c:v>
                </c:pt>
                <c:pt idx="3914">
                  <c:v>58.766308577260006</c:v>
                </c:pt>
                <c:pt idx="3915">
                  <c:v>58.756268704870003</c:v>
                </c:pt>
                <c:pt idx="3916">
                  <c:v>58.768022005639999</c:v>
                </c:pt>
                <c:pt idx="3917">
                  <c:v>58.780786148940003</c:v>
                </c:pt>
                <c:pt idx="3918">
                  <c:v>58.78618415631</c:v>
                </c:pt>
                <c:pt idx="3919">
                  <c:v>58.69082204571</c:v>
                </c:pt>
                <c:pt idx="3920">
                  <c:v>58.540971216370004</c:v>
                </c:pt>
                <c:pt idx="3921">
                  <c:v>58.520515796749997</c:v>
                </c:pt>
                <c:pt idx="3922">
                  <c:v>58.513187212570003</c:v>
                </c:pt>
                <c:pt idx="3923">
                  <c:v>58.51068770466</c:v>
                </c:pt>
                <c:pt idx="3924">
                  <c:v>58.535817051209996</c:v>
                </c:pt>
                <c:pt idx="3925">
                  <c:v>58.465773692870002</c:v>
                </c:pt>
                <c:pt idx="3926">
                  <c:v>58.564457601210002</c:v>
                </c:pt>
                <c:pt idx="3927">
                  <c:v>58.580000147900002</c:v>
                </c:pt>
                <c:pt idx="3928">
                  <c:v>58.61765631678</c:v>
                </c:pt>
                <c:pt idx="3929">
                  <c:v>58.742108763360001</c:v>
                </c:pt>
                <c:pt idx="3930">
                  <c:v>58.736032436469998</c:v>
                </c:pt>
                <c:pt idx="3931">
                  <c:v>58.741960780459998</c:v>
                </c:pt>
                <c:pt idx="3932">
                  <c:v>58.731880282919995</c:v>
                </c:pt>
                <c:pt idx="3933">
                  <c:v>58.719906247609998</c:v>
                </c:pt>
                <c:pt idx="3934">
                  <c:v>58.772809393610004</c:v>
                </c:pt>
                <c:pt idx="3935">
                  <c:v>58.728556889239997</c:v>
                </c:pt>
                <c:pt idx="3936">
                  <c:v>58.626683146080005</c:v>
                </c:pt>
                <c:pt idx="3937">
                  <c:v>58.643938204849995</c:v>
                </c:pt>
                <c:pt idx="3938">
                  <c:v>58.643132379440004</c:v>
                </c:pt>
                <c:pt idx="3939">
                  <c:v>58.637614216699994</c:v>
                </c:pt>
                <c:pt idx="3940">
                  <c:v>58.644140333849997</c:v>
                </c:pt>
                <c:pt idx="3941">
                  <c:v>58.59598426726</c:v>
                </c:pt>
                <c:pt idx="3942">
                  <c:v>58.713710672429997</c:v>
                </c:pt>
                <c:pt idx="3943">
                  <c:v>58.402883779429999</c:v>
                </c:pt>
                <c:pt idx="3944">
                  <c:v>58.445694346650001</c:v>
                </c:pt>
                <c:pt idx="3945">
                  <c:v>58.438090414120005</c:v>
                </c:pt>
                <c:pt idx="3946">
                  <c:v>58.436775847029999</c:v>
                </c:pt>
                <c:pt idx="3947">
                  <c:v>58.448474890230003</c:v>
                </c:pt>
                <c:pt idx="3948">
                  <c:v>58.436503072080001</c:v>
                </c:pt>
                <c:pt idx="3949">
                  <c:v>58.438162791910003</c:v>
                </c:pt>
                <c:pt idx="3950">
                  <c:v>58.469761358829999</c:v>
                </c:pt>
                <c:pt idx="3951">
                  <c:v>58.480888947220002</c:v>
                </c:pt>
                <c:pt idx="3952">
                  <c:v>58.687527174699994</c:v>
                </c:pt>
                <c:pt idx="3953">
                  <c:v>58.675052146629994</c:v>
                </c:pt>
                <c:pt idx="3954">
                  <c:v>58.661509887569999</c:v>
                </c:pt>
                <c:pt idx="3955">
                  <c:v>58.656925266019996</c:v>
                </c:pt>
                <c:pt idx="3956">
                  <c:v>58.610560933230005</c:v>
                </c:pt>
                <c:pt idx="3957">
                  <c:v>58.697643723160006</c:v>
                </c:pt>
                <c:pt idx="3958">
                  <c:v>58.691723948000003</c:v>
                </c:pt>
                <c:pt idx="3959">
                  <c:v>58.684308117910007</c:v>
                </c:pt>
                <c:pt idx="3960">
                  <c:v>58.677127726720002</c:v>
                </c:pt>
                <c:pt idx="3961">
                  <c:v>58.681019952589999</c:v>
                </c:pt>
                <c:pt idx="3962">
                  <c:v>58.684618797879999</c:v>
                </c:pt>
                <c:pt idx="3963">
                  <c:v>58.572822993439999</c:v>
                </c:pt>
                <c:pt idx="3964">
                  <c:v>58.574507176140003</c:v>
                </c:pt>
                <c:pt idx="3965">
                  <c:v>58.668329487379999</c:v>
                </c:pt>
                <c:pt idx="3966">
                  <c:v>58.595297127670001</c:v>
                </c:pt>
                <c:pt idx="3967">
                  <c:v>58.59021448363</c:v>
                </c:pt>
                <c:pt idx="3968">
                  <c:v>58.586264008410005</c:v>
                </c:pt>
                <c:pt idx="3969">
                  <c:v>58.644226811929997</c:v>
                </c:pt>
                <c:pt idx="3970">
                  <c:v>58.635899726080005</c:v>
                </c:pt>
                <c:pt idx="3971">
                  <c:v>58.636100583769995</c:v>
                </c:pt>
                <c:pt idx="3972">
                  <c:v>58.683222776300006</c:v>
                </c:pt>
                <c:pt idx="3973">
                  <c:v>58.68056339132</c:v>
                </c:pt>
                <c:pt idx="3974">
                  <c:v>58.670458028719999</c:v>
                </c:pt>
                <c:pt idx="3975">
                  <c:v>58.667301619930001</c:v>
                </c:pt>
                <c:pt idx="3976">
                  <c:v>58.652446555620003</c:v>
                </c:pt>
                <c:pt idx="3977">
                  <c:v>58.602789135449996</c:v>
                </c:pt>
                <c:pt idx="3978">
                  <c:v>58.556394145169996</c:v>
                </c:pt>
                <c:pt idx="3979">
                  <c:v>58.580884426760001</c:v>
                </c:pt>
                <c:pt idx="3980">
                  <c:v>58.625619185269997</c:v>
                </c:pt>
                <c:pt idx="3981">
                  <c:v>58.628390099739995</c:v>
                </c:pt>
                <c:pt idx="3982">
                  <c:v>58.620626119050002</c:v>
                </c:pt>
                <c:pt idx="3983">
                  <c:v>58.607242270410005</c:v>
                </c:pt>
                <c:pt idx="3984">
                  <c:v>58.603383058650003</c:v>
                </c:pt>
                <c:pt idx="3985">
                  <c:v>58.598588978190001</c:v>
                </c:pt>
                <c:pt idx="3986">
                  <c:v>58.859054163069999</c:v>
                </c:pt>
                <c:pt idx="3987">
                  <c:v>58.84734393219</c:v>
                </c:pt>
                <c:pt idx="3988">
                  <c:v>58.83986250553</c:v>
                </c:pt>
                <c:pt idx="3989">
                  <c:v>58.885235759669996</c:v>
                </c:pt>
                <c:pt idx="3990">
                  <c:v>58.901869361389998</c:v>
                </c:pt>
                <c:pt idx="3991">
                  <c:v>58.89996507107</c:v>
                </c:pt>
                <c:pt idx="3992">
                  <c:v>58.815591471579999</c:v>
                </c:pt>
                <c:pt idx="3993">
                  <c:v>58.7912232085</c:v>
                </c:pt>
                <c:pt idx="3994">
                  <c:v>58.708516663089995</c:v>
                </c:pt>
                <c:pt idx="3995">
                  <c:v>58.814164593539999</c:v>
                </c:pt>
                <c:pt idx="3996">
                  <c:v>58.783542949379999</c:v>
                </c:pt>
                <c:pt idx="3997">
                  <c:v>58.647861681819997</c:v>
                </c:pt>
                <c:pt idx="3998">
                  <c:v>58.600683396150004</c:v>
                </c:pt>
                <c:pt idx="3999">
                  <c:v>58.601662718269999</c:v>
                </c:pt>
                <c:pt idx="4000">
                  <c:v>58.670787040279997</c:v>
                </c:pt>
                <c:pt idx="4001">
                  <c:v>58.663476156670001</c:v>
                </c:pt>
                <c:pt idx="4002">
                  <c:v>58.681589065929998</c:v>
                </c:pt>
                <c:pt idx="4003">
                  <c:v>58.53490778986</c:v>
                </c:pt>
                <c:pt idx="4004">
                  <c:v>58.508046046059995</c:v>
                </c:pt>
                <c:pt idx="4005">
                  <c:v>58.521501773209998</c:v>
                </c:pt>
                <c:pt idx="4006">
                  <c:v>58.534133629140001</c:v>
                </c:pt>
                <c:pt idx="4007">
                  <c:v>58.72940091105</c:v>
                </c:pt>
                <c:pt idx="4008">
                  <c:v>58.755019767219999</c:v>
                </c:pt>
                <c:pt idx="4009">
                  <c:v>58.778551095480005</c:v>
                </c:pt>
                <c:pt idx="4010">
                  <c:v>59.725787261480001</c:v>
                </c:pt>
                <c:pt idx="4011">
                  <c:v>59.79197962301</c:v>
                </c:pt>
                <c:pt idx="4012">
                  <c:v>60.438478981690004</c:v>
                </c:pt>
                <c:pt idx="4013">
                  <c:v>60.396891038269999</c:v>
                </c:pt>
                <c:pt idx="4014">
                  <c:v>60.399660307989997</c:v>
                </c:pt>
                <c:pt idx="4015">
                  <c:v>60.568601190919999</c:v>
                </c:pt>
                <c:pt idx="4016">
                  <c:v>60.609429146879997</c:v>
                </c:pt>
                <c:pt idx="4017">
                  <c:v>60.629910649199999</c:v>
                </c:pt>
                <c:pt idx="4018">
                  <c:v>60.567719128980002</c:v>
                </c:pt>
                <c:pt idx="4019">
                  <c:v>60.643632982370001</c:v>
                </c:pt>
                <c:pt idx="4020">
                  <c:v>60.661748361910007</c:v>
                </c:pt>
                <c:pt idx="4021">
                  <c:v>60.656885320900003</c:v>
                </c:pt>
                <c:pt idx="4022">
                  <c:v>60.676927542670001</c:v>
                </c:pt>
                <c:pt idx="4023">
                  <c:v>60.581052070089996</c:v>
                </c:pt>
                <c:pt idx="4024">
                  <c:v>60.498636196010004</c:v>
                </c:pt>
                <c:pt idx="4025">
                  <c:v>60.632839713080003</c:v>
                </c:pt>
                <c:pt idx="4026">
                  <c:v>60.62763334217</c:v>
                </c:pt>
                <c:pt idx="4027">
                  <c:v>60.6002095224</c:v>
                </c:pt>
                <c:pt idx="4028">
                  <c:v>60.590401507400003</c:v>
                </c:pt>
                <c:pt idx="4029">
                  <c:v>60.599046084219999</c:v>
                </c:pt>
                <c:pt idx="4030">
                  <c:v>60.590973728199998</c:v>
                </c:pt>
                <c:pt idx="4031">
                  <c:v>60.596720137540004</c:v>
                </c:pt>
                <c:pt idx="4032">
                  <c:v>60.596816236260004</c:v>
                </c:pt>
                <c:pt idx="4033">
                  <c:v>60.696208559429998</c:v>
                </c:pt>
                <c:pt idx="4034">
                  <c:v>60.69542349756</c:v>
                </c:pt>
                <c:pt idx="4035">
                  <c:v>60.690661381129999</c:v>
                </c:pt>
                <c:pt idx="4036">
                  <c:v>60.69006393611</c:v>
                </c:pt>
                <c:pt idx="4037">
                  <c:v>60.68166723057</c:v>
                </c:pt>
                <c:pt idx="4038">
                  <c:v>60.625728797279997</c:v>
                </c:pt>
                <c:pt idx="4039">
                  <c:v>60.628676156769998</c:v>
                </c:pt>
                <c:pt idx="4040">
                  <c:v>60.638451963960001</c:v>
                </c:pt>
                <c:pt idx="4041">
                  <c:v>60.646558962650005</c:v>
                </c:pt>
                <c:pt idx="4042">
                  <c:v>60.707565703859999</c:v>
                </c:pt>
                <c:pt idx="4043">
                  <c:v>60.538506910290003</c:v>
                </c:pt>
                <c:pt idx="4044">
                  <c:v>60.646036021769994</c:v>
                </c:pt>
                <c:pt idx="4045">
                  <c:v>60.630003199309996</c:v>
                </c:pt>
                <c:pt idx="4046">
                  <c:v>66.511334208029993</c:v>
                </c:pt>
                <c:pt idx="4047">
                  <c:v>60.617146411230003</c:v>
                </c:pt>
                <c:pt idx="4048">
                  <c:v>60.639945842209997</c:v>
                </c:pt>
                <c:pt idx="4049">
                  <c:v>60.629855402170001</c:v>
                </c:pt>
                <c:pt idx="4050">
                  <c:v>60.63281687149</c:v>
                </c:pt>
                <c:pt idx="4051">
                  <c:v>60.621835735940003</c:v>
                </c:pt>
                <c:pt idx="4052">
                  <c:v>60.621678233250002</c:v>
                </c:pt>
                <c:pt idx="4053">
                  <c:v>60.600422741269995</c:v>
                </c:pt>
                <c:pt idx="4054">
                  <c:v>60.60151579379</c:v>
                </c:pt>
                <c:pt idx="4055">
                  <c:v>61.143052535900004</c:v>
                </c:pt>
                <c:pt idx="4056">
                  <c:v>61.131084231759999</c:v>
                </c:pt>
                <c:pt idx="4057">
                  <c:v>61.052495432709996</c:v>
                </c:pt>
                <c:pt idx="4058">
                  <c:v>61.04933463815</c:v>
                </c:pt>
                <c:pt idx="4059">
                  <c:v>61.002937256309998</c:v>
                </c:pt>
                <c:pt idx="4060">
                  <c:v>61.320411411670001</c:v>
                </c:pt>
                <c:pt idx="4061">
                  <c:v>61.352794701730005</c:v>
                </c:pt>
                <c:pt idx="4062">
                  <c:v>61.324820878010001</c:v>
                </c:pt>
                <c:pt idx="4063">
                  <c:v>61.327364299379994</c:v>
                </c:pt>
                <c:pt idx="4064">
                  <c:v>61.2543469859</c:v>
                </c:pt>
                <c:pt idx="4065">
                  <c:v>61.21028285045</c:v>
                </c:pt>
                <c:pt idx="4066">
                  <c:v>61.374622270089993</c:v>
                </c:pt>
                <c:pt idx="4067">
                  <c:v>61.13497214745</c:v>
                </c:pt>
                <c:pt idx="4068">
                  <c:v>61.228310760800007</c:v>
                </c:pt>
                <c:pt idx="4069">
                  <c:v>61.256446979149999</c:v>
                </c:pt>
                <c:pt idx="4070">
                  <c:v>61.205941795449995</c:v>
                </c:pt>
                <c:pt idx="4071">
                  <c:v>61.210822865980006</c:v>
                </c:pt>
                <c:pt idx="4072">
                  <c:v>61.208003064319996</c:v>
                </c:pt>
                <c:pt idx="4073">
                  <c:v>61.200994686329999</c:v>
                </c:pt>
                <c:pt idx="4074">
                  <c:v>61.203313440819997</c:v>
                </c:pt>
                <c:pt idx="4075">
                  <c:v>61.220186329309996</c:v>
                </c:pt>
                <c:pt idx="4076">
                  <c:v>61.224567496070001</c:v>
                </c:pt>
                <c:pt idx="4077">
                  <c:v>61.281080724279995</c:v>
                </c:pt>
                <c:pt idx="4078">
                  <c:v>61.280376010669997</c:v>
                </c:pt>
                <c:pt idx="4079">
                  <c:v>59.156495896410007</c:v>
                </c:pt>
                <c:pt idx="4080">
                  <c:v>59.135451880830004</c:v>
                </c:pt>
                <c:pt idx="4081">
                  <c:v>59.113322060400002</c:v>
                </c:pt>
                <c:pt idx="4082">
                  <c:v>59.113322305360001</c:v>
                </c:pt>
                <c:pt idx="4083">
                  <c:v>59.129430592529999</c:v>
                </c:pt>
                <c:pt idx="4084">
                  <c:v>59.29892646743</c:v>
                </c:pt>
                <c:pt idx="4085">
                  <c:v>59.03834934268</c:v>
                </c:pt>
                <c:pt idx="4086">
                  <c:v>59.029927120789999</c:v>
                </c:pt>
                <c:pt idx="4087">
                  <c:v>59.030221170319997</c:v>
                </c:pt>
                <c:pt idx="4088">
                  <c:v>58.855793771510001</c:v>
                </c:pt>
                <c:pt idx="4089">
                  <c:v>58.723514692209996</c:v>
                </c:pt>
                <c:pt idx="4090">
                  <c:v>58.716350160650002</c:v>
                </c:pt>
                <c:pt idx="4091">
                  <c:v>58.793109236410004</c:v>
                </c:pt>
                <c:pt idx="4092">
                  <c:v>58.828368849059999</c:v>
                </c:pt>
                <c:pt idx="4093">
                  <c:v>58.822690888579999</c:v>
                </c:pt>
                <c:pt idx="4094">
                  <c:v>58.801300519129995</c:v>
                </c:pt>
                <c:pt idx="4095">
                  <c:v>58.813939790019994</c:v>
                </c:pt>
                <c:pt idx="4096">
                  <c:v>58.794470474069996</c:v>
                </c:pt>
                <c:pt idx="4097">
                  <c:v>58.792848374499997</c:v>
                </c:pt>
                <c:pt idx="4098">
                  <c:v>58.785040461470004</c:v>
                </c:pt>
                <c:pt idx="4099">
                  <c:v>60.847263480190001</c:v>
                </c:pt>
                <c:pt idx="4100">
                  <c:v>60.860811522569996</c:v>
                </c:pt>
                <c:pt idx="4101">
                  <c:v>60.830395078589994</c:v>
                </c:pt>
                <c:pt idx="4102">
                  <c:v>60.828291961630001</c:v>
                </c:pt>
                <c:pt idx="4103">
                  <c:v>60.879636914230005</c:v>
                </c:pt>
                <c:pt idx="4104">
                  <c:v>60.872936241890002</c:v>
                </c:pt>
                <c:pt idx="4105">
                  <c:v>60.796863854489999</c:v>
                </c:pt>
                <c:pt idx="4106">
                  <c:v>60.764679925230006</c:v>
                </c:pt>
                <c:pt idx="4107">
                  <c:v>60.762857673550002</c:v>
                </c:pt>
                <c:pt idx="4108">
                  <c:v>60.763186937210001</c:v>
                </c:pt>
                <c:pt idx="4109">
                  <c:v>60.933345868849997</c:v>
                </c:pt>
                <c:pt idx="4110">
                  <c:v>60.909858037669999</c:v>
                </c:pt>
                <c:pt idx="4111">
                  <c:v>60.864395171269997</c:v>
                </c:pt>
                <c:pt idx="4112">
                  <c:v>60.862179957030001</c:v>
                </c:pt>
                <c:pt idx="4113">
                  <c:v>60.875316623739998</c:v>
                </c:pt>
                <c:pt idx="4114">
                  <c:v>60.863627267600002</c:v>
                </c:pt>
                <c:pt idx="4115">
                  <c:v>60.843212573149998</c:v>
                </c:pt>
                <c:pt idx="4116">
                  <c:v>60.696806275940006</c:v>
                </c:pt>
                <c:pt idx="4117">
                  <c:v>60.667384059839996</c:v>
                </c:pt>
                <c:pt idx="4118">
                  <c:v>60.626953508349999</c:v>
                </c:pt>
                <c:pt idx="4119">
                  <c:v>60.624260871029996</c:v>
                </c:pt>
                <c:pt idx="4120">
                  <c:v>64.946628037869999</c:v>
                </c:pt>
                <c:pt idx="4121">
                  <c:v>64.951774780459999</c:v>
                </c:pt>
                <c:pt idx="4122">
                  <c:v>64.955721401169995</c:v>
                </c:pt>
                <c:pt idx="4123">
                  <c:v>64.954743424040004</c:v>
                </c:pt>
                <c:pt idx="4124">
                  <c:v>64.947275853139999</c:v>
                </c:pt>
                <c:pt idx="4125">
                  <c:v>64.944851766439996</c:v>
                </c:pt>
                <c:pt idx="4126">
                  <c:v>64.93430063465</c:v>
                </c:pt>
                <c:pt idx="4127">
                  <c:v>64.810523211269995</c:v>
                </c:pt>
                <c:pt idx="4128">
                  <c:v>64.855892133840001</c:v>
                </c:pt>
                <c:pt idx="4129">
                  <c:v>64.854973493480003</c:v>
                </c:pt>
                <c:pt idx="4130">
                  <c:v>65.005703205079996</c:v>
                </c:pt>
                <c:pt idx="4131">
                  <c:v>65.006567181980003</c:v>
                </c:pt>
                <c:pt idx="4132">
                  <c:v>65.067662230690004</c:v>
                </c:pt>
                <c:pt idx="4133">
                  <c:v>65.162107502210006</c:v>
                </c:pt>
                <c:pt idx="4134">
                  <c:v>65.155730460910007</c:v>
                </c:pt>
                <c:pt idx="4135">
                  <c:v>65.169027186709997</c:v>
                </c:pt>
                <c:pt idx="4136">
                  <c:v>65.218982667909998</c:v>
                </c:pt>
                <c:pt idx="4137">
                  <c:v>65.241210508980004</c:v>
                </c:pt>
                <c:pt idx="4138">
                  <c:v>65.168641587249994</c:v>
                </c:pt>
                <c:pt idx="4139">
                  <c:v>65.16335842494999</c:v>
                </c:pt>
                <c:pt idx="4140">
                  <c:v>65.173519225749999</c:v>
                </c:pt>
                <c:pt idx="4141">
                  <c:v>65.190079648669993</c:v>
                </c:pt>
                <c:pt idx="4142">
                  <c:v>65.12954116601</c:v>
                </c:pt>
                <c:pt idx="4143">
                  <c:v>65.111153318470002</c:v>
                </c:pt>
                <c:pt idx="4144">
                  <c:v>65.109050579490003</c:v>
                </c:pt>
                <c:pt idx="4145">
                  <c:v>65.139414147379995</c:v>
                </c:pt>
                <c:pt idx="4146">
                  <c:v>65.060877305960005</c:v>
                </c:pt>
                <c:pt idx="4147">
                  <c:v>64.977930571740004</c:v>
                </c:pt>
                <c:pt idx="4148">
                  <c:v>64.816510698439998</c:v>
                </c:pt>
                <c:pt idx="4149">
                  <c:v>64.811059748329996</c:v>
                </c:pt>
                <c:pt idx="4150">
                  <c:v>65.122670765730007</c:v>
                </c:pt>
                <c:pt idx="4151">
                  <c:v>65.120846426580002</c:v>
                </c:pt>
                <c:pt idx="4152">
                  <c:v>65.186056199890004</c:v>
                </c:pt>
                <c:pt idx="4153">
                  <c:v>65.199185953539995</c:v>
                </c:pt>
                <c:pt idx="4154">
                  <c:v>65.25246757523</c:v>
                </c:pt>
                <c:pt idx="4155">
                  <c:v>65.266493881970007</c:v>
                </c:pt>
                <c:pt idx="4156">
                  <c:v>65.392802172940009</c:v>
                </c:pt>
                <c:pt idx="4157">
                  <c:v>65.634314427410004</c:v>
                </c:pt>
                <c:pt idx="4158">
                  <c:v>65.321494085289999</c:v>
                </c:pt>
                <c:pt idx="4159">
                  <c:v>65.32194933625</c:v>
                </c:pt>
                <c:pt idx="4160">
                  <c:v>65.325966942880001</c:v>
                </c:pt>
                <c:pt idx="4161">
                  <c:v>65.326027452679995</c:v>
                </c:pt>
                <c:pt idx="4162">
                  <c:v>65.32242565832</c:v>
                </c:pt>
                <c:pt idx="4163">
                  <c:v>65.292334208569997</c:v>
                </c:pt>
                <c:pt idx="4164">
                  <c:v>65.403477918519997</c:v>
                </c:pt>
                <c:pt idx="4165">
                  <c:v>65.367465528229999</c:v>
                </c:pt>
                <c:pt idx="4166">
                  <c:v>65.365552405139994</c:v>
                </c:pt>
                <c:pt idx="4167">
                  <c:v>65.391266367279997</c:v>
                </c:pt>
                <c:pt idx="4168">
                  <c:v>65.419274921899998</c:v>
                </c:pt>
                <c:pt idx="4169">
                  <c:v>65.406004563959996</c:v>
                </c:pt>
                <c:pt idx="4170">
                  <c:v>65.457197734129991</c:v>
                </c:pt>
                <c:pt idx="4171">
                  <c:v>65.448707076199995</c:v>
                </c:pt>
                <c:pt idx="4172">
                  <c:v>65.447066454540007</c:v>
                </c:pt>
                <c:pt idx="4173">
                  <c:v>65.426400637439997</c:v>
                </c:pt>
                <c:pt idx="4174">
                  <c:v>65.442278583260006</c:v>
                </c:pt>
                <c:pt idx="4175">
                  <c:v>65.395272934429997</c:v>
                </c:pt>
                <c:pt idx="4176">
                  <c:v>65.396331290860005</c:v>
                </c:pt>
                <c:pt idx="4177">
                  <c:v>65.40656315887999</c:v>
                </c:pt>
                <c:pt idx="4178">
                  <c:v>65.385051174790007</c:v>
                </c:pt>
                <c:pt idx="4179">
                  <c:v>65.440561965539999</c:v>
                </c:pt>
                <c:pt idx="4180">
                  <c:v>65.425330114659999</c:v>
                </c:pt>
                <c:pt idx="4181">
                  <c:v>65.41176899445</c:v>
                </c:pt>
                <c:pt idx="4182">
                  <c:v>65.417256474929999</c:v>
                </c:pt>
                <c:pt idx="4183">
                  <c:v>65.407691454919998</c:v>
                </c:pt>
                <c:pt idx="4184">
                  <c:v>65.429273265930007</c:v>
                </c:pt>
                <c:pt idx="4185">
                  <c:v>65.433566329489992</c:v>
                </c:pt>
                <c:pt idx="4186">
                  <c:v>65.739584710940008</c:v>
                </c:pt>
                <c:pt idx="4187">
                  <c:v>65.641515053069995</c:v>
                </c:pt>
                <c:pt idx="4188">
                  <c:v>65.635723628199997</c:v>
                </c:pt>
                <c:pt idx="4189">
                  <c:v>65.639163280809996</c:v>
                </c:pt>
                <c:pt idx="4190">
                  <c:v>65.628184414739991</c:v>
                </c:pt>
                <c:pt idx="4191">
                  <c:v>65.631368286470007</c:v>
                </c:pt>
                <c:pt idx="4192">
                  <c:v>65.251810373449999</c:v>
                </c:pt>
                <c:pt idx="4193">
                  <c:v>65.25799382916</c:v>
                </c:pt>
                <c:pt idx="4194">
                  <c:v>65.270535600719995</c:v>
                </c:pt>
                <c:pt idx="4195">
                  <c:v>65.439904271670002</c:v>
                </c:pt>
                <c:pt idx="4196">
                  <c:v>65.427809387270003</c:v>
                </c:pt>
                <c:pt idx="4197">
                  <c:v>65.345243729160003</c:v>
                </c:pt>
                <c:pt idx="4198">
                  <c:v>65.324313146549997</c:v>
                </c:pt>
                <c:pt idx="4199">
                  <c:v>65.315234489600002</c:v>
                </c:pt>
                <c:pt idx="4200">
                  <c:v>65.367355458440002</c:v>
                </c:pt>
                <c:pt idx="4201">
                  <c:v>65.333064385940006</c:v>
                </c:pt>
                <c:pt idx="4202">
                  <c:v>65.331744154769993</c:v>
                </c:pt>
                <c:pt idx="4203">
                  <c:v>65.382387455720007</c:v>
                </c:pt>
                <c:pt idx="4204">
                  <c:v>65.47446426098</c:v>
                </c:pt>
                <c:pt idx="4205">
                  <c:v>65.506362193409998</c:v>
                </c:pt>
                <c:pt idx="4206">
                  <c:v>65.514490730290007</c:v>
                </c:pt>
                <c:pt idx="4207">
                  <c:v>65.450290253519995</c:v>
                </c:pt>
                <c:pt idx="4208">
                  <c:v>65.439865060860001</c:v>
                </c:pt>
                <c:pt idx="4209">
                  <c:v>65.455345907570006</c:v>
                </c:pt>
                <c:pt idx="4210">
                  <c:v>65.535157758249994</c:v>
                </c:pt>
                <c:pt idx="4211">
                  <c:v>65.530411543149995</c:v>
                </c:pt>
                <c:pt idx="4212">
                  <c:v>65.411112818540005</c:v>
                </c:pt>
                <c:pt idx="4213">
                  <c:v>65.475711231139996</c:v>
                </c:pt>
                <c:pt idx="4214">
                  <c:v>65.43698624964</c:v>
                </c:pt>
                <c:pt idx="4215">
                  <c:v>65.434389784519993</c:v>
                </c:pt>
                <c:pt idx="4216">
                  <c:v>65.602593406910003</c:v>
                </c:pt>
                <c:pt idx="4217">
                  <c:v>65.5993510009</c:v>
                </c:pt>
                <c:pt idx="4218">
                  <c:v>65.687918032469995</c:v>
                </c:pt>
                <c:pt idx="4219">
                  <c:v>65.672373628979997</c:v>
                </c:pt>
                <c:pt idx="4220">
                  <c:v>65.72055046333</c:v>
                </c:pt>
                <c:pt idx="4221">
                  <c:v>65.732425879239997</c:v>
                </c:pt>
                <c:pt idx="4222">
                  <c:v>65.709303487720007</c:v>
                </c:pt>
                <c:pt idx="4223">
                  <c:v>65.817761258649995</c:v>
                </c:pt>
                <c:pt idx="4224">
                  <c:v>65.827549541850004</c:v>
                </c:pt>
                <c:pt idx="4225">
                  <c:v>65.820742560319999</c:v>
                </c:pt>
                <c:pt idx="4226">
                  <c:v>65.786171762080002</c:v>
                </c:pt>
                <c:pt idx="4227">
                  <c:v>65.723160082109999</c:v>
                </c:pt>
                <c:pt idx="4228">
                  <c:v>65.726247618740004</c:v>
                </c:pt>
                <c:pt idx="4229">
                  <c:v>65.807873638350003</c:v>
                </c:pt>
                <c:pt idx="4230">
                  <c:v>65.941119317770003</c:v>
                </c:pt>
                <c:pt idx="4231">
                  <c:v>65.936180251330001</c:v>
                </c:pt>
                <c:pt idx="4232">
                  <c:v>65.986666243610003</c:v>
                </c:pt>
                <c:pt idx="4233">
                  <c:v>65.842855589709998</c:v>
                </c:pt>
                <c:pt idx="4234">
                  <c:v>65.821733240629996</c:v>
                </c:pt>
                <c:pt idx="4235">
                  <c:v>65.61185464914</c:v>
                </c:pt>
                <c:pt idx="4236">
                  <c:v>65.69691514102</c:v>
                </c:pt>
                <c:pt idx="4237">
                  <c:v>66.683651046850002</c:v>
                </c:pt>
                <c:pt idx="4238">
                  <c:v>69.887757724579998</c:v>
                </c:pt>
                <c:pt idx="4239">
                  <c:v>69.865558156890003</c:v>
                </c:pt>
                <c:pt idx="4240">
                  <c:v>69.042172944850009</c:v>
                </c:pt>
                <c:pt idx="4241">
                  <c:v>65.775408645949994</c:v>
                </c:pt>
                <c:pt idx="4242">
                  <c:v>65.773738503990003</c:v>
                </c:pt>
                <c:pt idx="4243">
                  <c:v>65.775873815590003</c:v>
                </c:pt>
                <c:pt idx="4244">
                  <c:v>65.77512506635</c:v>
                </c:pt>
                <c:pt idx="4245">
                  <c:v>65.672782859570006</c:v>
                </c:pt>
                <c:pt idx="4246">
                  <c:v>65.665335674060003</c:v>
                </c:pt>
                <c:pt idx="4247">
                  <c:v>65.641390313529996</c:v>
                </c:pt>
                <c:pt idx="4248">
                  <c:v>65.606678038690006</c:v>
                </c:pt>
                <c:pt idx="4249">
                  <c:v>65.90991154323001</c:v>
                </c:pt>
                <c:pt idx="4250">
                  <c:v>65.915527007800009</c:v>
                </c:pt>
                <c:pt idx="4251">
                  <c:v>65.70128993066001</c:v>
                </c:pt>
                <c:pt idx="4252">
                  <c:v>65.695444718920001</c:v>
                </c:pt>
                <c:pt idx="4253">
                  <c:v>65.841424190819993</c:v>
                </c:pt>
                <c:pt idx="4254">
                  <c:v>65.673928940880003</c:v>
                </c:pt>
                <c:pt idx="4255">
                  <c:v>65.672273253050008</c:v>
                </c:pt>
                <c:pt idx="4256">
                  <c:v>65.645628438060001</c:v>
                </c:pt>
                <c:pt idx="4257">
                  <c:v>65.644968193400004</c:v>
                </c:pt>
                <c:pt idx="4258">
                  <c:v>65.563982820320007</c:v>
                </c:pt>
                <c:pt idx="4259">
                  <c:v>65.579519859569999</c:v>
                </c:pt>
                <c:pt idx="4260">
                  <c:v>65.579519859569999</c:v>
                </c:pt>
                <c:pt idx="4261">
                  <c:v>72.599223934370002</c:v>
                </c:pt>
                <c:pt idx="4262">
                  <c:v>73.140230219279999</c:v>
                </c:pt>
                <c:pt idx="4263">
                  <c:v>73.17545393764</c:v>
                </c:pt>
                <c:pt idx="4264">
                  <c:v>73.322631981789996</c:v>
                </c:pt>
                <c:pt idx="4265">
                  <c:v>73.370610297690007</c:v>
                </c:pt>
                <c:pt idx="4266">
                  <c:v>73.315093729639997</c:v>
                </c:pt>
                <c:pt idx="4267">
                  <c:v>73.337200072640002</c:v>
                </c:pt>
                <c:pt idx="4268">
                  <c:v>73.630552417060002</c:v>
                </c:pt>
                <c:pt idx="4269">
                  <c:v>73.591778507070003</c:v>
                </c:pt>
                <c:pt idx="4270">
                  <c:v>73.602319187020001</c:v>
                </c:pt>
                <c:pt idx="4271">
                  <c:v>73.669095713380003</c:v>
                </c:pt>
                <c:pt idx="4272">
                  <c:v>73.345507219720005</c:v>
                </c:pt>
                <c:pt idx="4273">
                  <c:v>73.355754524100007</c:v>
                </c:pt>
                <c:pt idx="4274">
                  <c:v>73.361263252320001</c:v>
                </c:pt>
                <c:pt idx="4275">
                  <c:v>73.062968767520005</c:v>
                </c:pt>
                <c:pt idx="4276">
                  <c:v>72.999066019679987</c:v>
                </c:pt>
                <c:pt idx="4277">
                  <c:v>73.011845507320004</c:v>
                </c:pt>
                <c:pt idx="4278">
                  <c:v>72.981611875350012</c:v>
                </c:pt>
                <c:pt idx="4279">
                  <c:v>72.948409771990001</c:v>
                </c:pt>
                <c:pt idx="4280">
                  <c:v>72.925253081399987</c:v>
                </c:pt>
                <c:pt idx="4281">
                  <c:v>72.925876162699993</c:v>
                </c:pt>
                <c:pt idx="4282">
                  <c:v>72.922288124909997</c:v>
                </c:pt>
                <c:pt idx="4283">
                  <c:v>72.938122312529998</c:v>
                </c:pt>
                <c:pt idx="4284">
                  <c:v>72.946283243059995</c:v>
                </c:pt>
                <c:pt idx="4285">
                  <c:v>72.962123026570012</c:v>
                </c:pt>
                <c:pt idx="4286">
                  <c:v>72.954579762690003</c:v>
                </c:pt>
                <c:pt idx="4287">
                  <c:v>72.95693335224</c:v>
                </c:pt>
                <c:pt idx="4288">
                  <c:v>72.97404562813</c:v>
                </c:pt>
                <c:pt idx="4289">
                  <c:v>73.031113404039999</c:v>
                </c:pt>
                <c:pt idx="4290">
                  <c:v>73.031972305820005</c:v>
                </c:pt>
                <c:pt idx="4291">
                  <c:v>72.983748995420001</c:v>
                </c:pt>
                <c:pt idx="4292">
                  <c:v>72.999599791270001</c:v>
                </c:pt>
                <c:pt idx="4293">
                  <c:v>73.007553140479999</c:v>
                </c:pt>
              </c:numCache>
            </c:numRef>
          </c:val>
        </c:ser>
        <c:ser>
          <c:idx val="1"/>
          <c:order val="1"/>
          <c:tx>
            <c:strRef>
              <c:f>Plan1!$C$1</c:f>
              <c:strCache>
                <c:ptCount val="1"/>
                <c:pt idx="0">
                  <c:v>CRA</c:v>
                </c:pt>
              </c:strCache>
            </c:strRef>
          </c:tx>
          <c:spPr>
            <a:solidFill>
              <a:srgbClr val="00B0F0"/>
            </a:solidFill>
            <a:ln w="25400">
              <a:noFill/>
            </a:ln>
            <a:effectLst/>
          </c:spPr>
          <c:cat>
            <c:numRef>
              <c:f>Plan1!$A$2:$A$4295</c:f>
              <c:numCache>
                <c:formatCode>m/d/yyyy</c:formatCode>
                <c:ptCount val="4294"/>
                <c:pt idx="0">
                  <c:v>36528</c:v>
                </c:pt>
                <c:pt idx="1">
                  <c:v>36529</c:v>
                </c:pt>
                <c:pt idx="2">
                  <c:v>36530</c:v>
                </c:pt>
                <c:pt idx="3">
                  <c:v>36531</c:v>
                </c:pt>
                <c:pt idx="4">
                  <c:v>36532</c:v>
                </c:pt>
                <c:pt idx="5">
                  <c:v>36535</c:v>
                </c:pt>
                <c:pt idx="6">
                  <c:v>36536</c:v>
                </c:pt>
                <c:pt idx="7">
                  <c:v>36537</c:v>
                </c:pt>
                <c:pt idx="8">
                  <c:v>36538</c:v>
                </c:pt>
                <c:pt idx="9">
                  <c:v>36539</c:v>
                </c:pt>
                <c:pt idx="10">
                  <c:v>36542</c:v>
                </c:pt>
                <c:pt idx="11">
                  <c:v>36543</c:v>
                </c:pt>
                <c:pt idx="12">
                  <c:v>36544</c:v>
                </c:pt>
                <c:pt idx="13">
                  <c:v>36545</c:v>
                </c:pt>
                <c:pt idx="14">
                  <c:v>36546</c:v>
                </c:pt>
                <c:pt idx="15">
                  <c:v>36549</c:v>
                </c:pt>
                <c:pt idx="16">
                  <c:v>36550</c:v>
                </c:pt>
                <c:pt idx="17">
                  <c:v>36551</c:v>
                </c:pt>
                <c:pt idx="18">
                  <c:v>36552</c:v>
                </c:pt>
                <c:pt idx="19">
                  <c:v>36553</c:v>
                </c:pt>
                <c:pt idx="20">
                  <c:v>36556</c:v>
                </c:pt>
                <c:pt idx="21">
                  <c:v>36557</c:v>
                </c:pt>
                <c:pt idx="22">
                  <c:v>36558</c:v>
                </c:pt>
                <c:pt idx="23">
                  <c:v>36559</c:v>
                </c:pt>
                <c:pt idx="24">
                  <c:v>36560</c:v>
                </c:pt>
                <c:pt idx="25">
                  <c:v>36563</c:v>
                </c:pt>
                <c:pt idx="26">
                  <c:v>36564</c:v>
                </c:pt>
                <c:pt idx="27">
                  <c:v>36565</c:v>
                </c:pt>
                <c:pt idx="28">
                  <c:v>36566</c:v>
                </c:pt>
                <c:pt idx="29">
                  <c:v>36567</c:v>
                </c:pt>
                <c:pt idx="30">
                  <c:v>36570</c:v>
                </c:pt>
                <c:pt idx="31">
                  <c:v>36571</c:v>
                </c:pt>
                <c:pt idx="32">
                  <c:v>36572</c:v>
                </c:pt>
                <c:pt idx="33">
                  <c:v>36573</c:v>
                </c:pt>
                <c:pt idx="34">
                  <c:v>36574</c:v>
                </c:pt>
                <c:pt idx="35">
                  <c:v>36577</c:v>
                </c:pt>
                <c:pt idx="36">
                  <c:v>36578</c:v>
                </c:pt>
                <c:pt idx="37">
                  <c:v>36579</c:v>
                </c:pt>
                <c:pt idx="38">
                  <c:v>36580</c:v>
                </c:pt>
                <c:pt idx="39">
                  <c:v>36581</c:v>
                </c:pt>
                <c:pt idx="40">
                  <c:v>36584</c:v>
                </c:pt>
                <c:pt idx="41">
                  <c:v>36585</c:v>
                </c:pt>
                <c:pt idx="42">
                  <c:v>36586</c:v>
                </c:pt>
                <c:pt idx="43">
                  <c:v>36587</c:v>
                </c:pt>
                <c:pt idx="44">
                  <c:v>36588</c:v>
                </c:pt>
                <c:pt idx="45">
                  <c:v>36593</c:v>
                </c:pt>
                <c:pt idx="46">
                  <c:v>36594</c:v>
                </c:pt>
                <c:pt idx="47">
                  <c:v>36595</c:v>
                </c:pt>
                <c:pt idx="48">
                  <c:v>36598</c:v>
                </c:pt>
                <c:pt idx="49">
                  <c:v>36599</c:v>
                </c:pt>
                <c:pt idx="50">
                  <c:v>36600</c:v>
                </c:pt>
                <c:pt idx="51">
                  <c:v>36601</c:v>
                </c:pt>
                <c:pt idx="52">
                  <c:v>36602</c:v>
                </c:pt>
                <c:pt idx="53">
                  <c:v>36605</c:v>
                </c:pt>
                <c:pt idx="54">
                  <c:v>36606</c:v>
                </c:pt>
                <c:pt idx="55">
                  <c:v>36607</c:v>
                </c:pt>
                <c:pt idx="56">
                  <c:v>36608</c:v>
                </c:pt>
                <c:pt idx="57">
                  <c:v>36609</c:v>
                </c:pt>
                <c:pt idx="58">
                  <c:v>36612</c:v>
                </c:pt>
                <c:pt idx="59">
                  <c:v>36613</c:v>
                </c:pt>
                <c:pt idx="60">
                  <c:v>36614</c:v>
                </c:pt>
                <c:pt idx="61">
                  <c:v>36615</c:v>
                </c:pt>
                <c:pt idx="62">
                  <c:v>36616</c:v>
                </c:pt>
                <c:pt idx="63">
                  <c:v>36619</c:v>
                </c:pt>
                <c:pt idx="64">
                  <c:v>36620</c:v>
                </c:pt>
                <c:pt idx="65">
                  <c:v>36621</c:v>
                </c:pt>
                <c:pt idx="66">
                  <c:v>36622</c:v>
                </c:pt>
                <c:pt idx="67">
                  <c:v>36623</c:v>
                </c:pt>
                <c:pt idx="68">
                  <c:v>36626</c:v>
                </c:pt>
                <c:pt idx="69">
                  <c:v>36627</c:v>
                </c:pt>
                <c:pt idx="70">
                  <c:v>36628</c:v>
                </c:pt>
                <c:pt idx="71">
                  <c:v>36629</c:v>
                </c:pt>
                <c:pt idx="72">
                  <c:v>36630</c:v>
                </c:pt>
                <c:pt idx="73">
                  <c:v>36633</c:v>
                </c:pt>
                <c:pt idx="74">
                  <c:v>36634</c:v>
                </c:pt>
                <c:pt idx="75">
                  <c:v>36635</c:v>
                </c:pt>
                <c:pt idx="76">
                  <c:v>36636</c:v>
                </c:pt>
                <c:pt idx="77">
                  <c:v>36640</c:v>
                </c:pt>
                <c:pt idx="78">
                  <c:v>36641</c:v>
                </c:pt>
                <c:pt idx="79">
                  <c:v>36642</c:v>
                </c:pt>
                <c:pt idx="80">
                  <c:v>36643</c:v>
                </c:pt>
                <c:pt idx="81">
                  <c:v>36644</c:v>
                </c:pt>
                <c:pt idx="82">
                  <c:v>36648</c:v>
                </c:pt>
                <c:pt idx="83">
                  <c:v>36649</c:v>
                </c:pt>
                <c:pt idx="84">
                  <c:v>36650</c:v>
                </c:pt>
                <c:pt idx="85">
                  <c:v>36651</c:v>
                </c:pt>
                <c:pt idx="86">
                  <c:v>36654</c:v>
                </c:pt>
                <c:pt idx="87">
                  <c:v>36655</c:v>
                </c:pt>
                <c:pt idx="88">
                  <c:v>36656</c:v>
                </c:pt>
                <c:pt idx="89">
                  <c:v>36657</c:v>
                </c:pt>
                <c:pt idx="90">
                  <c:v>36658</c:v>
                </c:pt>
                <c:pt idx="91">
                  <c:v>36661</c:v>
                </c:pt>
                <c:pt idx="92">
                  <c:v>36662</c:v>
                </c:pt>
                <c:pt idx="93">
                  <c:v>36663</c:v>
                </c:pt>
                <c:pt idx="94">
                  <c:v>36664</c:v>
                </c:pt>
                <c:pt idx="95">
                  <c:v>36665</c:v>
                </c:pt>
                <c:pt idx="96">
                  <c:v>36668</c:v>
                </c:pt>
                <c:pt idx="97">
                  <c:v>36669</c:v>
                </c:pt>
                <c:pt idx="98">
                  <c:v>36670</c:v>
                </c:pt>
                <c:pt idx="99">
                  <c:v>36671</c:v>
                </c:pt>
                <c:pt idx="100">
                  <c:v>36672</c:v>
                </c:pt>
                <c:pt idx="101">
                  <c:v>36675</c:v>
                </c:pt>
                <c:pt idx="102">
                  <c:v>36676</c:v>
                </c:pt>
                <c:pt idx="103">
                  <c:v>36677</c:v>
                </c:pt>
                <c:pt idx="104">
                  <c:v>36678</c:v>
                </c:pt>
                <c:pt idx="105">
                  <c:v>36679</c:v>
                </c:pt>
                <c:pt idx="106">
                  <c:v>36682</c:v>
                </c:pt>
                <c:pt idx="107">
                  <c:v>36683</c:v>
                </c:pt>
                <c:pt idx="108">
                  <c:v>36684</c:v>
                </c:pt>
                <c:pt idx="109">
                  <c:v>36685</c:v>
                </c:pt>
                <c:pt idx="110">
                  <c:v>36686</c:v>
                </c:pt>
                <c:pt idx="111">
                  <c:v>36689</c:v>
                </c:pt>
                <c:pt idx="112">
                  <c:v>36690</c:v>
                </c:pt>
                <c:pt idx="113">
                  <c:v>36691</c:v>
                </c:pt>
                <c:pt idx="114">
                  <c:v>36692</c:v>
                </c:pt>
                <c:pt idx="115">
                  <c:v>36693</c:v>
                </c:pt>
                <c:pt idx="116">
                  <c:v>36696</c:v>
                </c:pt>
                <c:pt idx="117">
                  <c:v>36697</c:v>
                </c:pt>
                <c:pt idx="118">
                  <c:v>36698</c:v>
                </c:pt>
                <c:pt idx="119">
                  <c:v>36700</c:v>
                </c:pt>
                <c:pt idx="120">
                  <c:v>36703</c:v>
                </c:pt>
                <c:pt idx="121">
                  <c:v>36704</c:v>
                </c:pt>
                <c:pt idx="122">
                  <c:v>36705</c:v>
                </c:pt>
                <c:pt idx="123">
                  <c:v>36706</c:v>
                </c:pt>
                <c:pt idx="124">
                  <c:v>36707</c:v>
                </c:pt>
                <c:pt idx="125">
                  <c:v>36710</c:v>
                </c:pt>
                <c:pt idx="126">
                  <c:v>36711</c:v>
                </c:pt>
                <c:pt idx="127">
                  <c:v>36712</c:v>
                </c:pt>
                <c:pt idx="128">
                  <c:v>36713</c:v>
                </c:pt>
                <c:pt idx="129">
                  <c:v>36714</c:v>
                </c:pt>
                <c:pt idx="130">
                  <c:v>36717</c:v>
                </c:pt>
                <c:pt idx="131">
                  <c:v>36718</c:v>
                </c:pt>
                <c:pt idx="132">
                  <c:v>36719</c:v>
                </c:pt>
                <c:pt idx="133">
                  <c:v>36720</c:v>
                </c:pt>
                <c:pt idx="134">
                  <c:v>36721</c:v>
                </c:pt>
                <c:pt idx="135">
                  <c:v>36724</c:v>
                </c:pt>
                <c:pt idx="136">
                  <c:v>36725</c:v>
                </c:pt>
                <c:pt idx="137">
                  <c:v>36726</c:v>
                </c:pt>
                <c:pt idx="138">
                  <c:v>36727</c:v>
                </c:pt>
                <c:pt idx="139">
                  <c:v>36728</c:v>
                </c:pt>
                <c:pt idx="140">
                  <c:v>36731</c:v>
                </c:pt>
                <c:pt idx="141">
                  <c:v>36732</c:v>
                </c:pt>
                <c:pt idx="142">
                  <c:v>36733</c:v>
                </c:pt>
                <c:pt idx="143">
                  <c:v>36734</c:v>
                </c:pt>
                <c:pt idx="144">
                  <c:v>36735</c:v>
                </c:pt>
                <c:pt idx="145">
                  <c:v>36738</c:v>
                </c:pt>
                <c:pt idx="146">
                  <c:v>36739</c:v>
                </c:pt>
                <c:pt idx="147">
                  <c:v>36740</c:v>
                </c:pt>
                <c:pt idx="148">
                  <c:v>36741</c:v>
                </c:pt>
                <c:pt idx="149">
                  <c:v>36742</c:v>
                </c:pt>
                <c:pt idx="150">
                  <c:v>36745</c:v>
                </c:pt>
                <c:pt idx="151">
                  <c:v>36746</c:v>
                </c:pt>
                <c:pt idx="152">
                  <c:v>36747</c:v>
                </c:pt>
                <c:pt idx="153">
                  <c:v>36748</c:v>
                </c:pt>
                <c:pt idx="154">
                  <c:v>36749</c:v>
                </c:pt>
                <c:pt idx="155">
                  <c:v>36752</c:v>
                </c:pt>
                <c:pt idx="156">
                  <c:v>36753</c:v>
                </c:pt>
                <c:pt idx="157">
                  <c:v>36754</c:v>
                </c:pt>
                <c:pt idx="158">
                  <c:v>36755</c:v>
                </c:pt>
                <c:pt idx="159">
                  <c:v>36756</c:v>
                </c:pt>
                <c:pt idx="160">
                  <c:v>36759</c:v>
                </c:pt>
                <c:pt idx="161">
                  <c:v>36760</c:v>
                </c:pt>
                <c:pt idx="162">
                  <c:v>36761</c:v>
                </c:pt>
                <c:pt idx="163">
                  <c:v>36762</c:v>
                </c:pt>
                <c:pt idx="164">
                  <c:v>36763</c:v>
                </c:pt>
                <c:pt idx="165">
                  <c:v>36766</c:v>
                </c:pt>
                <c:pt idx="166">
                  <c:v>36767</c:v>
                </c:pt>
                <c:pt idx="167">
                  <c:v>36768</c:v>
                </c:pt>
                <c:pt idx="168">
                  <c:v>36769</c:v>
                </c:pt>
                <c:pt idx="169">
                  <c:v>36770</c:v>
                </c:pt>
                <c:pt idx="170">
                  <c:v>36773</c:v>
                </c:pt>
                <c:pt idx="171">
                  <c:v>36774</c:v>
                </c:pt>
                <c:pt idx="172">
                  <c:v>36775</c:v>
                </c:pt>
                <c:pt idx="173">
                  <c:v>36777</c:v>
                </c:pt>
                <c:pt idx="174">
                  <c:v>36780</c:v>
                </c:pt>
                <c:pt idx="175">
                  <c:v>36781</c:v>
                </c:pt>
                <c:pt idx="176">
                  <c:v>36782</c:v>
                </c:pt>
                <c:pt idx="177">
                  <c:v>36783</c:v>
                </c:pt>
                <c:pt idx="178">
                  <c:v>36784</c:v>
                </c:pt>
                <c:pt idx="179">
                  <c:v>36787</c:v>
                </c:pt>
                <c:pt idx="180">
                  <c:v>36788</c:v>
                </c:pt>
                <c:pt idx="181">
                  <c:v>36789</c:v>
                </c:pt>
                <c:pt idx="182">
                  <c:v>36790</c:v>
                </c:pt>
                <c:pt idx="183">
                  <c:v>36791</c:v>
                </c:pt>
                <c:pt idx="184">
                  <c:v>36794</c:v>
                </c:pt>
                <c:pt idx="185">
                  <c:v>36795</c:v>
                </c:pt>
                <c:pt idx="186">
                  <c:v>36796</c:v>
                </c:pt>
                <c:pt idx="187">
                  <c:v>36797</c:v>
                </c:pt>
                <c:pt idx="188">
                  <c:v>36798</c:v>
                </c:pt>
                <c:pt idx="189">
                  <c:v>36801</c:v>
                </c:pt>
                <c:pt idx="190">
                  <c:v>36802</c:v>
                </c:pt>
                <c:pt idx="191">
                  <c:v>36803</c:v>
                </c:pt>
                <c:pt idx="192">
                  <c:v>36804</c:v>
                </c:pt>
                <c:pt idx="193">
                  <c:v>36805</c:v>
                </c:pt>
                <c:pt idx="194">
                  <c:v>36808</c:v>
                </c:pt>
                <c:pt idx="195">
                  <c:v>36809</c:v>
                </c:pt>
                <c:pt idx="196">
                  <c:v>36810</c:v>
                </c:pt>
                <c:pt idx="197">
                  <c:v>36812</c:v>
                </c:pt>
                <c:pt idx="198">
                  <c:v>36815</c:v>
                </c:pt>
                <c:pt idx="199">
                  <c:v>36816</c:v>
                </c:pt>
                <c:pt idx="200">
                  <c:v>36817</c:v>
                </c:pt>
                <c:pt idx="201">
                  <c:v>36818</c:v>
                </c:pt>
                <c:pt idx="202">
                  <c:v>36819</c:v>
                </c:pt>
                <c:pt idx="203">
                  <c:v>36822</c:v>
                </c:pt>
                <c:pt idx="204">
                  <c:v>36823</c:v>
                </c:pt>
                <c:pt idx="205">
                  <c:v>36824</c:v>
                </c:pt>
                <c:pt idx="206">
                  <c:v>36825</c:v>
                </c:pt>
                <c:pt idx="207">
                  <c:v>36826</c:v>
                </c:pt>
                <c:pt idx="208">
                  <c:v>36829</c:v>
                </c:pt>
                <c:pt idx="209">
                  <c:v>36830</c:v>
                </c:pt>
                <c:pt idx="210">
                  <c:v>36831</c:v>
                </c:pt>
                <c:pt idx="211">
                  <c:v>36833</c:v>
                </c:pt>
                <c:pt idx="212">
                  <c:v>36836</c:v>
                </c:pt>
                <c:pt idx="213">
                  <c:v>36837</c:v>
                </c:pt>
                <c:pt idx="214">
                  <c:v>36838</c:v>
                </c:pt>
                <c:pt idx="215">
                  <c:v>36839</c:v>
                </c:pt>
                <c:pt idx="216">
                  <c:v>36840</c:v>
                </c:pt>
                <c:pt idx="217">
                  <c:v>36843</c:v>
                </c:pt>
                <c:pt idx="218">
                  <c:v>36844</c:v>
                </c:pt>
                <c:pt idx="219">
                  <c:v>36846</c:v>
                </c:pt>
                <c:pt idx="220">
                  <c:v>36847</c:v>
                </c:pt>
                <c:pt idx="221">
                  <c:v>36850</c:v>
                </c:pt>
                <c:pt idx="222">
                  <c:v>36851</c:v>
                </c:pt>
                <c:pt idx="223">
                  <c:v>36852</c:v>
                </c:pt>
                <c:pt idx="224">
                  <c:v>36853</c:v>
                </c:pt>
                <c:pt idx="225">
                  <c:v>36854</c:v>
                </c:pt>
                <c:pt idx="226">
                  <c:v>36857</c:v>
                </c:pt>
                <c:pt idx="227">
                  <c:v>36858</c:v>
                </c:pt>
                <c:pt idx="228">
                  <c:v>36859</c:v>
                </c:pt>
                <c:pt idx="229">
                  <c:v>36860</c:v>
                </c:pt>
                <c:pt idx="230">
                  <c:v>36861</c:v>
                </c:pt>
                <c:pt idx="231">
                  <c:v>36864</c:v>
                </c:pt>
                <c:pt idx="232">
                  <c:v>36865</c:v>
                </c:pt>
                <c:pt idx="233">
                  <c:v>36866</c:v>
                </c:pt>
                <c:pt idx="234">
                  <c:v>36867</c:v>
                </c:pt>
                <c:pt idx="235">
                  <c:v>36868</c:v>
                </c:pt>
                <c:pt idx="236">
                  <c:v>36871</c:v>
                </c:pt>
                <c:pt idx="237">
                  <c:v>36872</c:v>
                </c:pt>
                <c:pt idx="238">
                  <c:v>36873</c:v>
                </c:pt>
                <c:pt idx="239">
                  <c:v>36874</c:v>
                </c:pt>
                <c:pt idx="240">
                  <c:v>36875</c:v>
                </c:pt>
                <c:pt idx="241">
                  <c:v>36878</c:v>
                </c:pt>
                <c:pt idx="242">
                  <c:v>36879</c:v>
                </c:pt>
                <c:pt idx="243">
                  <c:v>36880</c:v>
                </c:pt>
                <c:pt idx="244">
                  <c:v>36881</c:v>
                </c:pt>
                <c:pt idx="245">
                  <c:v>36882</c:v>
                </c:pt>
                <c:pt idx="246">
                  <c:v>36886</c:v>
                </c:pt>
                <c:pt idx="247">
                  <c:v>36887</c:v>
                </c:pt>
                <c:pt idx="248">
                  <c:v>36888</c:v>
                </c:pt>
                <c:pt idx="249">
                  <c:v>36889</c:v>
                </c:pt>
                <c:pt idx="250">
                  <c:v>36893</c:v>
                </c:pt>
                <c:pt idx="251">
                  <c:v>36894</c:v>
                </c:pt>
                <c:pt idx="252">
                  <c:v>36895</c:v>
                </c:pt>
                <c:pt idx="253">
                  <c:v>36896</c:v>
                </c:pt>
                <c:pt idx="254">
                  <c:v>36899</c:v>
                </c:pt>
                <c:pt idx="255">
                  <c:v>36900</c:v>
                </c:pt>
                <c:pt idx="256">
                  <c:v>36901</c:v>
                </c:pt>
                <c:pt idx="257">
                  <c:v>36902</c:v>
                </c:pt>
                <c:pt idx="258">
                  <c:v>36903</c:v>
                </c:pt>
                <c:pt idx="259">
                  <c:v>36906</c:v>
                </c:pt>
                <c:pt idx="260">
                  <c:v>36907</c:v>
                </c:pt>
                <c:pt idx="261">
                  <c:v>36908</c:v>
                </c:pt>
                <c:pt idx="262">
                  <c:v>36909</c:v>
                </c:pt>
                <c:pt idx="263">
                  <c:v>36910</c:v>
                </c:pt>
                <c:pt idx="264">
                  <c:v>36913</c:v>
                </c:pt>
                <c:pt idx="265">
                  <c:v>36914</c:v>
                </c:pt>
                <c:pt idx="266">
                  <c:v>36915</c:v>
                </c:pt>
                <c:pt idx="267">
                  <c:v>36916</c:v>
                </c:pt>
                <c:pt idx="268">
                  <c:v>36917</c:v>
                </c:pt>
                <c:pt idx="269">
                  <c:v>36920</c:v>
                </c:pt>
                <c:pt idx="270">
                  <c:v>36921</c:v>
                </c:pt>
                <c:pt idx="271">
                  <c:v>36922</c:v>
                </c:pt>
                <c:pt idx="272">
                  <c:v>36923</c:v>
                </c:pt>
                <c:pt idx="273">
                  <c:v>36924</c:v>
                </c:pt>
                <c:pt idx="274">
                  <c:v>36927</c:v>
                </c:pt>
                <c:pt idx="275">
                  <c:v>36928</c:v>
                </c:pt>
                <c:pt idx="276">
                  <c:v>36929</c:v>
                </c:pt>
                <c:pt idx="277">
                  <c:v>36930</c:v>
                </c:pt>
                <c:pt idx="278">
                  <c:v>36931</c:v>
                </c:pt>
                <c:pt idx="279">
                  <c:v>36934</c:v>
                </c:pt>
                <c:pt idx="280">
                  <c:v>36935</c:v>
                </c:pt>
                <c:pt idx="281">
                  <c:v>36936</c:v>
                </c:pt>
                <c:pt idx="282">
                  <c:v>36937</c:v>
                </c:pt>
                <c:pt idx="283">
                  <c:v>36938</c:v>
                </c:pt>
                <c:pt idx="284">
                  <c:v>36941</c:v>
                </c:pt>
                <c:pt idx="285">
                  <c:v>36942</c:v>
                </c:pt>
                <c:pt idx="286">
                  <c:v>36943</c:v>
                </c:pt>
                <c:pt idx="287">
                  <c:v>36944</c:v>
                </c:pt>
                <c:pt idx="288">
                  <c:v>36945</c:v>
                </c:pt>
                <c:pt idx="289">
                  <c:v>36950</c:v>
                </c:pt>
                <c:pt idx="290">
                  <c:v>36951</c:v>
                </c:pt>
                <c:pt idx="291">
                  <c:v>36952</c:v>
                </c:pt>
                <c:pt idx="292">
                  <c:v>36955</c:v>
                </c:pt>
                <c:pt idx="293">
                  <c:v>36956</c:v>
                </c:pt>
                <c:pt idx="294">
                  <c:v>36957</c:v>
                </c:pt>
                <c:pt idx="295">
                  <c:v>36958</c:v>
                </c:pt>
                <c:pt idx="296">
                  <c:v>36959</c:v>
                </c:pt>
                <c:pt idx="297">
                  <c:v>36962</c:v>
                </c:pt>
                <c:pt idx="298">
                  <c:v>36963</c:v>
                </c:pt>
                <c:pt idx="299">
                  <c:v>36964</c:v>
                </c:pt>
                <c:pt idx="300">
                  <c:v>36965</c:v>
                </c:pt>
                <c:pt idx="301">
                  <c:v>36966</c:v>
                </c:pt>
                <c:pt idx="302">
                  <c:v>36969</c:v>
                </c:pt>
                <c:pt idx="303">
                  <c:v>36970</c:v>
                </c:pt>
                <c:pt idx="304">
                  <c:v>36971</c:v>
                </c:pt>
                <c:pt idx="305">
                  <c:v>36972</c:v>
                </c:pt>
                <c:pt idx="306">
                  <c:v>36973</c:v>
                </c:pt>
                <c:pt idx="307">
                  <c:v>36976</c:v>
                </c:pt>
                <c:pt idx="308">
                  <c:v>36977</c:v>
                </c:pt>
                <c:pt idx="309">
                  <c:v>36978</c:v>
                </c:pt>
                <c:pt idx="310">
                  <c:v>36979</c:v>
                </c:pt>
                <c:pt idx="311">
                  <c:v>36980</c:v>
                </c:pt>
                <c:pt idx="312">
                  <c:v>36983</c:v>
                </c:pt>
                <c:pt idx="313">
                  <c:v>36984</c:v>
                </c:pt>
                <c:pt idx="314">
                  <c:v>36985</c:v>
                </c:pt>
                <c:pt idx="315">
                  <c:v>36986</c:v>
                </c:pt>
                <c:pt idx="316">
                  <c:v>36987</c:v>
                </c:pt>
                <c:pt idx="317">
                  <c:v>36990</c:v>
                </c:pt>
                <c:pt idx="318">
                  <c:v>36991</c:v>
                </c:pt>
                <c:pt idx="319">
                  <c:v>36992</c:v>
                </c:pt>
                <c:pt idx="320">
                  <c:v>36993</c:v>
                </c:pt>
                <c:pt idx="321">
                  <c:v>36997</c:v>
                </c:pt>
                <c:pt idx="322">
                  <c:v>36998</c:v>
                </c:pt>
                <c:pt idx="323">
                  <c:v>36999</c:v>
                </c:pt>
                <c:pt idx="324">
                  <c:v>37000</c:v>
                </c:pt>
                <c:pt idx="325">
                  <c:v>37001</c:v>
                </c:pt>
                <c:pt idx="326">
                  <c:v>37004</c:v>
                </c:pt>
                <c:pt idx="327">
                  <c:v>37005</c:v>
                </c:pt>
                <c:pt idx="328">
                  <c:v>37006</c:v>
                </c:pt>
                <c:pt idx="329">
                  <c:v>37007</c:v>
                </c:pt>
                <c:pt idx="330">
                  <c:v>37008</c:v>
                </c:pt>
                <c:pt idx="331">
                  <c:v>37011</c:v>
                </c:pt>
                <c:pt idx="332">
                  <c:v>37013</c:v>
                </c:pt>
                <c:pt idx="333">
                  <c:v>37014</c:v>
                </c:pt>
                <c:pt idx="334">
                  <c:v>37015</c:v>
                </c:pt>
                <c:pt idx="335">
                  <c:v>37018</c:v>
                </c:pt>
                <c:pt idx="336">
                  <c:v>37019</c:v>
                </c:pt>
                <c:pt idx="337">
                  <c:v>37020</c:v>
                </c:pt>
                <c:pt idx="338">
                  <c:v>37021</c:v>
                </c:pt>
                <c:pt idx="339">
                  <c:v>37022</c:v>
                </c:pt>
                <c:pt idx="340">
                  <c:v>37025</c:v>
                </c:pt>
                <c:pt idx="341">
                  <c:v>37026</c:v>
                </c:pt>
                <c:pt idx="342">
                  <c:v>37027</c:v>
                </c:pt>
                <c:pt idx="343">
                  <c:v>37028</c:v>
                </c:pt>
                <c:pt idx="344">
                  <c:v>37029</c:v>
                </c:pt>
                <c:pt idx="345">
                  <c:v>37032</c:v>
                </c:pt>
                <c:pt idx="346">
                  <c:v>37033</c:v>
                </c:pt>
                <c:pt idx="347">
                  <c:v>37034</c:v>
                </c:pt>
                <c:pt idx="348">
                  <c:v>37035</c:v>
                </c:pt>
                <c:pt idx="349">
                  <c:v>37036</c:v>
                </c:pt>
                <c:pt idx="350">
                  <c:v>37039</c:v>
                </c:pt>
                <c:pt idx="351">
                  <c:v>37040</c:v>
                </c:pt>
                <c:pt idx="352">
                  <c:v>37041</c:v>
                </c:pt>
                <c:pt idx="353">
                  <c:v>37042</c:v>
                </c:pt>
                <c:pt idx="354">
                  <c:v>37043</c:v>
                </c:pt>
                <c:pt idx="355">
                  <c:v>37046</c:v>
                </c:pt>
                <c:pt idx="356">
                  <c:v>37047</c:v>
                </c:pt>
                <c:pt idx="357">
                  <c:v>37048</c:v>
                </c:pt>
                <c:pt idx="358">
                  <c:v>37049</c:v>
                </c:pt>
                <c:pt idx="359">
                  <c:v>37050</c:v>
                </c:pt>
                <c:pt idx="360">
                  <c:v>37053</c:v>
                </c:pt>
                <c:pt idx="361">
                  <c:v>37054</c:v>
                </c:pt>
                <c:pt idx="362">
                  <c:v>37055</c:v>
                </c:pt>
                <c:pt idx="363">
                  <c:v>37057</c:v>
                </c:pt>
                <c:pt idx="364">
                  <c:v>37060</c:v>
                </c:pt>
                <c:pt idx="365">
                  <c:v>37061</c:v>
                </c:pt>
                <c:pt idx="366">
                  <c:v>37062</c:v>
                </c:pt>
                <c:pt idx="367">
                  <c:v>37063</c:v>
                </c:pt>
                <c:pt idx="368">
                  <c:v>37064</c:v>
                </c:pt>
                <c:pt idx="369">
                  <c:v>37067</c:v>
                </c:pt>
                <c:pt idx="370">
                  <c:v>37068</c:v>
                </c:pt>
                <c:pt idx="371">
                  <c:v>37069</c:v>
                </c:pt>
                <c:pt idx="372">
                  <c:v>37070</c:v>
                </c:pt>
                <c:pt idx="373">
                  <c:v>37071</c:v>
                </c:pt>
                <c:pt idx="374">
                  <c:v>37074</c:v>
                </c:pt>
                <c:pt idx="375">
                  <c:v>37075</c:v>
                </c:pt>
                <c:pt idx="376">
                  <c:v>37076</c:v>
                </c:pt>
                <c:pt idx="377">
                  <c:v>37077</c:v>
                </c:pt>
                <c:pt idx="378">
                  <c:v>37078</c:v>
                </c:pt>
                <c:pt idx="379">
                  <c:v>37081</c:v>
                </c:pt>
                <c:pt idx="380">
                  <c:v>37082</c:v>
                </c:pt>
                <c:pt idx="381">
                  <c:v>37083</c:v>
                </c:pt>
                <c:pt idx="382">
                  <c:v>37084</c:v>
                </c:pt>
                <c:pt idx="383">
                  <c:v>37085</c:v>
                </c:pt>
                <c:pt idx="384">
                  <c:v>37088</c:v>
                </c:pt>
                <c:pt idx="385">
                  <c:v>37089</c:v>
                </c:pt>
                <c:pt idx="386">
                  <c:v>37090</c:v>
                </c:pt>
                <c:pt idx="387">
                  <c:v>37091</c:v>
                </c:pt>
                <c:pt idx="388">
                  <c:v>37092</c:v>
                </c:pt>
                <c:pt idx="389">
                  <c:v>37095</c:v>
                </c:pt>
                <c:pt idx="390">
                  <c:v>37096</c:v>
                </c:pt>
                <c:pt idx="391">
                  <c:v>37097</c:v>
                </c:pt>
                <c:pt idx="392">
                  <c:v>37098</c:v>
                </c:pt>
                <c:pt idx="393">
                  <c:v>37099</c:v>
                </c:pt>
                <c:pt idx="394">
                  <c:v>37102</c:v>
                </c:pt>
                <c:pt idx="395">
                  <c:v>37103</c:v>
                </c:pt>
                <c:pt idx="396">
                  <c:v>37104</c:v>
                </c:pt>
                <c:pt idx="397">
                  <c:v>37105</c:v>
                </c:pt>
                <c:pt idx="398">
                  <c:v>37106</c:v>
                </c:pt>
                <c:pt idx="399">
                  <c:v>37109</c:v>
                </c:pt>
                <c:pt idx="400">
                  <c:v>37110</c:v>
                </c:pt>
                <c:pt idx="401">
                  <c:v>37111</c:v>
                </c:pt>
                <c:pt idx="402">
                  <c:v>37112</c:v>
                </c:pt>
                <c:pt idx="403">
                  <c:v>37113</c:v>
                </c:pt>
                <c:pt idx="404">
                  <c:v>37116</c:v>
                </c:pt>
                <c:pt idx="405">
                  <c:v>37117</c:v>
                </c:pt>
                <c:pt idx="406">
                  <c:v>37118</c:v>
                </c:pt>
                <c:pt idx="407">
                  <c:v>37119</c:v>
                </c:pt>
                <c:pt idx="408">
                  <c:v>37120</c:v>
                </c:pt>
                <c:pt idx="409">
                  <c:v>37123</c:v>
                </c:pt>
                <c:pt idx="410">
                  <c:v>37124</c:v>
                </c:pt>
                <c:pt idx="411">
                  <c:v>37125</c:v>
                </c:pt>
                <c:pt idx="412">
                  <c:v>37126</c:v>
                </c:pt>
                <c:pt idx="413">
                  <c:v>37127</c:v>
                </c:pt>
                <c:pt idx="414">
                  <c:v>37130</c:v>
                </c:pt>
                <c:pt idx="415">
                  <c:v>37131</c:v>
                </c:pt>
                <c:pt idx="416">
                  <c:v>37132</c:v>
                </c:pt>
                <c:pt idx="417">
                  <c:v>37133</c:v>
                </c:pt>
                <c:pt idx="418">
                  <c:v>37134</c:v>
                </c:pt>
                <c:pt idx="419">
                  <c:v>37137</c:v>
                </c:pt>
                <c:pt idx="420">
                  <c:v>37138</c:v>
                </c:pt>
                <c:pt idx="421">
                  <c:v>37139</c:v>
                </c:pt>
                <c:pt idx="422">
                  <c:v>37140</c:v>
                </c:pt>
                <c:pt idx="423">
                  <c:v>37144</c:v>
                </c:pt>
                <c:pt idx="424">
                  <c:v>37145</c:v>
                </c:pt>
                <c:pt idx="425">
                  <c:v>37146</c:v>
                </c:pt>
                <c:pt idx="426">
                  <c:v>37147</c:v>
                </c:pt>
                <c:pt idx="427">
                  <c:v>37148</c:v>
                </c:pt>
                <c:pt idx="428">
                  <c:v>37151</c:v>
                </c:pt>
                <c:pt idx="429">
                  <c:v>37152</c:v>
                </c:pt>
                <c:pt idx="430">
                  <c:v>37153</c:v>
                </c:pt>
                <c:pt idx="431">
                  <c:v>37154</c:v>
                </c:pt>
                <c:pt idx="432">
                  <c:v>37155</c:v>
                </c:pt>
                <c:pt idx="433">
                  <c:v>37158</c:v>
                </c:pt>
                <c:pt idx="434">
                  <c:v>37159</c:v>
                </c:pt>
                <c:pt idx="435">
                  <c:v>37160</c:v>
                </c:pt>
                <c:pt idx="436">
                  <c:v>37161</c:v>
                </c:pt>
                <c:pt idx="437">
                  <c:v>37162</c:v>
                </c:pt>
                <c:pt idx="438">
                  <c:v>37165</c:v>
                </c:pt>
                <c:pt idx="439">
                  <c:v>37166</c:v>
                </c:pt>
                <c:pt idx="440">
                  <c:v>37167</c:v>
                </c:pt>
                <c:pt idx="441">
                  <c:v>37168</c:v>
                </c:pt>
                <c:pt idx="442">
                  <c:v>37169</c:v>
                </c:pt>
                <c:pt idx="443">
                  <c:v>37172</c:v>
                </c:pt>
                <c:pt idx="444">
                  <c:v>37173</c:v>
                </c:pt>
                <c:pt idx="445">
                  <c:v>37174</c:v>
                </c:pt>
                <c:pt idx="446">
                  <c:v>37175</c:v>
                </c:pt>
                <c:pt idx="447">
                  <c:v>37179</c:v>
                </c:pt>
                <c:pt idx="448">
                  <c:v>37180</c:v>
                </c:pt>
                <c:pt idx="449">
                  <c:v>37181</c:v>
                </c:pt>
                <c:pt idx="450">
                  <c:v>37182</c:v>
                </c:pt>
                <c:pt idx="451">
                  <c:v>37183</c:v>
                </c:pt>
                <c:pt idx="452">
                  <c:v>37186</c:v>
                </c:pt>
                <c:pt idx="453">
                  <c:v>37187</c:v>
                </c:pt>
                <c:pt idx="454">
                  <c:v>37188</c:v>
                </c:pt>
                <c:pt idx="455">
                  <c:v>37189</c:v>
                </c:pt>
                <c:pt idx="456">
                  <c:v>37190</c:v>
                </c:pt>
                <c:pt idx="457">
                  <c:v>37193</c:v>
                </c:pt>
                <c:pt idx="458">
                  <c:v>37194</c:v>
                </c:pt>
                <c:pt idx="459">
                  <c:v>37195</c:v>
                </c:pt>
                <c:pt idx="460">
                  <c:v>37196</c:v>
                </c:pt>
                <c:pt idx="461">
                  <c:v>37200</c:v>
                </c:pt>
                <c:pt idx="462">
                  <c:v>37201</c:v>
                </c:pt>
                <c:pt idx="463">
                  <c:v>37202</c:v>
                </c:pt>
                <c:pt idx="464">
                  <c:v>37203</c:v>
                </c:pt>
                <c:pt idx="465">
                  <c:v>37204</c:v>
                </c:pt>
                <c:pt idx="466">
                  <c:v>37207</c:v>
                </c:pt>
                <c:pt idx="467">
                  <c:v>37208</c:v>
                </c:pt>
                <c:pt idx="468">
                  <c:v>37209</c:v>
                </c:pt>
                <c:pt idx="469">
                  <c:v>37211</c:v>
                </c:pt>
                <c:pt idx="470">
                  <c:v>37214</c:v>
                </c:pt>
                <c:pt idx="471">
                  <c:v>37215</c:v>
                </c:pt>
                <c:pt idx="472">
                  <c:v>37216</c:v>
                </c:pt>
                <c:pt idx="473">
                  <c:v>37217</c:v>
                </c:pt>
                <c:pt idx="474">
                  <c:v>37218</c:v>
                </c:pt>
                <c:pt idx="475">
                  <c:v>37221</c:v>
                </c:pt>
                <c:pt idx="476">
                  <c:v>37222</c:v>
                </c:pt>
                <c:pt idx="477">
                  <c:v>37223</c:v>
                </c:pt>
                <c:pt idx="478">
                  <c:v>37224</c:v>
                </c:pt>
                <c:pt idx="479">
                  <c:v>37225</c:v>
                </c:pt>
                <c:pt idx="480">
                  <c:v>37228</c:v>
                </c:pt>
                <c:pt idx="481">
                  <c:v>37229</c:v>
                </c:pt>
                <c:pt idx="482">
                  <c:v>37230</c:v>
                </c:pt>
                <c:pt idx="483">
                  <c:v>37231</c:v>
                </c:pt>
                <c:pt idx="484">
                  <c:v>37232</c:v>
                </c:pt>
                <c:pt idx="485">
                  <c:v>37235</c:v>
                </c:pt>
                <c:pt idx="486">
                  <c:v>37236</c:v>
                </c:pt>
                <c:pt idx="487">
                  <c:v>37237</c:v>
                </c:pt>
                <c:pt idx="488">
                  <c:v>37238</c:v>
                </c:pt>
                <c:pt idx="489">
                  <c:v>37239</c:v>
                </c:pt>
                <c:pt idx="490">
                  <c:v>37242</c:v>
                </c:pt>
                <c:pt idx="491">
                  <c:v>37243</c:v>
                </c:pt>
                <c:pt idx="492">
                  <c:v>37244</c:v>
                </c:pt>
                <c:pt idx="493">
                  <c:v>37245</c:v>
                </c:pt>
                <c:pt idx="494">
                  <c:v>37246</c:v>
                </c:pt>
                <c:pt idx="495">
                  <c:v>37249</c:v>
                </c:pt>
                <c:pt idx="496">
                  <c:v>37251</c:v>
                </c:pt>
                <c:pt idx="497">
                  <c:v>37252</c:v>
                </c:pt>
                <c:pt idx="498">
                  <c:v>37253</c:v>
                </c:pt>
                <c:pt idx="499">
                  <c:v>37256</c:v>
                </c:pt>
                <c:pt idx="500">
                  <c:v>37258</c:v>
                </c:pt>
                <c:pt idx="501">
                  <c:v>37259</c:v>
                </c:pt>
                <c:pt idx="502">
                  <c:v>37260</c:v>
                </c:pt>
                <c:pt idx="503">
                  <c:v>37263</c:v>
                </c:pt>
                <c:pt idx="504">
                  <c:v>37264</c:v>
                </c:pt>
                <c:pt idx="505">
                  <c:v>37265</c:v>
                </c:pt>
                <c:pt idx="506">
                  <c:v>37266</c:v>
                </c:pt>
                <c:pt idx="507">
                  <c:v>37267</c:v>
                </c:pt>
                <c:pt idx="508">
                  <c:v>37270</c:v>
                </c:pt>
                <c:pt idx="509">
                  <c:v>37271</c:v>
                </c:pt>
                <c:pt idx="510">
                  <c:v>37272</c:v>
                </c:pt>
                <c:pt idx="511">
                  <c:v>37273</c:v>
                </c:pt>
                <c:pt idx="512">
                  <c:v>37274</c:v>
                </c:pt>
                <c:pt idx="513">
                  <c:v>37277</c:v>
                </c:pt>
                <c:pt idx="514">
                  <c:v>37278</c:v>
                </c:pt>
                <c:pt idx="515">
                  <c:v>37279</c:v>
                </c:pt>
                <c:pt idx="516">
                  <c:v>37280</c:v>
                </c:pt>
                <c:pt idx="517">
                  <c:v>37281</c:v>
                </c:pt>
                <c:pt idx="518">
                  <c:v>37284</c:v>
                </c:pt>
                <c:pt idx="519">
                  <c:v>37285</c:v>
                </c:pt>
                <c:pt idx="520">
                  <c:v>37286</c:v>
                </c:pt>
                <c:pt idx="521">
                  <c:v>37287</c:v>
                </c:pt>
                <c:pt idx="522">
                  <c:v>37288</c:v>
                </c:pt>
                <c:pt idx="523">
                  <c:v>37291</c:v>
                </c:pt>
                <c:pt idx="524">
                  <c:v>37292</c:v>
                </c:pt>
                <c:pt idx="525">
                  <c:v>37293</c:v>
                </c:pt>
                <c:pt idx="526">
                  <c:v>37294</c:v>
                </c:pt>
                <c:pt idx="527">
                  <c:v>37295</c:v>
                </c:pt>
                <c:pt idx="528">
                  <c:v>37300</c:v>
                </c:pt>
                <c:pt idx="529">
                  <c:v>37301</c:v>
                </c:pt>
                <c:pt idx="530">
                  <c:v>37302</c:v>
                </c:pt>
                <c:pt idx="531">
                  <c:v>37305</c:v>
                </c:pt>
                <c:pt idx="532">
                  <c:v>37306</c:v>
                </c:pt>
                <c:pt idx="533">
                  <c:v>37307</c:v>
                </c:pt>
                <c:pt idx="534">
                  <c:v>37308</c:v>
                </c:pt>
                <c:pt idx="535">
                  <c:v>37309</c:v>
                </c:pt>
                <c:pt idx="536">
                  <c:v>37312</c:v>
                </c:pt>
                <c:pt idx="537">
                  <c:v>37313</c:v>
                </c:pt>
                <c:pt idx="538">
                  <c:v>37314</c:v>
                </c:pt>
                <c:pt idx="539">
                  <c:v>37315</c:v>
                </c:pt>
                <c:pt idx="540">
                  <c:v>37316</c:v>
                </c:pt>
                <c:pt idx="541">
                  <c:v>37319</c:v>
                </c:pt>
                <c:pt idx="542">
                  <c:v>37320</c:v>
                </c:pt>
                <c:pt idx="543">
                  <c:v>37321</c:v>
                </c:pt>
                <c:pt idx="544">
                  <c:v>37322</c:v>
                </c:pt>
                <c:pt idx="545">
                  <c:v>37323</c:v>
                </c:pt>
                <c:pt idx="546">
                  <c:v>37326</c:v>
                </c:pt>
                <c:pt idx="547">
                  <c:v>37327</c:v>
                </c:pt>
                <c:pt idx="548">
                  <c:v>37328</c:v>
                </c:pt>
                <c:pt idx="549">
                  <c:v>37329</c:v>
                </c:pt>
                <c:pt idx="550">
                  <c:v>37330</c:v>
                </c:pt>
                <c:pt idx="551">
                  <c:v>37333</c:v>
                </c:pt>
                <c:pt idx="552">
                  <c:v>37334</c:v>
                </c:pt>
                <c:pt idx="553">
                  <c:v>37335</c:v>
                </c:pt>
                <c:pt idx="554">
                  <c:v>37336</c:v>
                </c:pt>
                <c:pt idx="555">
                  <c:v>37337</c:v>
                </c:pt>
                <c:pt idx="556">
                  <c:v>37340</c:v>
                </c:pt>
                <c:pt idx="557">
                  <c:v>37341</c:v>
                </c:pt>
                <c:pt idx="558">
                  <c:v>37342</c:v>
                </c:pt>
                <c:pt idx="559">
                  <c:v>37343</c:v>
                </c:pt>
                <c:pt idx="560">
                  <c:v>37347</c:v>
                </c:pt>
                <c:pt idx="561">
                  <c:v>37348</c:v>
                </c:pt>
                <c:pt idx="562">
                  <c:v>37349</c:v>
                </c:pt>
                <c:pt idx="563">
                  <c:v>37350</c:v>
                </c:pt>
                <c:pt idx="564">
                  <c:v>37351</c:v>
                </c:pt>
                <c:pt idx="565">
                  <c:v>37354</c:v>
                </c:pt>
                <c:pt idx="566">
                  <c:v>37355</c:v>
                </c:pt>
                <c:pt idx="567">
                  <c:v>37356</c:v>
                </c:pt>
                <c:pt idx="568">
                  <c:v>37357</c:v>
                </c:pt>
                <c:pt idx="569">
                  <c:v>37358</c:v>
                </c:pt>
                <c:pt idx="570">
                  <c:v>37361</c:v>
                </c:pt>
                <c:pt idx="571">
                  <c:v>37362</c:v>
                </c:pt>
                <c:pt idx="572">
                  <c:v>37363</c:v>
                </c:pt>
                <c:pt idx="573">
                  <c:v>37364</c:v>
                </c:pt>
                <c:pt idx="574">
                  <c:v>37365</c:v>
                </c:pt>
                <c:pt idx="575">
                  <c:v>37368</c:v>
                </c:pt>
                <c:pt idx="576">
                  <c:v>37369</c:v>
                </c:pt>
                <c:pt idx="577">
                  <c:v>37370</c:v>
                </c:pt>
                <c:pt idx="578">
                  <c:v>37371</c:v>
                </c:pt>
                <c:pt idx="579">
                  <c:v>37372</c:v>
                </c:pt>
                <c:pt idx="580">
                  <c:v>37375</c:v>
                </c:pt>
                <c:pt idx="581">
                  <c:v>37376</c:v>
                </c:pt>
                <c:pt idx="582">
                  <c:v>37378</c:v>
                </c:pt>
                <c:pt idx="583">
                  <c:v>37379</c:v>
                </c:pt>
                <c:pt idx="584">
                  <c:v>37382</c:v>
                </c:pt>
                <c:pt idx="585">
                  <c:v>37383</c:v>
                </c:pt>
                <c:pt idx="586">
                  <c:v>37384</c:v>
                </c:pt>
                <c:pt idx="587">
                  <c:v>37385</c:v>
                </c:pt>
                <c:pt idx="588">
                  <c:v>37386</c:v>
                </c:pt>
                <c:pt idx="589">
                  <c:v>37389</c:v>
                </c:pt>
                <c:pt idx="590">
                  <c:v>37390</c:v>
                </c:pt>
                <c:pt idx="591">
                  <c:v>37391</c:v>
                </c:pt>
                <c:pt idx="592">
                  <c:v>37392</c:v>
                </c:pt>
                <c:pt idx="593">
                  <c:v>37393</c:v>
                </c:pt>
                <c:pt idx="594">
                  <c:v>37396</c:v>
                </c:pt>
                <c:pt idx="595">
                  <c:v>37397</c:v>
                </c:pt>
                <c:pt idx="596">
                  <c:v>37398</c:v>
                </c:pt>
                <c:pt idx="597">
                  <c:v>37399</c:v>
                </c:pt>
                <c:pt idx="598">
                  <c:v>37400</c:v>
                </c:pt>
                <c:pt idx="599">
                  <c:v>37403</c:v>
                </c:pt>
                <c:pt idx="600">
                  <c:v>37404</c:v>
                </c:pt>
                <c:pt idx="601">
                  <c:v>37405</c:v>
                </c:pt>
                <c:pt idx="602">
                  <c:v>37407</c:v>
                </c:pt>
                <c:pt idx="603">
                  <c:v>37410</c:v>
                </c:pt>
                <c:pt idx="604">
                  <c:v>37411</c:v>
                </c:pt>
                <c:pt idx="605">
                  <c:v>37412</c:v>
                </c:pt>
                <c:pt idx="606">
                  <c:v>37413</c:v>
                </c:pt>
                <c:pt idx="607">
                  <c:v>37414</c:v>
                </c:pt>
                <c:pt idx="608">
                  <c:v>37417</c:v>
                </c:pt>
                <c:pt idx="609">
                  <c:v>37418</c:v>
                </c:pt>
                <c:pt idx="610">
                  <c:v>37419</c:v>
                </c:pt>
                <c:pt idx="611">
                  <c:v>37420</c:v>
                </c:pt>
                <c:pt idx="612">
                  <c:v>37421</c:v>
                </c:pt>
                <c:pt idx="613">
                  <c:v>37424</c:v>
                </c:pt>
                <c:pt idx="614">
                  <c:v>37425</c:v>
                </c:pt>
                <c:pt idx="615">
                  <c:v>37426</c:v>
                </c:pt>
                <c:pt idx="616">
                  <c:v>37427</c:v>
                </c:pt>
                <c:pt idx="617">
                  <c:v>37428</c:v>
                </c:pt>
                <c:pt idx="618">
                  <c:v>37431</c:v>
                </c:pt>
                <c:pt idx="619">
                  <c:v>37432</c:v>
                </c:pt>
                <c:pt idx="620">
                  <c:v>37433</c:v>
                </c:pt>
                <c:pt idx="621">
                  <c:v>37434</c:v>
                </c:pt>
                <c:pt idx="622">
                  <c:v>37435</c:v>
                </c:pt>
                <c:pt idx="623">
                  <c:v>37438</c:v>
                </c:pt>
                <c:pt idx="624">
                  <c:v>37439</c:v>
                </c:pt>
                <c:pt idx="625">
                  <c:v>37440</c:v>
                </c:pt>
                <c:pt idx="626">
                  <c:v>37441</c:v>
                </c:pt>
                <c:pt idx="627">
                  <c:v>37442</c:v>
                </c:pt>
                <c:pt idx="628">
                  <c:v>37445</c:v>
                </c:pt>
                <c:pt idx="629">
                  <c:v>37446</c:v>
                </c:pt>
                <c:pt idx="630">
                  <c:v>37447</c:v>
                </c:pt>
                <c:pt idx="631">
                  <c:v>37448</c:v>
                </c:pt>
                <c:pt idx="632">
                  <c:v>37449</c:v>
                </c:pt>
                <c:pt idx="633">
                  <c:v>37452</c:v>
                </c:pt>
                <c:pt idx="634">
                  <c:v>37453</c:v>
                </c:pt>
                <c:pt idx="635">
                  <c:v>37454</c:v>
                </c:pt>
                <c:pt idx="636">
                  <c:v>37455</c:v>
                </c:pt>
                <c:pt idx="637">
                  <c:v>37456</c:v>
                </c:pt>
                <c:pt idx="638">
                  <c:v>37459</c:v>
                </c:pt>
                <c:pt idx="639">
                  <c:v>37460</c:v>
                </c:pt>
                <c:pt idx="640">
                  <c:v>37461</c:v>
                </c:pt>
                <c:pt idx="641">
                  <c:v>37462</c:v>
                </c:pt>
                <c:pt idx="642">
                  <c:v>37463</c:v>
                </c:pt>
                <c:pt idx="643">
                  <c:v>37466</c:v>
                </c:pt>
                <c:pt idx="644">
                  <c:v>37467</c:v>
                </c:pt>
                <c:pt idx="645">
                  <c:v>37468</c:v>
                </c:pt>
                <c:pt idx="646">
                  <c:v>37469</c:v>
                </c:pt>
                <c:pt idx="647">
                  <c:v>37470</c:v>
                </c:pt>
                <c:pt idx="648">
                  <c:v>37473</c:v>
                </c:pt>
                <c:pt idx="649">
                  <c:v>37474</c:v>
                </c:pt>
                <c:pt idx="650">
                  <c:v>37475</c:v>
                </c:pt>
                <c:pt idx="651">
                  <c:v>37476</c:v>
                </c:pt>
                <c:pt idx="652">
                  <c:v>37477</c:v>
                </c:pt>
                <c:pt idx="653">
                  <c:v>37480</c:v>
                </c:pt>
                <c:pt idx="654">
                  <c:v>37481</c:v>
                </c:pt>
                <c:pt idx="655">
                  <c:v>37482</c:v>
                </c:pt>
                <c:pt idx="656">
                  <c:v>37483</c:v>
                </c:pt>
                <c:pt idx="657">
                  <c:v>37484</c:v>
                </c:pt>
                <c:pt idx="658">
                  <c:v>37487</c:v>
                </c:pt>
                <c:pt idx="659">
                  <c:v>37488</c:v>
                </c:pt>
                <c:pt idx="660">
                  <c:v>37489</c:v>
                </c:pt>
                <c:pt idx="661">
                  <c:v>37490</c:v>
                </c:pt>
                <c:pt idx="662">
                  <c:v>37491</c:v>
                </c:pt>
                <c:pt idx="663">
                  <c:v>37494</c:v>
                </c:pt>
                <c:pt idx="664">
                  <c:v>37495</c:v>
                </c:pt>
                <c:pt idx="665">
                  <c:v>37496</c:v>
                </c:pt>
                <c:pt idx="666">
                  <c:v>37497</c:v>
                </c:pt>
                <c:pt idx="667">
                  <c:v>37498</c:v>
                </c:pt>
                <c:pt idx="668">
                  <c:v>37501</c:v>
                </c:pt>
                <c:pt idx="669">
                  <c:v>37502</c:v>
                </c:pt>
                <c:pt idx="670">
                  <c:v>37503</c:v>
                </c:pt>
                <c:pt idx="671">
                  <c:v>37504</c:v>
                </c:pt>
                <c:pt idx="672">
                  <c:v>37505</c:v>
                </c:pt>
                <c:pt idx="673">
                  <c:v>37508</c:v>
                </c:pt>
                <c:pt idx="674">
                  <c:v>37509</c:v>
                </c:pt>
                <c:pt idx="675">
                  <c:v>37510</c:v>
                </c:pt>
                <c:pt idx="676">
                  <c:v>37511</c:v>
                </c:pt>
                <c:pt idx="677">
                  <c:v>37512</c:v>
                </c:pt>
                <c:pt idx="678">
                  <c:v>37515</c:v>
                </c:pt>
                <c:pt idx="679">
                  <c:v>37516</c:v>
                </c:pt>
                <c:pt idx="680">
                  <c:v>37517</c:v>
                </c:pt>
                <c:pt idx="681">
                  <c:v>37518</c:v>
                </c:pt>
                <c:pt idx="682">
                  <c:v>37519</c:v>
                </c:pt>
                <c:pt idx="683">
                  <c:v>37522</c:v>
                </c:pt>
                <c:pt idx="684">
                  <c:v>37523</c:v>
                </c:pt>
                <c:pt idx="685">
                  <c:v>37524</c:v>
                </c:pt>
                <c:pt idx="686">
                  <c:v>37525</c:v>
                </c:pt>
                <c:pt idx="687">
                  <c:v>37526</c:v>
                </c:pt>
                <c:pt idx="688">
                  <c:v>37529</c:v>
                </c:pt>
                <c:pt idx="689">
                  <c:v>37530</c:v>
                </c:pt>
                <c:pt idx="690">
                  <c:v>37531</c:v>
                </c:pt>
                <c:pt idx="691">
                  <c:v>37532</c:v>
                </c:pt>
                <c:pt idx="692">
                  <c:v>37533</c:v>
                </c:pt>
                <c:pt idx="693">
                  <c:v>37536</c:v>
                </c:pt>
                <c:pt idx="694">
                  <c:v>37537</c:v>
                </c:pt>
                <c:pt idx="695">
                  <c:v>37538</c:v>
                </c:pt>
                <c:pt idx="696">
                  <c:v>37539</c:v>
                </c:pt>
                <c:pt idx="697">
                  <c:v>37540</c:v>
                </c:pt>
                <c:pt idx="698">
                  <c:v>37543</c:v>
                </c:pt>
                <c:pt idx="699">
                  <c:v>37544</c:v>
                </c:pt>
                <c:pt idx="700">
                  <c:v>37545</c:v>
                </c:pt>
                <c:pt idx="701">
                  <c:v>37546</c:v>
                </c:pt>
                <c:pt idx="702">
                  <c:v>37547</c:v>
                </c:pt>
                <c:pt idx="703">
                  <c:v>37550</c:v>
                </c:pt>
                <c:pt idx="704">
                  <c:v>37551</c:v>
                </c:pt>
                <c:pt idx="705">
                  <c:v>37552</c:v>
                </c:pt>
                <c:pt idx="706">
                  <c:v>37553</c:v>
                </c:pt>
                <c:pt idx="707">
                  <c:v>37554</c:v>
                </c:pt>
                <c:pt idx="708">
                  <c:v>37557</c:v>
                </c:pt>
                <c:pt idx="709">
                  <c:v>37558</c:v>
                </c:pt>
                <c:pt idx="710">
                  <c:v>37559</c:v>
                </c:pt>
                <c:pt idx="711">
                  <c:v>37560</c:v>
                </c:pt>
                <c:pt idx="712">
                  <c:v>37561</c:v>
                </c:pt>
                <c:pt idx="713">
                  <c:v>37564</c:v>
                </c:pt>
                <c:pt idx="714">
                  <c:v>37565</c:v>
                </c:pt>
                <c:pt idx="715">
                  <c:v>37566</c:v>
                </c:pt>
                <c:pt idx="716">
                  <c:v>37567</c:v>
                </c:pt>
                <c:pt idx="717">
                  <c:v>37568</c:v>
                </c:pt>
                <c:pt idx="718">
                  <c:v>37571</c:v>
                </c:pt>
                <c:pt idx="719">
                  <c:v>37572</c:v>
                </c:pt>
                <c:pt idx="720">
                  <c:v>37573</c:v>
                </c:pt>
                <c:pt idx="721">
                  <c:v>37574</c:v>
                </c:pt>
                <c:pt idx="722">
                  <c:v>37578</c:v>
                </c:pt>
                <c:pt idx="723">
                  <c:v>37579</c:v>
                </c:pt>
                <c:pt idx="724">
                  <c:v>37580</c:v>
                </c:pt>
                <c:pt idx="725">
                  <c:v>37581</c:v>
                </c:pt>
                <c:pt idx="726">
                  <c:v>37582</c:v>
                </c:pt>
                <c:pt idx="727">
                  <c:v>37585</c:v>
                </c:pt>
                <c:pt idx="728">
                  <c:v>37586</c:v>
                </c:pt>
                <c:pt idx="729">
                  <c:v>37587</c:v>
                </c:pt>
                <c:pt idx="730">
                  <c:v>37588</c:v>
                </c:pt>
                <c:pt idx="731">
                  <c:v>37589</c:v>
                </c:pt>
                <c:pt idx="732">
                  <c:v>37592</c:v>
                </c:pt>
                <c:pt idx="733">
                  <c:v>37593</c:v>
                </c:pt>
                <c:pt idx="734">
                  <c:v>37594</c:v>
                </c:pt>
                <c:pt idx="735">
                  <c:v>37595</c:v>
                </c:pt>
                <c:pt idx="736">
                  <c:v>37596</c:v>
                </c:pt>
                <c:pt idx="737">
                  <c:v>37599</c:v>
                </c:pt>
                <c:pt idx="738">
                  <c:v>37600</c:v>
                </c:pt>
                <c:pt idx="739">
                  <c:v>37601</c:v>
                </c:pt>
                <c:pt idx="740">
                  <c:v>37602</c:v>
                </c:pt>
                <c:pt idx="741">
                  <c:v>37603</c:v>
                </c:pt>
                <c:pt idx="742">
                  <c:v>37606</c:v>
                </c:pt>
                <c:pt idx="743">
                  <c:v>37607</c:v>
                </c:pt>
                <c:pt idx="744">
                  <c:v>37608</c:v>
                </c:pt>
                <c:pt idx="745">
                  <c:v>37609</c:v>
                </c:pt>
                <c:pt idx="746">
                  <c:v>37610</c:v>
                </c:pt>
                <c:pt idx="747">
                  <c:v>37613</c:v>
                </c:pt>
                <c:pt idx="748">
                  <c:v>37614</c:v>
                </c:pt>
                <c:pt idx="749">
                  <c:v>37616</c:v>
                </c:pt>
                <c:pt idx="750">
                  <c:v>37617</c:v>
                </c:pt>
                <c:pt idx="751">
                  <c:v>37620</c:v>
                </c:pt>
                <c:pt idx="752">
                  <c:v>37621</c:v>
                </c:pt>
                <c:pt idx="753">
                  <c:v>37623</c:v>
                </c:pt>
                <c:pt idx="754">
                  <c:v>37624</c:v>
                </c:pt>
                <c:pt idx="755">
                  <c:v>37627</c:v>
                </c:pt>
                <c:pt idx="756">
                  <c:v>37628</c:v>
                </c:pt>
                <c:pt idx="757">
                  <c:v>37629</c:v>
                </c:pt>
                <c:pt idx="758">
                  <c:v>37630</c:v>
                </c:pt>
                <c:pt idx="759">
                  <c:v>37631</c:v>
                </c:pt>
                <c:pt idx="760">
                  <c:v>37634</c:v>
                </c:pt>
                <c:pt idx="761">
                  <c:v>37635</c:v>
                </c:pt>
                <c:pt idx="762">
                  <c:v>37636</c:v>
                </c:pt>
                <c:pt idx="763">
                  <c:v>37637</c:v>
                </c:pt>
                <c:pt idx="764">
                  <c:v>37638</c:v>
                </c:pt>
                <c:pt idx="765">
                  <c:v>37641</c:v>
                </c:pt>
                <c:pt idx="766">
                  <c:v>37642</c:v>
                </c:pt>
                <c:pt idx="767">
                  <c:v>37643</c:v>
                </c:pt>
                <c:pt idx="768">
                  <c:v>37644</c:v>
                </c:pt>
                <c:pt idx="769">
                  <c:v>37645</c:v>
                </c:pt>
                <c:pt idx="770">
                  <c:v>37648</c:v>
                </c:pt>
                <c:pt idx="771">
                  <c:v>37649</c:v>
                </c:pt>
                <c:pt idx="772">
                  <c:v>37650</c:v>
                </c:pt>
                <c:pt idx="773">
                  <c:v>37651</c:v>
                </c:pt>
                <c:pt idx="774">
                  <c:v>37652</c:v>
                </c:pt>
                <c:pt idx="775">
                  <c:v>37655</c:v>
                </c:pt>
                <c:pt idx="776">
                  <c:v>37656</c:v>
                </c:pt>
                <c:pt idx="777">
                  <c:v>37657</c:v>
                </c:pt>
                <c:pt idx="778">
                  <c:v>37658</c:v>
                </c:pt>
                <c:pt idx="779">
                  <c:v>37659</c:v>
                </c:pt>
                <c:pt idx="780">
                  <c:v>37662</c:v>
                </c:pt>
                <c:pt idx="781">
                  <c:v>37663</c:v>
                </c:pt>
                <c:pt idx="782">
                  <c:v>37664</c:v>
                </c:pt>
                <c:pt idx="783">
                  <c:v>37665</c:v>
                </c:pt>
                <c:pt idx="784">
                  <c:v>37666</c:v>
                </c:pt>
                <c:pt idx="785">
                  <c:v>37669</c:v>
                </c:pt>
                <c:pt idx="786">
                  <c:v>37670</c:v>
                </c:pt>
                <c:pt idx="787">
                  <c:v>37671</c:v>
                </c:pt>
                <c:pt idx="788">
                  <c:v>37672</c:v>
                </c:pt>
                <c:pt idx="789">
                  <c:v>37673</c:v>
                </c:pt>
                <c:pt idx="790">
                  <c:v>37676</c:v>
                </c:pt>
                <c:pt idx="791">
                  <c:v>37677</c:v>
                </c:pt>
                <c:pt idx="792">
                  <c:v>37678</c:v>
                </c:pt>
                <c:pt idx="793">
                  <c:v>37679</c:v>
                </c:pt>
                <c:pt idx="794">
                  <c:v>37680</c:v>
                </c:pt>
                <c:pt idx="795">
                  <c:v>37685</c:v>
                </c:pt>
                <c:pt idx="796">
                  <c:v>37686</c:v>
                </c:pt>
                <c:pt idx="797">
                  <c:v>37687</c:v>
                </c:pt>
                <c:pt idx="798">
                  <c:v>37690</c:v>
                </c:pt>
                <c:pt idx="799">
                  <c:v>37691</c:v>
                </c:pt>
                <c:pt idx="800">
                  <c:v>37692</c:v>
                </c:pt>
                <c:pt idx="801">
                  <c:v>37693</c:v>
                </c:pt>
                <c:pt idx="802">
                  <c:v>37694</c:v>
                </c:pt>
                <c:pt idx="803">
                  <c:v>37697</c:v>
                </c:pt>
                <c:pt idx="804">
                  <c:v>37698</c:v>
                </c:pt>
                <c:pt idx="805">
                  <c:v>37699</c:v>
                </c:pt>
                <c:pt idx="806">
                  <c:v>37700</c:v>
                </c:pt>
                <c:pt idx="807">
                  <c:v>37701</c:v>
                </c:pt>
                <c:pt idx="808">
                  <c:v>37704</c:v>
                </c:pt>
                <c:pt idx="809">
                  <c:v>37705</c:v>
                </c:pt>
                <c:pt idx="810">
                  <c:v>37706</c:v>
                </c:pt>
                <c:pt idx="811">
                  <c:v>37707</c:v>
                </c:pt>
                <c:pt idx="812">
                  <c:v>37708</c:v>
                </c:pt>
                <c:pt idx="813">
                  <c:v>37711</c:v>
                </c:pt>
                <c:pt idx="814">
                  <c:v>37712</c:v>
                </c:pt>
                <c:pt idx="815">
                  <c:v>37713</c:v>
                </c:pt>
                <c:pt idx="816">
                  <c:v>37714</c:v>
                </c:pt>
                <c:pt idx="817">
                  <c:v>37715</c:v>
                </c:pt>
                <c:pt idx="818">
                  <c:v>37718</c:v>
                </c:pt>
                <c:pt idx="819">
                  <c:v>37719</c:v>
                </c:pt>
                <c:pt idx="820">
                  <c:v>37720</c:v>
                </c:pt>
                <c:pt idx="821">
                  <c:v>37721</c:v>
                </c:pt>
                <c:pt idx="822">
                  <c:v>37722</c:v>
                </c:pt>
                <c:pt idx="823">
                  <c:v>37725</c:v>
                </c:pt>
                <c:pt idx="824">
                  <c:v>37726</c:v>
                </c:pt>
                <c:pt idx="825">
                  <c:v>37727</c:v>
                </c:pt>
                <c:pt idx="826">
                  <c:v>37728</c:v>
                </c:pt>
                <c:pt idx="827">
                  <c:v>37733</c:v>
                </c:pt>
                <c:pt idx="828">
                  <c:v>37734</c:v>
                </c:pt>
                <c:pt idx="829">
                  <c:v>37735</c:v>
                </c:pt>
                <c:pt idx="830">
                  <c:v>37736</c:v>
                </c:pt>
                <c:pt idx="831">
                  <c:v>37739</c:v>
                </c:pt>
                <c:pt idx="832">
                  <c:v>37740</c:v>
                </c:pt>
                <c:pt idx="833">
                  <c:v>37741</c:v>
                </c:pt>
                <c:pt idx="834">
                  <c:v>37743</c:v>
                </c:pt>
                <c:pt idx="835">
                  <c:v>37746</c:v>
                </c:pt>
                <c:pt idx="836">
                  <c:v>37747</c:v>
                </c:pt>
                <c:pt idx="837">
                  <c:v>37748</c:v>
                </c:pt>
                <c:pt idx="838">
                  <c:v>37749</c:v>
                </c:pt>
                <c:pt idx="839">
                  <c:v>37750</c:v>
                </c:pt>
                <c:pt idx="840">
                  <c:v>37753</c:v>
                </c:pt>
                <c:pt idx="841">
                  <c:v>37754</c:v>
                </c:pt>
                <c:pt idx="842">
                  <c:v>37755</c:v>
                </c:pt>
                <c:pt idx="843">
                  <c:v>37756</c:v>
                </c:pt>
                <c:pt idx="844">
                  <c:v>37757</c:v>
                </c:pt>
                <c:pt idx="845">
                  <c:v>37760</c:v>
                </c:pt>
                <c:pt idx="846">
                  <c:v>37761</c:v>
                </c:pt>
                <c:pt idx="847">
                  <c:v>37762</c:v>
                </c:pt>
                <c:pt idx="848">
                  <c:v>37763</c:v>
                </c:pt>
                <c:pt idx="849">
                  <c:v>37764</c:v>
                </c:pt>
                <c:pt idx="850">
                  <c:v>37767</c:v>
                </c:pt>
                <c:pt idx="851">
                  <c:v>37768</c:v>
                </c:pt>
                <c:pt idx="852">
                  <c:v>37769</c:v>
                </c:pt>
                <c:pt idx="853">
                  <c:v>37770</c:v>
                </c:pt>
                <c:pt idx="854">
                  <c:v>37771</c:v>
                </c:pt>
                <c:pt idx="855">
                  <c:v>37774</c:v>
                </c:pt>
                <c:pt idx="856">
                  <c:v>37775</c:v>
                </c:pt>
                <c:pt idx="857">
                  <c:v>37776</c:v>
                </c:pt>
                <c:pt idx="858">
                  <c:v>37777</c:v>
                </c:pt>
                <c:pt idx="859">
                  <c:v>37778</c:v>
                </c:pt>
                <c:pt idx="860">
                  <c:v>37781</c:v>
                </c:pt>
                <c:pt idx="861">
                  <c:v>37782</c:v>
                </c:pt>
                <c:pt idx="862">
                  <c:v>37783</c:v>
                </c:pt>
                <c:pt idx="863">
                  <c:v>37784</c:v>
                </c:pt>
                <c:pt idx="864">
                  <c:v>37785</c:v>
                </c:pt>
                <c:pt idx="865">
                  <c:v>37788</c:v>
                </c:pt>
                <c:pt idx="866">
                  <c:v>37789</c:v>
                </c:pt>
                <c:pt idx="867">
                  <c:v>37790</c:v>
                </c:pt>
                <c:pt idx="868">
                  <c:v>37792</c:v>
                </c:pt>
                <c:pt idx="869">
                  <c:v>37795</c:v>
                </c:pt>
                <c:pt idx="870">
                  <c:v>37796</c:v>
                </c:pt>
                <c:pt idx="871">
                  <c:v>37797</c:v>
                </c:pt>
                <c:pt idx="872">
                  <c:v>37798</c:v>
                </c:pt>
                <c:pt idx="873">
                  <c:v>37799</c:v>
                </c:pt>
                <c:pt idx="874">
                  <c:v>37802</c:v>
                </c:pt>
                <c:pt idx="875">
                  <c:v>37803</c:v>
                </c:pt>
                <c:pt idx="876">
                  <c:v>37804</c:v>
                </c:pt>
                <c:pt idx="877">
                  <c:v>37805</c:v>
                </c:pt>
                <c:pt idx="878">
                  <c:v>37806</c:v>
                </c:pt>
                <c:pt idx="879">
                  <c:v>37809</c:v>
                </c:pt>
                <c:pt idx="880">
                  <c:v>37810</c:v>
                </c:pt>
                <c:pt idx="881">
                  <c:v>37811</c:v>
                </c:pt>
                <c:pt idx="882">
                  <c:v>37812</c:v>
                </c:pt>
                <c:pt idx="883">
                  <c:v>37813</c:v>
                </c:pt>
                <c:pt idx="884">
                  <c:v>37816</c:v>
                </c:pt>
                <c:pt idx="885">
                  <c:v>37817</c:v>
                </c:pt>
                <c:pt idx="886">
                  <c:v>37818</c:v>
                </c:pt>
                <c:pt idx="887">
                  <c:v>37819</c:v>
                </c:pt>
                <c:pt idx="888">
                  <c:v>37820</c:v>
                </c:pt>
                <c:pt idx="889">
                  <c:v>37823</c:v>
                </c:pt>
                <c:pt idx="890">
                  <c:v>37824</c:v>
                </c:pt>
                <c:pt idx="891">
                  <c:v>37825</c:v>
                </c:pt>
                <c:pt idx="892">
                  <c:v>37826</c:v>
                </c:pt>
                <c:pt idx="893">
                  <c:v>37827</c:v>
                </c:pt>
                <c:pt idx="894">
                  <c:v>37830</c:v>
                </c:pt>
                <c:pt idx="895">
                  <c:v>37831</c:v>
                </c:pt>
                <c:pt idx="896">
                  <c:v>37832</c:v>
                </c:pt>
                <c:pt idx="897">
                  <c:v>37833</c:v>
                </c:pt>
                <c:pt idx="898">
                  <c:v>37834</c:v>
                </c:pt>
                <c:pt idx="899">
                  <c:v>37837</c:v>
                </c:pt>
                <c:pt idx="900">
                  <c:v>37838</c:v>
                </c:pt>
                <c:pt idx="901">
                  <c:v>37839</c:v>
                </c:pt>
                <c:pt idx="902">
                  <c:v>37840</c:v>
                </c:pt>
                <c:pt idx="903">
                  <c:v>37841</c:v>
                </c:pt>
                <c:pt idx="904">
                  <c:v>37844</c:v>
                </c:pt>
                <c:pt idx="905">
                  <c:v>37845</c:v>
                </c:pt>
                <c:pt idx="906">
                  <c:v>37846</c:v>
                </c:pt>
                <c:pt idx="907">
                  <c:v>37847</c:v>
                </c:pt>
                <c:pt idx="908">
                  <c:v>37848</c:v>
                </c:pt>
                <c:pt idx="909">
                  <c:v>37851</c:v>
                </c:pt>
                <c:pt idx="910">
                  <c:v>37852</c:v>
                </c:pt>
                <c:pt idx="911">
                  <c:v>37853</c:v>
                </c:pt>
                <c:pt idx="912">
                  <c:v>37854</c:v>
                </c:pt>
                <c:pt idx="913">
                  <c:v>37855</c:v>
                </c:pt>
                <c:pt idx="914">
                  <c:v>37858</c:v>
                </c:pt>
                <c:pt idx="915">
                  <c:v>37859</c:v>
                </c:pt>
                <c:pt idx="916">
                  <c:v>37860</c:v>
                </c:pt>
                <c:pt idx="917">
                  <c:v>37861</c:v>
                </c:pt>
                <c:pt idx="918">
                  <c:v>37862</c:v>
                </c:pt>
                <c:pt idx="919">
                  <c:v>37865</c:v>
                </c:pt>
                <c:pt idx="920">
                  <c:v>37866</c:v>
                </c:pt>
                <c:pt idx="921">
                  <c:v>37867</c:v>
                </c:pt>
                <c:pt idx="922">
                  <c:v>37868</c:v>
                </c:pt>
                <c:pt idx="923">
                  <c:v>37869</c:v>
                </c:pt>
                <c:pt idx="924">
                  <c:v>37872</c:v>
                </c:pt>
                <c:pt idx="925">
                  <c:v>37873</c:v>
                </c:pt>
                <c:pt idx="926">
                  <c:v>37874</c:v>
                </c:pt>
                <c:pt idx="927">
                  <c:v>37875</c:v>
                </c:pt>
                <c:pt idx="928">
                  <c:v>37876</c:v>
                </c:pt>
                <c:pt idx="929">
                  <c:v>37879</c:v>
                </c:pt>
                <c:pt idx="930">
                  <c:v>37880</c:v>
                </c:pt>
                <c:pt idx="931">
                  <c:v>37881</c:v>
                </c:pt>
                <c:pt idx="932">
                  <c:v>37882</c:v>
                </c:pt>
                <c:pt idx="933">
                  <c:v>37883</c:v>
                </c:pt>
                <c:pt idx="934">
                  <c:v>37886</c:v>
                </c:pt>
                <c:pt idx="935">
                  <c:v>37887</c:v>
                </c:pt>
                <c:pt idx="936">
                  <c:v>37888</c:v>
                </c:pt>
                <c:pt idx="937">
                  <c:v>37889</c:v>
                </c:pt>
                <c:pt idx="938">
                  <c:v>37890</c:v>
                </c:pt>
                <c:pt idx="939">
                  <c:v>37893</c:v>
                </c:pt>
                <c:pt idx="940">
                  <c:v>37894</c:v>
                </c:pt>
                <c:pt idx="941">
                  <c:v>37895</c:v>
                </c:pt>
                <c:pt idx="942">
                  <c:v>37896</c:v>
                </c:pt>
                <c:pt idx="943">
                  <c:v>37897</c:v>
                </c:pt>
                <c:pt idx="944">
                  <c:v>37900</c:v>
                </c:pt>
                <c:pt idx="945">
                  <c:v>37901</c:v>
                </c:pt>
                <c:pt idx="946">
                  <c:v>37902</c:v>
                </c:pt>
                <c:pt idx="947">
                  <c:v>37903</c:v>
                </c:pt>
                <c:pt idx="948">
                  <c:v>37904</c:v>
                </c:pt>
                <c:pt idx="949">
                  <c:v>37907</c:v>
                </c:pt>
                <c:pt idx="950">
                  <c:v>37908</c:v>
                </c:pt>
                <c:pt idx="951">
                  <c:v>37909</c:v>
                </c:pt>
                <c:pt idx="952">
                  <c:v>37910</c:v>
                </c:pt>
                <c:pt idx="953">
                  <c:v>37911</c:v>
                </c:pt>
                <c:pt idx="954">
                  <c:v>37914</c:v>
                </c:pt>
                <c:pt idx="955">
                  <c:v>37915</c:v>
                </c:pt>
                <c:pt idx="956">
                  <c:v>37916</c:v>
                </c:pt>
                <c:pt idx="957">
                  <c:v>37917</c:v>
                </c:pt>
                <c:pt idx="958">
                  <c:v>37918</c:v>
                </c:pt>
                <c:pt idx="959">
                  <c:v>37921</c:v>
                </c:pt>
                <c:pt idx="960">
                  <c:v>37922</c:v>
                </c:pt>
                <c:pt idx="961">
                  <c:v>37923</c:v>
                </c:pt>
                <c:pt idx="962">
                  <c:v>37924</c:v>
                </c:pt>
                <c:pt idx="963">
                  <c:v>37925</c:v>
                </c:pt>
                <c:pt idx="964">
                  <c:v>37928</c:v>
                </c:pt>
                <c:pt idx="965">
                  <c:v>37929</c:v>
                </c:pt>
                <c:pt idx="966">
                  <c:v>37930</c:v>
                </c:pt>
                <c:pt idx="967">
                  <c:v>37931</c:v>
                </c:pt>
                <c:pt idx="968">
                  <c:v>37932</c:v>
                </c:pt>
                <c:pt idx="969">
                  <c:v>37935</c:v>
                </c:pt>
                <c:pt idx="970">
                  <c:v>37936</c:v>
                </c:pt>
                <c:pt idx="971">
                  <c:v>37937</c:v>
                </c:pt>
                <c:pt idx="972">
                  <c:v>37938</c:v>
                </c:pt>
                <c:pt idx="973">
                  <c:v>37939</c:v>
                </c:pt>
                <c:pt idx="974">
                  <c:v>37942</c:v>
                </c:pt>
                <c:pt idx="975">
                  <c:v>37943</c:v>
                </c:pt>
                <c:pt idx="976">
                  <c:v>37944</c:v>
                </c:pt>
                <c:pt idx="977">
                  <c:v>37945</c:v>
                </c:pt>
                <c:pt idx="978">
                  <c:v>37946</c:v>
                </c:pt>
                <c:pt idx="979">
                  <c:v>37949</c:v>
                </c:pt>
                <c:pt idx="980">
                  <c:v>37950</c:v>
                </c:pt>
                <c:pt idx="981">
                  <c:v>37951</c:v>
                </c:pt>
                <c:pt idx="982">
                  <c:v>37952</c:v>
                </c:pt>
                <c:pt idx="983">
                  <c:v>37953</c:v>
                </c:pt>
                <c:pt idx="984">
                  <c:v>37956</c:v>
                </c:pt>
                <c:pt idx="985">
                  <c:v>37957</c:v>
                </c:pt>
                <c:pt idx="986">
                  <c:v>37958</c:v>
                </c:pt>
                <c:pt idx="987">
                  <c:v>37959</c:v>
                </c:pt>
                <c:pt idx="988">
                  <c:v>37960</c:v>
                </c:pt>
                <c:pt idx="989">
                  <c:v>37963</c:v>
                </c:pt>
                <c:pt idx="990">
                  <c:v>37964</c:v>
                </c:pt>
                <c:pt idx="991">
                  <c:v>37965</c:v>
                </c:pt>
                <c:pt idx="992">
                  <c:v>37966</c:v>
                </c:pt>
                <c:pt idx="993">
                  <c:v>37967</c:v>
                </c:pt>
                <c:pt idx="994">
                  <c:v>37970</c:v>
                </c:pt>
                <c:pt idx="995">
                  <c:v>37971</c:v>
                </c:pt>
                <c:pt idx="996">
                  <c:v>37972</c:v>
                </c:pt>
                <c:pt idx="997">
                  <c:v>37973</c:v>
                </c:pt>
                <c:pt idx="998">
                  <c:v>37974</c:v>
                </c:pt>
                <c:pt idx="999">
                  <c:v>37977</c:v>
                </c:pt>
                <c:pt idx="1000">
                  <c:v>37978</c:v>
                </c:pt>
                <c:pt idx="1001">
                  <c:v>37979</c:v>
                </c:pt>
                <c:pt idx="1002">
                  <c:v>37981</c:v>
                </c:pt>
                <c:pt idx="1003">
                  <c:v>37984</c:v>
                </c:pt>
                <c:pt idx="1004">
                  <c:v>37985</c:v>
                </c:pt>
                <c:pt idx="1005">
                  <c:v>37986</c:v>
                </c:pt>
                <c:pt idx="1006">
                  <c:v>37988</c:v>
                </c:pt>
                <c:pt idx="1007">
                  <c:v>37991</c:v>
                </c:pt>
                <c:pt idx="1008">
                  <c:v>37992</c:v>
                </c:pt>
                <c:pt idx="1009">
                  <c:v>37993</c:v>
                </c:pt>
                <c:pt idx="1010">
                  <c:v>37994</c:v>
                </c:pt>
                <c:pt idx="1011">
                  <c:v>37995</c:v>
                </c:pt>
                <c:pt idx="1012">
                  <c:v>37998</c:v>
                </c:pt>
                <c:pt idx="1013">
                  <c:v>37999</c:v>
                </c:pt>
                <c:pt idx="1014">
                  <c:v>38000</c:v>
                </c:pt>
                <c:pt idx="1015">
                  <c:v>38001</c:v>
                </c:pt>
                <c:pt idx="1016">
                  <c:v>38002</c:v>
                </c:pt>
                <c:pt idx="1017">
                  <c:v>38005</c:v>
                </c:pt>
                <c:pt idx="1018">
                  <c:v>38006</c:v>
                </c:pt>
                <c:pt idx="1019">
                  <c:v>38007</c:v>
                </c:pt>
                <c:pt idx="1020">
                  <c:v>38008</c:v>
                </c:pt>
                <c:pt idx="1021">
                  <c:v>38009</c:v>
                </c:pt>
                <c:pt idx="1022">
                  <c:v>38012</c:v>
                </c:pt>
                <c:pt idx="1023">
                  <c:v>38013</c:v>
                </c:pt>
                <c:pt idx="1024">
                  <c:v>38014</c:v>
                </c:pt>
                <c:pt idx="1025">
                  <c:v>38015</c:v>
                </c:pt>
                <c:pt idx="1026">
                  <c:v>38016</c:v>
                </c:pt>
                <c:pt idx="1027">
                  <c:v>38019</c:v>
                </c:pt>
                <c:pt idx="1028">
                  <c:v>38020</c:v>
                </c:pt>
                <c:pt idx="1029">
                  <c:v>38021</c:v>
                </c:pt>
                <c:pt idx="1030">
                  <c:v>38022</c:v>
                </c:pt>
                <c:pt idx="1031">
                  <c:v>38023</c:v>
                </c:pt>
                <c:pt idx="1032">
                  <c:v>38026</c:v>
                </c:pt>
                <c:pt idx="1033">
                  <c:v>38027</c:v>
                </c:pt>
                <c:pt idx="1034">
                  <c:v>38028</c:v>
                </c:pt>
                <c:pt idx="1035">
                  <c:v>38029</c:v>
                </c:pt>
                <c:pt idx="1036">
                  <c:v>38030</c:v>
                </c:pt>
                <c:pt idx="1037">
                  <c:v>38033</c:v>
                </c:pt>
                <c:pt idx="1038">
                  <c:v>38034</c:v>
                </c:pt>
                <c:pt idx="1039">
                  <c:v>38035</c:v>
                </c:pt>
                <c:pt idx="1040">
                  <c:v>38036</c:v>
                </c:pt>
                <c:pt idx="1041">
                  <c:v>38037</c:v>
                </c:pt>
                <c:pt idx="1042">
                  <c:v>38042</c:v>
                </c:pt>
                <c:pt idx="1043">
                  <c:v>38043</c:v>
                </c:pt>
                <c:pt idx="1044">
                  <c:v>38044</c:v>
                </c:pt>
                <c:pt idx="1045">
                  <c:v>38047</c:v>
                </c:pt>
                <c:pt idx="1046">
                  <c:v>38048</c:v>
                </c:pt>
                <c:pt idx="1047">
                  <c:v>38049</c:v>
                </c:pt>
                <c:pt idx="1048">
                  <c:v>38050</c:v>
                </c:pt>
                <c:pt idx="1049">
                  <c:v>38051</c:v>
                </c:pt>
                <c:pt idx="1050">
                  <c:v>38054</c:v>
                </c:pt>
                <c:pt idx="1051">
                  <c:v>38055</c:v>
                </c:pt>
                <c:pt idx="1052">
                  <c:v>38056</c:v>
                </c:pt>
                <c:pt idx="1053">
                  <c:v>38057</c:v>
                </c:pt>
                <c:pt idx="1054">
                  <c:v>38058</c:v>
                </c:pt>
                <c:pt idx="1055">
                  <c:v>38061</c:v>
                </c:pt>
                <c:pt idx="1056">
                  <c:v>38062</c:v>
                </c:pt>
                <c:pt idx="1057">
                  <c:v>38063</c:v>
                </c:pt>
                <c:pt idx="1058">
                  <c:v>38064</c:v>
                </c:pt>
                <c:pt idx="1059">
                  <c:v>38065</c:v>
                </c:pt>
                <c:pt idx="1060">
                  <c:v>38068</c:v>
                </c:pt>
                <c:pt idx="1061">
                  <c:v>38069</c:v>
                </c:pt>
                <c:pt idx="1062">
                  <c:v>38070</c:v>
                </c:pt>
                <c:pt idx="1063">
                  <c:v>38071</c:v>
                </c:pt>
                <c:pt idx="1064">
                  <c:v>38072</c:v>
                </c:pt>
                <c:pt idx="1065">
                  <c:v>38075</c:v>
                </c:pt>
                <c:pt idx="1066">
                  <c:v>38076</c:v>
                </c:pt>
                <c:pt idx="1067">
                  <c:v>38077</c:v>
                </c:pt>
                <c:pt idx="1068">
                  <c:v>38078</c:v>
                </c:pt>
                <c:pt idx="1069">
                  <c:v>38079</c:v>
                </c:pt>
                <c:pt idx="1070">
                  <c:v>38082</c:v>
                </c:pt>
                <c:pt idx="1071">
                  <c:v>38083</c:v>
                </c:pt>
                <c:pt idx="1072">
                  <c:v>38084</c:v>
                </c:pt>
                <c:pt idx="1073">
                  <c:v>38085</c:v>
                </c:pt>
                <c:pt idx="1074">
                  <c:v>38089</c:v>
                </c:pt>
                <c:pt idx="1075">
                  <c:v>38090</c:v>
                </c:pt>
                <c:pt idx="1076">
                  <c:v>38091</c:v>
                </c:pt>
                <c:pt idx="1077">
                  <c:v>38092</c:v>
                </c:pt>
                <c:pt idx="1078">
                  <c:v>38093</c:v>
                </c:pt>
                <c:pt idx="1079">
                  <c:v>38096</c:v>
                </c:pt>
                <c:pt idx="1080">
                  <c:v>38097</c:v>
                </c:pt>
                <c:pt idx="1081">
                  <c:v>38099</c:v>
                </c:pt>
                <c:pt idx="1082">
                  <c:v>38100</c:v>
                </c:pt>
                <c:pt idx="1083">
                  <c:v>38103</c:v>
                </c:pt>
                <c:pt idx="1084">
                  <c:v>38104</c:v>
                </c:pt>
                <c:pt idx="1085">
                  <c:v>38105</c:v>
                </c:pt>
                <c:pt idx="1086">
                  <c:v>38106</c:v>
                </c:pt>
                <c:pt idx="1087">
                  <c:v>38107</c:v>
                </c:pt>
                <c:pt idx="1088">
                  <c:v>38110</c:v>
                </c:pt>
                <c:pt idx="1089">
                  <c:v>38111</c:v>
                </c:pt>
                <c:pt idx="1090">
                  <c:v>38112</c:v>
                </c:pt>
                <c:pt idx="1091">
                  <c:v>38113</c:v>
                </c:pt>
                <c:pt idx="1092">
                  <c:v>38114</c:v>
                </c:pt>
                <c:pt idx="1093">
                  <c:v>38117</c:v>
                </c:pt>
                <c:pt idx="1094">
                  <c:v>38118</c:v>
                </c:pt>
                <c:pt idx="1095">
                  <c:v>38119</c:v>
                </c:pt>
                <c:pt idx="1096">
                  <c:v>38120</c:v>
                </c:pt>
                <c:pt idx="1097">
                  <c:v>38121</c:v>
                </c:pt>
                <c:pt idx="1098">
                  <c:v>38124</c:v>
                </c:pt>
                <c:pt idx="1099">
                  <c:v>38125</c:v>
                </c:pt>
                <c:pt idx="1100">
                  <c:v>38126</c:v>
                </c:pt>
                <c:pt idx="1101">
                  <c:v>38127</c:v>
                </c:pt>
                <c:pt idx="1102">
                  <c:v>38128</c:v>
                </c:pt>
                <c:pt idx="1103">
                  <c:v>38131</c:v>
                </c:pt>
                <c:pt idx="1104">
                  <c:v>38132</c:v>
                </c:pt>
                <c:pt idx="1105">
                  <c:v>38133</c:v>
                </c:pt>
                <c:pt idx="1106">
                  <c:v>38134</c:v>
                </c:pt>
                <c:pt idx="1107">
                  <c:v>38135</c:v>
                </c:pt>
                <c:pt idx="1108">
                  <c:v>38138</c:v>
                </c:pt>
                <c:pt idx="1109">
                  <c:v>38139</c:v>
                </c:pt>
                <c:pt idx="1110">
                  <c:v>38140</c:v>
                </c:pt>
                <c:pt idx="1111">
                  <c:v>38141</c:v>
                </c:pt>
                <c:pt idx="1112">
                  <c:v>38142</c:v>
                </c:pt>
                <c:pt idx="1113">
                  <c:v>38145</c:v>
                </c:pt>
                <c:pt idx="1114">
                  <c:v>38146</c:v>
                </c:pt>
                <c:pt idx="1115">
                  <c:v>38147</c:v>
                </c:pt>
                <c:pt idx="1116">
                  <c:v>38149</c:v>
                </c:pt>
                <c:pt idx="1117">
                  <c:v>38152</c:v>
                </c:pt>
                <c:pt idx="1118">
                  <c:v>38153</c:v>
                </c:pt>
                <c:pt idx="1119">
                  <c:v>38154</c:v>
                </c:pt>
                <c:pt idx="1120">
                  <c:v>38155</c:v>
                </c:pt>
                <c:pt idx="1121">
                  <c:v>38156</c:v>
                </c:pt>
                <c:pt idx="1122">
                  <c:v>38159</c:v>
                </c:pt>
                <c:pt idx="1123">
                  <c:v>38160</c:v>
                </c:pt>
                <c:pt idx="1124">
                  <c:v>38161</c:v>
                </c:pt>
                <c:pt idx="1125">
                  <c:v>38162</c:v>
                </c:pt>
                <c:pt idx="1126">
                  <c:v>38163</c:v>
                </c:pt>
                <c:pt idx="1127">
                  <c:v>38166</c:v>
                </c:pt>
                <c:pt idx="1128">
                  <c:v>38167</c:v>
                </c:pt>
                <c:pt idx="1129">
                  <c:v>38168</c:v>
                </c:pt>
                <c:pt idx="1130">
                  <c:v>38169</c:v>
                </c:pt>
                <c:pt idx="1131">
                  <c:v>38170</c:v>
                </c:pt>
                <c:pt idx="1132">
                  <c:v>38173</c:v>
                </c:pt>
                <c:pt idx="1133">
                  <c:v>38174</c:v>
                </c:pt>
                <c:pt idx="1134">
                  <c:v>38175</c:v>
                </c:pt>
                <c:pt idx="1135">
                  <c:v>38176</c:v>
                </c:pt>
                <c:pt idx="1136">
                  <c:v>38177</c:v>
                </c:pt>
                <c:pt idx="1137">
                  <c:v>38180</c:v>
                </c:pt>
                <c:pt idx="1138">
                  <c:v>38181</c:v>
                </c:pt>
                <c:pt idx="1139">
                  <c:v>38182</c:v>
                </c:pt>
                <c:pt idx="1140">
                  <c:v>38183</c:v>
                </c:pt>
                <c:pt idx="1141">
                  <c:v>38184</c:v>
                </c:pt>
                <c:pt idx="1142">
                  <c:v>38187</c:v>
                </c:pt>
                <c:pt idx="1143">
                  <c:v>38188</c:v>
                </c:pt>
                <c:pt idx="1144">
                  <c:v>38189</c:v>
                </c:pt>
                <c:pt idx="1145">
                  <c:v>38190</c:v>
                </c:pt>
                <c:pt idx="1146">
                  <c:v>38191</c:v>
                </c:pt>
                <c:pt idx="1147">
                  <c:v>38194</c:v>
                </c:pt>
                <c:pt idx="1148">
                  <c:v>38195</c:v>
                </c:pt>
                <c:pt idx="1149">
                  <c:v>38196</c:v>
                </c:pt>
                <c:pt idx="1150">
                  <c:v>38197</c:v>
                </c:pt>
                <c:pt idx="1151">
                  <c:v>38198</c:v>
                </c:pt>
                <c:pt idx="1152">
                  <c:v>38201</c:v>
                </c:pt>
                <c:pt idx="1153">
                  <c:v>38202</c:v>
                </c:pt>
                <c:pt idx="1154">
                  <c:v>38203</c:v>
                </c:pt>
                <c:pt idx="1155">
                  <c:v>38204</c:v>
                </c:pt>
                <c:pt idx="1156">
                  <c:v>38205</c:v>
                </c:pt>
                <c:pt idx="1157">
                  <c:v>38208</c:v>
                </c:pt>
                <c:pt idx="1158">
                  <c:v>38209</c:v>
                </c:pt>
                <c:pt idx="1159">
                  <c:v>38210</c:v>
                </c:pt>
                <c:pt idx="1160">
                  <c:v>38211</c:v>
                </c:pt>
                <c:pt idx="1161">
                  <c:v>38212</c:v>
                </c:pt>
                <c:pt idx="1162">
                  <c:v>38215</c:v>
                </c:pt>
                <c:pt idx="1163">
                  <c:v>38216</c:v>
                </c:pt>
                <c:pt idx="1164">
                  <c:v>38217</c:v>
                </c:pt>
                <c:pt idx="1165">
                  <c:v>38218</c:v>
                </c:pt>
                <c:pt idx="1166">
                  <c:v>38219</c:v>
                </c:pt>
                <c:pt idx="1167">
                  <c:v>38222</c:v>
                </c:pt>
                <c:pt idx="1168">
                  <c:v>38223</c:v>
                </c:pt>
                <c:pt idx="1169">
                  <c:v>38224</c:v>
                </c:pt>
                <c:pt idx="1170">
                  <c:v>38225</c:v>
                </c:pt>
                <c:pt idx="1171">
                  <c:v>38226</c:v>
                </c:pt>
                <c:pt idx="1172">
                  <c:v>38229</c:v>
                </c:pt>
                <c:pt idx="1173">
                  <c:v>38230</c:v>
                </c:pt>
                <c:pt idx="1174">
                  <c:v>38231</c:v>
                </c:pt>
                <c:pt idx="1175">
                  <c:v>38232</c:v>
                </c:pt>
                <c:pt idx="1176">
                  <c:v>38233</c:v>
                </c:pt>
                <c:pt idx="1177">
                  <c:v>38236</c:v>
                </c:pt>
                <c:pt idx="1178">
                  <c:v>38238</c:v>
                </c:pt>
                <c:pt idx="1179">
                  <c:v>38239</c:v>
                </c:pt>
                <c:pt idx="1180">
                  <c:v>38240</c:v>
                </c:pt>
                <c:pt idx="1181">
                  <c:v>38243</c:v>
                </c:pt>
                <c:pt idx="1182">
                  <c:v>38244</c:v>
                </c:pt>
                <c:pt idx="1183">
                  <c:v>38245</c:v>
                </c:pt>
                <c:pt idx="1184">
                  <c:v>38246</c:v>
                </c:pt>
                <c:pt idx="1185">
                  <c:v>38247</c:v>
                </c:pt>
                <c:pt idx="1186">
                  <c:v>38250</c:v>
                </c:pt>
                <c:pt idx="1187">
                  <c:v>38251</c:v>
                </c:pt>
                <c:pt idx="1188">
                  <c:v>38252</c:v>
                </c:pt>
                <c:pt idx="1189">
                  <c:v>38253</c:v>
                </c:pt>
                <c:pt idx="1190">
                  <c:v>38254</c:v>
                </c:pt>
                <c:pt idx="1191">
                  <c:v>38257</c:v>
                </c:pt>
                <c:pt idx="1192">
                  <c:v>38258</c:v>
                </c:pt>
                <c:pt idx="1193">
                  <c:v>38259</c:v>
                </c:pt>
                <c:pt idx="1194">
                  <c:v>38260</c:v>
                </c:pt>
                <c:pt idx="1195">
                  <c:v>38261</c:v>
                </c:pt>
                <c:pt idx="1196">
                  <c:v>38264</c:v>
                </c:pt>
                <c:pt idx="1197">
                  <c:v>38265</c:v>
                </c:pt>
                <c:pt idx="1198">
                  <c:v>38266</c:v>
                </c:pt>
                <c:pt idx="1199">
                  <c:v>38267</c:v>
                </c:pt>
                <c:pt idx="1200">
                  <c:v>38268</c:v>
                </c:pt>
                <c:pt idx="1201">
                  <c:v>38271</c:v>
                </c:pt>
                <c:pt idx="1202">
                  <c:v>38273</c:v>
                </c:pt>
                <c:pt idx="1203">
                  <c:v>38274</c:v>
                </c:pt>
                <c:pt idx="1204">
                  <c:v>38275</c:v>
                </c:pt>
                <c:pt idx="1205">
                  <c:v>38278</c:v>
                </c:pt>
                <c:pt idx="1206">
                  <c:v>38279</c:v>
                </c:pt>
                <c:pt idx="1207">
                  <c:v>38280</c:v>
                </c:pt>
                <c:pt idx="1208">
                  <c:v>38281</c:v>
                </c:pt>
                <c:pt idx="1209">
                  <c:v>38282</c:v>
                </c:pt>
                <c:pt idx="1210">
                  <c:v>38285</c:v>
                </c:pt>
                <c:pt idx="1211">
                  <c:v>38286</c:v>
                </c:pt>
                <c:pt idx="1212">
                  <c:v>38287</c:v>
                </c:pt>
                <c:pt idx="1213">
                  <c:v>38288</c:v>
                </c:pt>
                <c:pt idx="1214">
                  <c:v>38289</c:v>
                </c:pt>
                <c:pt idx="1215">
                  <c:v>38292</c:v>
                </c:pt>
                <c:pt idx="1216">
                  <c:v>38294</c:v>
                </c:pt>
                <c:pt idx="1217">
                  <c:v>38295</c:v>
                </c:pt>
                <c:pt idx="1218">
                  <c:v>38296</c:v>
                </c:pt>
                <c:pt idx="1219">
                  <c:v>38299</c:v>
                </c:pt>
                <c:pt idx="1220">
                  <c:v>38300</c:v>
                </c:pt>
                <c:pt idx="1221">
                  <c:v>38301</c:v>
                </c:pt>
                <c:pt idx="1222">
                  <c:v>38302</c:v>
                </c:pt>
                <c:pt idx="1223">
                  <c:v>38303</c:v>
                </c:pt>
                <c:pt idx="1224">
                  <c:v>38307</c:v>
                </c:pt>
                <c:pt idx="1225">
                  <c:v>38308</c:v>
                </c:pt>
                <c:pt idx="1226">
                  <c:v>38309</c:v>
                </c:pt>
                <c:pt idx="1227">
                  <c:v>38310</c:v>
                </c:pt>
                <c:pt idx="1228">
                  <c:v>38313</c:v>
                </c:pt>
                <c:pt idx="1229">
                  <c:v>38314</c:v>
                </c:pt>
                <c:pt idx="1230">
                  <c:v>38315</c:v>
                </c:pt>
                <c:pt idx="1231">
                  <c:v>38316</c:v>
                </c:pt>
                <c:pt idx="1232">
                  <c:v>38317</c:v>
                </c:pt>
                <c:pt idx="1233">
                  <c:v>38320</c:v>
                </c:pt>
                <c:pt idx="1234">
                  <c:v>38321</c:v>
                </c:pt>
                <c:pt idx="1235">
                  <c:v>38322</c:v>
                </c:pt>
                <c:pt idx="1236">
                  <c:v>38323</c:v>
                </c:pt>
                <c:pt idx="1237">
                  <c:v>38324</c:v>
                </c:pt>
                <c:pt idx="1238">
                  <c:v>38327</c:v>
                </c:pt>
                <c:pt idx="1239">
                  <c:v>38328</c:v>
                </c:pt>
                <c:pt idx="1240">
                  <c:v>38329</c:v>
                </c:pt>
                <c:pt idx="1241">
                  <c:v>38330</c:v>
                </c:pt>
                <c:pt idx="1242">
                  <c:v>38331</c:v>
                </c:pt>
                <c:pt idx="1243">
                  <c:v>38334</c:v>
                </c:pt>
                <c:pt idx="1244">
                  <c:v>38335</c:v>
                </c:pt>
                <c:pt idx="1245">
                  <c:v>38336</c:v>
                </c:pt>
                <c:pt idx="1246">
                  <c:v>38337</c:v>
                </c:pt>
                <c:pt idx="1247">
                  <c:v>38338</c:v>
                </c:pt>
                <c:pt idx="1248">
                  <c:v>38341</c:v>
                </c:pt>
                <c:pt idx="1249">
                  <c:v>38342</c:v>
                </c:pt>
                <c:pt idx="1250">
                  <c:v>38343</c:v>
                </c:pt>
                <c:pt idx="1251">
                  <c:v>38344</c:v>
                </c:pt>
                <c:pt idx="1252">
                  <c:v>38345</c:v>
                </c:pt>
                <c:pt idx="1253">
                  <c:v>38348</c:v>
                </c:pt>
                <c:pt idx="1254">
                  <c:v>38349</c:v>
                </c:pt>
                <c:pt idx="1255">
                  <c:v>38350</c:v>
                </c:pt>
                <c:pt idx="1256">
                  <c:v>38351</c:v>
                </c:pt>
                <c:pt idx="1257">
                  <c:v>38352</c:v>
                </c:pt>
                <c:pt idx="1258">
                  <c:v>38355</c:v>
                </c:pt>
                <c:pt idx="1259">
                  <c:v>38356</c:v>
                </c:pt>
                <c:pt idx="1260">
                  <c:v>38357</c:v>
                </c:pt>
                <c:pt idx="1261">
                  <c:v>38358</c:v>
                </c:pt>
                <c:pt idx="1262">
                  <c:v>38359</c:v>
                </c:pt>
                <c:pt idx="1263">
                  <c:v>38362</c:v>
                </c:pt>
                <c:pt idx="1264">
                  <c:v>38363</c:v>
                </c:pt>
                <c:pt idx="1265">
                  <c:v>38364</c:v>
                </c:pt>
                <c:pt idx="1266">
                  <c:v>38365</c:v>
                </c:pt>
                <c:pt idx="1267">
                  <c:v>38366</c:v>
                </c:pt>
                <c:pt idx="1268">
                  <c:v>38369</c:v>
                </c:pt>
                <c:pt idx="1269">
                  <c:v>38370</c:v>
                </c:pt>
                <c:pt idx="1270">
                  <c:v>38371</c:v>
                </c:pt>
                <c:pt idx="1271">
                  <c:v>38372</c:v>
                </c:pt>
                <c:pt idx="1272">
                  <c:v>38373</c:v>
                </c:pt>
                <c:pt idx="1273">
                  <c:v>38376</c:v>
                </c:pt>
                <c:pt idx="1274">
                  <c:v>38377</c:v>
                </c:pt>
                <c:pt idx="1275">
                  <c:v>38378</c:v>
                </c:pt>
                <c:pt idx="1276">
                  <c:v>38379</c:v>
                </c:pt>
                <c:pt idx="1277">
                  <c:v>38380</c:v>
                </c:pt>
                <c:pt idx="1278">
                  <c:v>38383</c:v>
                </c:pt>
                <c:pt idx="1279">
                  <c:v>38384</c:v>
                </c:pt>
                <c:pt idx="1280">
                  <c:v>38385</c:v>
                </c:pt>
                <c:pt idx="1281">
                  <c:v>38386</c:v>
                </c:pt>
                <c:pt idx="1282">
                  <c:v>38387</c:v>
                </c:pt>
                <c:pt idx="1283">
                  <c:v>38392</c:v>
                </c:pt>
                <c:pt idx="1284">
                  <c:v>38393</c:v>
                </c:pt>
                <c:pt idx="1285">
                  <c:v>38394</c:v>
                </c:pt>
                <c:pt idx="1286">
                  <c:v>38397</c:v>
                </c:pt>
                <c:pt idx="1287">
                  <c:v>38398</c:v>
                </c:pt>
                <c:pt idx="1288">
                  <c:v>38399</c:v>
                </c:pt>
                <c:pt idx="1289">
                  <c:v>38400</c:v>
                </c:pt>
                <c:pt idx="1290">
                  <c:v>38401</c:v>
                </c:pt>
                <c:pt idx="1291">
                  <c:v>38404</c:v>
                </c:pt>
                <c:pt idx="1292">
                  <c:v>38405</c:v>
                </c:pt>
                <c:pt idx="1293">
                  <c:v>38406</c:v>
                </c:pt>
                <c:pt idx="1294">
                  <c:v>38407</c:v>
                </c:pt>
                <c:pt idx="1295">
                  <c:v>38408</c:v>
                </c:pt>
                <c:pt idx="1296">
                  <c:v>38411</c:v>
                </c:pt>
                <c:pt idx="1297">
                  <c:v>38412</c:v>
                </c:pt>
                <c:pt idx="1298">
                  <c:v>38413</c:v>
                </c:pt>
                <c:pt idx="1299">
                  <c:v>38414</c:v>
                </c:pt>
                <c:pt idx="1300">
                  <c:v>38415</c:v>
                </c:pt>
                <c:pt idx="1301">
                  <c:v>38418</c:v>
                </c:pt>
                <c:pt idx="1302">
                  <c:v>38419</c:v>
                </c:pt>
                <c:pt idx="1303">
                  <c:v>38420</c:v>
                </c:pt>
                <c:pt idx="1304">
                  <c:v>38421</c:v>
                </c:pt>
                <c:pt idx="1305">
                  <c:v>38422</c:v>
                </c:pt>
                <c:pt idx="1306">
                  <c:v>38425</c:v>
                </c:pt>
                <c:pt idx="1307">
                  <c:v>38426</c:v>
                </c:pt>
                <c:pt idx="1308">
                  <c:v>38427</c:v>
                </c:pt>
                <c:pt idx="1309">
                  <c:v>38428</c:v>
                </c:pt>
                <c:pt idx="1310">
                  <c:v>38429</c:v>
                </c:pt>
                <c:pt idx="1311">
                  <c:v>38432</c:v>
                </c:pt>
                <c:pt idx="1312">
                  <c:v>38433</c:v>
                </c:pt>
                <c:pt idx="1313">
                  <c:v>38434</c:v>
                </c:pt>
                <c:pt idx="1314">
                  <c:v>38435</c:v>
                </c:pt>
                <c:pt idx="1315">
                  <c:v>38439</c:v>
                </c:pt>
                <c:pt idx="1316">
                  <c:v>38440</c:v>
                </c:pt>
                <c:pt idx="1317">
                  <c:v>38441</c:v>
                </c:pt>
                <c:pt idx="1318">
                  <c:v>38442</c:v>
                </c:pt>
                <c:pt idx="1319">
                  <c:v>38443</c:v>
                </c:pt>
                <c:pt idx="1320">
                  <c:v>38446</c:v>
                </c:pt>
                <c:pt idx="1321">
                  <c:v>38447</c:v>
                </c:pt>
                <c:pt idx="1322">
                  <c:v>38448</c:v>
                </c:pt>
                <c:pt idx="1323">
                  <c:v>38449</c:v>
                </c:pt>
                <c:pt idx="1324">
                  <c:v>38450</c:v>
                </c:pt>
                <c:pt idx="1325">
                  <c:v>38453</c:v>
                </c:pt>
                <c:pt idx="1326">
                  <c:v>38454</c:v>
                </c:pt>
                <c:pt idx="1327">
                  <c:v>38455</c:v>
                </c:pt>
                <c:pt idx="1328">
                  <c:v>38456</c:v>
                </c:pt>
                <c:pt idx="1329">
                  <c:v>38457</c:v>
                </c:pt>
                <c:pt idx="1330">
                  <c:v>38460</c:v>
                </c:pt>
                <c:pt idx="1331">
                  <c:v>38461</c:v>
                </c:pt>
                <c:pt idx="1332">
                  <c:v>38462</c:v>
                </c:pt>
                <c:pt idx="1333">
                  <c:v>38464</c:v>
                </c:pt>
                <c:pt idx="1334">
                  <c:v>38467</c:v>
                </c:pt>
                <c:pt idx="1335">
                  <c:v>38468</c:v>
                </c:pt>
                <c:pt idx="1336">
                  <c:v>38469</c:v>
                </c:pt>
                <c:pt idx="1337">
                  <c:v>38470</c:v>
                </c:pt>
                <c:pt idx="1338">
                  <c:v>38471</c:v>
                </c:pt>
                <c:pt idx="1339">
                  <c:v>38474</c:v>
                </c:pt>
                <c:pt idx="1340">
                  <c:v>38475</c:v>
                </c:pt>
                <c:pt idx="1341">
                  <c:v>38476</c:v>
                </c:pt>
                <c:pt idx="1342">
                  <c:v>38477</c:v>
                </c:pt>
                <c:pt idx="1343">
                  <c:v>38478</c:v>
                </c:pt>
                <c:pt idx="1344">
                  <c:v>38481</c:v>
                </c:pt>
                <c:pt idx="1345">
                  <c:v>38482</c:v>
                </c:pt>
                <c:pt idx="1346">
                  <c:v>38483</c:v>
                </c:pt>
                <c:pt idx="1347">
                  <c:v>38484</c:v>
                </c:pt>
                <c:pt idx="1348">
                  <c:v>38485</c:v>
                </c:pt>
                <c:pt idx="1349">
                  <c:v>38488</c:v>
                </c:pt>
                <c:pt idx="1350">
                  <c:v>38489</c:v>
                </c:pt>
                <c:pt idx="1351">
                  <c:v>38490</c:v>
                </c:pt>
                <c:pt idx="1352">
                  <c:v>38491</c:v>
                </c:pt>
                <c:pt idx="1353">
                  <c:v>38492</c:v>
                </c:pt>
                <c:pt idx="1354">
                  <c:v>38495</c:v>
                </c:pt>
                <c:pt idx="1355">
                  <c:v>38496</c:v>
                </c:pt>
                <c:pt idx="1356">
                  <c:v>38497</c:v>
                </c:pt>
                <c:pt idx="1357">
                  <c:v>38499</c:v>
                </c:pt>
                <c:pt idx="1358">
                  <c:v>38502</c:v>
                </c:pt>
                <c:pt idx="1359">
                  <c:v>38503</c:v>
                </c:pt>
                <c:pt idx="1360">
                  <c:v>38504</c:v>
                </c:pt>
                <c:pt idx="1361">
                  <c:v>38505</c:v>
                </c:pt>
                <c:pt idx="1362">
                  <c:v>38506</c:v>
                </c:pt>
                <c:pt idx="1363">
                  <c:v>38509</c:v>
                </c:pt>
                <c:pt idx="1364">
                  <c:v>38510</c:v>
                </c:pt>
                <c:pt idx="1365">
                  <c:v>38511</c:v>
                </c:pt>
                <c:pt idx="1366">
                  <c:v>38512</c:v>
                </c:pt>
                <c:pt idx="1367">
                  <c:v>38513</c:v>
                </c:pt>
                <c:pt idx="1368">
                  <c:v>38516</c:v>
                </c:pt>
                <c:pt idx="1369">
                  <c:v>38517</c:v>
                </c:pt>
                <c:pt idx="1370">
                  <c:v>38518</c:v>
                </c:pt>
                <c:pt idx="1371">
                  <c:v>38519</c:v>
                </c:pt>
                <c:pt idx="1372">
                  <c:v>38520</c:v>
                </c:pt>
                <c:pt idx="1373">
                  <c:v>38523</c:v>
                </c:pt>
                <c:pt idx="1374">
                  <c:v>38524</c:v>
                </c:pt>
                <c:pt idx="1375">
                  <c:v>38525</c:v>
                </c:pt>
                <c:pt idx="1376">
                  <c:v>38526</c:v>
                </c:pt>
                <c:pt idx="1377">
                  <c:v>38527</c:v>
                </c:pt>
                <c:pt idx="1378">
                  <c:v>38530</c:v>
                </c:pt>
                <c:pt idx="1379">
                  <c:v>38531</c:v>
                </c:pt>
                <c:pt idx="1380">
                  <c:v>38532</c:v>
                </c:pt>
                <c:pt idx="1381">
                  <c:v>38533</c:v>
                </c:pt>
                <c:pt idx="1382">
                  <c:v>38534</c:v>
                </c:pt>
                <c:pt idx="1383">
                  <c:v>38537</c:v>
                </c:pt>
                <c:pt idx="1384">
                  <c:v>38538</c:v>
                </c:pt>
                <c:pt idx="1385">
                  <c:v>38539</c:v>
                </c:pt>
                <c:pt idx="1386">
                  <c:v>38540</c:v>
                </c:pt>
                <c:pt idx="1387">
                  <c:v>38541</c:v>
                </c:pt>
                <c:pt idx="1388">
                  <c:v>38544</c:v>
                </c:pt>
                <c:pt idx="1389">
                  <c:v>38545</c:v>
                </c:pt>
                <c:pt idx="1390">
                  <c:v>38546</c:v>
                </c:pt>
                <c:pt idx="1391">
                  <c:v>38547</c:v>
                </c:pt>
                <c:pt idx="1392">
                  <c:v>38548</c:v>
                </c:pt>
                <c:pt idx="1393">
                  <c:v>38551</c:v>
                </c:pt>
                <c:pt idx="1394">
                  <c:v>38552</c:v>
                </c:pt>
                <c:pt idx="1395">
                  <c:v>38553</c:v>
                </c:pt>
                <c:pt idx="1396">
                  <c:v>38554</c:v>
                </c:pt>
                <c:pt idx="1397">
                  <c:v>38555</c:v>
                </c:pt>
                <c:pt idx="1398">
                  <c:v>38558</c:v>
                </c:pt>
                <c:pt idx="1399">
                  <c:v>38559</c:v>
                </c:pt>
                <c:pt idx="1400">
                  <c:v>38560</c:v>
                </c:pt>
                <c:pt idx="1401">
                  <c:v>38561</c:v>
                </c:pt>
                <c:pt idx="1402">
                  <c:v>38562</c:v>
                </c:pt>
                <c:pt idx="1403">
                  <c:v>38565</c:v>
                </c:pt>
                <c:pt idx="1404">
                  <c:v>38566</c:v>
                </c:pt>
                <c:pt idx="1405">
                  <c:v>38567</c:v>
                </c:pt>
                <c:pt idx="1406">
                  <c:v>38568</c:v>
                </c:pt>
                <c:pt idx="1407">
                  <c:v>38569</c:v>
                </c:pt>
                <c:pt idx="1408">
                  <c:v>38572</c:v>
                </c:pt>
                <c:pt idx="1409">
                  <c:v>38573</c:v>
                </c:pt>
                <c:pt idx="1410">
                  <c:v>38574</c:v>
                </c:pt>
                <c:pt idx="1411">
                  <c:v>38575</c:v>
                </c:pt>
                <c:pt idx="1412">
                  <c:v>38576</c:v>
                </c:pt>
                <c:pt idx="1413">
                  <c:v>38579</c:v>
                </c:pt>
                <c:pt idx="1414">
                  <c:v>38580</c:v>
                </c:pt>
                <c:pt idx="1415">
                  <c:v>38581</c:v>
                </c:pt>
                <c:pt idx="1416">
                  <c:v>38582</c:v>
                </c:pt>
                <c:pt idx="1417">
                  <c:v>38583</c:v>
                </c:pt>
                <c:pt idx="1418">
                  <c:v>38586</c:v>
                </c:pt>
                <c:pt idx="1419">
                  <c:v>38587</c:v>
                </c:pt>
                <c:pt idx="1420">
                  <c:v>38588</c:v>
                </c:pt>
                <c:pt idx="1421">
                  <c:v>38589</c:v>
                </c:pt>
                <c:pt idx="1422">
                  <c:v>38590</c:v>
                </c:pt>
                <c:pt idx="1423">
                  <c:v>38593</c:v>
                </c:pt>
                <c:pt idx="1424">
                  <c:v>38594</c:v>
                </c:pt>
                <c:pt idx="1425">
                  <c:v>38595</c:v>
                </c:pt>
                <c:pt idx="1426">
                  <c:v>38596</c:v>
                </c:pt>
                <c:pt idx="1427">
                  <c:v>38597</c:v>
                </c:pt>
                <c:pt idx="1428">
                  <c:v>38600</c:v>
                </c:pt>
                <c:pt idx="1429">
                  <c:v>38601</c:v>
                </c:pt>
                <c:pt idx="1430">
                  <c:v>38603</c:v>
                </c:pt>
                <c:pt idx="1431">
                  <c:v>38604</c:v>
                </c:pt>
                <c:pt idx="1432">
                  <c:v>38607</c:v>
                </c:pt>
                <c:pt idx="1433">
                  <c:v>38608</c:v>
                </c:pt>
                <c:pt idx="1434">
                  <c:v>38609</c:v>
                </c:pt>
                <c:pt idx="1435">
                  <c:v>38610</c:v>
                </c:pt>
                <c:pt idx="1436">
                  <c:v>38611</c:v>
                </c:pt>
                <c:pt idx="1437">
                  <c:v>38614</c:v>
                </c:pt>
                <c:pt idx="1438">
                  <c:v>38615</c:v>
                </c:pt>
                <c:pt idx="1439">
                  <c:v>38616</c:v>
                </c:pt>
                <c:pt idx="1440">
                  <c:v>38617</c:v>
                </c:pt>
                <c:pt idx="1441">
                  <c:v>38618</c:v>
                </c:pt>
                <c:pt idx="1442">
                  <c:v>38621</c:v>
                </c:pt>
                <c:pt idx="1443">
                  <c:v>38622</c:v>
                </c:pt>
                <c:pt idx="1444">
                  <c:v>38623</c:v>
                </c:pt>
                <c:pt idx="1445">
                  <c:v>38624</c:v>
                </c:pt>
                <c:pt idx="1446">
                  <c:v>38625</c:v>
                </c:pt>
                <c:pt idx="1447">
                  <c:v>38628</c:v>
                </c:pt>
                <c:pt idx="1448">
                  <c:v>38629</c:v>
                </c:pt>
                <c:pt idx="1449">
                  <c:v>38630</c:v>
                </c:pt>
                <c:pt idx="1450">
                  <c:v>38631</c:v>
                </c:pt>
                <c:pt idx="1451">
                  <c:v>38632</c:v>
                </c:pt>
                <c:pt idx="1452">
                  <c:v>38635</c:v>
                </c:pt>
                <c:pt idx="1453">
                  <c:v>38636</c:v>
                </c:pt>
                <c:pt idx="1454">
                  <c:v>38638</c:v>
                </c:pt>
                <c:pt idx="1455">
                  <c:v>38639</c:v>
                </c:pt>
                <c:pt idx="1456">
                  <c:v>38642</c:v>
                </c:pt>
                <c:pt idx="1457">
                  <c:v>38643</c:v>
                </c:pt>
                <c:pt idx="1458">
                  <c:v>38644</c:v>
                </c:pt>
                <c:pt idx="1459">
                  <c:v>38645</c:v>
                </c:pt>
                <c:pt idx="1460">
                  <c:v>38646</c:v>
                </c:pt>
                <c:pt idx="1461">
                  <c:v>38649</c:v>
                </c:pt>
                <c:pt idx="1462">
                  <c:v>38650</c:v>
                </c:pt>
                <c:pt idx="1463">
                  <c:v>38651</c:v>
                </c:pt>
                <c:pt idx="1464">
                  <c:v>38652</c:v>
                </c:pt>
                <c:pt idx="1465">
                  <c:v>38653</c:v>
                </c:pt>
                <c:pt idx="1466">
                  <c:v>38656</c:v>
                </c:pt>
                <c:pt idx="1467">
                  <c:v>38657</c:v>
                </c:pt>
                <c:pt idx="1468">
                  <c:v>38659</c:v>
                </c:pt>
                <c:pt idx="1469">
                  <c:v>38660</c:v>
                </c:pt>
                <c:pt idx="1470">
                  <c:v>38663</c:v>
                </c:pt>
                <c:pt idx="1471">
                  <c:v>38664</c:v>
                </c:pt>
                <c:pt idx="1472">
                  <c:v>38665</c:v>
                </c:pt>
                <c:pt idx="1473">
                  <c:v>38666</c:v>
                </c:pt>
                <c:pt idx="1474">
                  <c:v>38667</c:v>
                </c:pt>
                <c:pt idx="1475">
                  <c:v>38670</c:v>
                </c:pt>
                <c:pt idx="1476">
                  <c:v>38672</c:v>
                </c:pt>
                <c:pt idx="1477">
                  <c:v>38673</c:v>
                </c:pt>
                <c:pt idx="1478">
                  <c:v>38674</c:v>
                </c:pt>
                <c:pt idx="1479">
                  <c:v>38677</c:v>
                </c:pt>
                <c:pt idx="1480">
                  <c:v>38678</c:v>
                </c:pt>
                <c:pt idx="1481">
                  <c:v>38679</c:v>
                </c:pt>
                <c:pt idx="1482">
                  <c:v>38680</c:v>
                </c:pt>
                <c:pt idx="1483">
                  <c:v>38681</c:v>
                </c:pt>
                <c:pt idx="1484">
                  <c:v>38684</c:v>
                </c:pt>
                <c:pt idx="1485">
                  <c:v>38685</c:v>
                </c:pt>
                <c:pt idx="1486">
                  <c:v>38686</c:v>
                </c:pt>
                <c:pt idx="1487">
                  <c:v>38687</c:v>
                </c:pt>
                <c:pt idx="1488">
                  <c:v>38688</c:v>
                </c:pt>
                <c:pt idx="1489">
                  <c:v>38691</c:v>
                </c:pt>
                <c:pt idx="1490">
                  <c:v>38692</c:v>
                </c:pt>
                <c:pt idx="1491">
                  <c:v>38693</c:v>
                </c:pt>
                <c:pt idx="1492">
                  <c:v>38694</c:v>
                </c:pt>
                <c:pt idx="1493">
                  <c:v>38695</c:v>
                </c:pt>
                <c:pt idx="1494">
                  <c:v>38698</c:v>
                </c:pt>
                <c:pt idx="1495">
                  <c:v>38699</c:v>
                </c:pt>
                <c:pt idx="1496">
                  <c:v>38700</c:v>
                </c:pt>
                <c:pt idx="1497">
                  <c:v>38701</c:v>
                </c:pt>
                <c:pt idx="1498">
                  <c:v>38702</c:v>
                </c:pt>
                <c:pt idx="1499">
                  <c:v>38705</c:v>
                </c:pt>
                <c:pt idx="1500">
                  <c:v>38706</c:v>
                </c:pt>
                <c:pt idx="1501">
                  <c:v>38707</c:v>
                </c:pt>
                <c:pt idx="1502">
                  <c:v>38708</c:v>
                </c:pt>
                <c:pt idx="1503">
                  <c:v>38709</c:v>
                </c:pt>
                <c:pt idx="1504">
                  <c:v>38712</c:v>
                </c:pt>
                <c:pt idx="1505">
                  <c:v>38713</c:v>
                </c:pt>
                <c:pt idx="1506">
                  <c:v>38714</c:v>
                </c:pt>
                <c:pt idx="1507">
                  <c:v>38715</c:v>
                </c:pt>
                <c:pt idx="1508">
                  <c:v>38716</c:v>
                </c:pt>
                <c:pt idx="1509">
                  <c:v>38719</c:v>
                </c:pt>
                <c:pt idx="1510">
                  <c:v>38720</c:v>
                </c:pt>
                <c:pt idx="1511">
                  <c:v>38721</c:v>
                </c:pt>
                <c:pt idx="1512">
                  <c:v>38722</c:v>
                </c:pt>
                <c:pt idx="1513">
                  <c:v>38723</c:v>
                </c:pt>
                <c:pt idx="1514">
                  <c:v>38726</c:v>
                </c:pt>
                <c:pt idx="1515">
                  <c:v>38727</c:v>
                </c:pt>
                <c:pt idx="1516">
                  <c:v>38728</c:v>
                </c:pt>
                <c:pt idx="1517">
                  <c:v>38729</c:v>
                </c:pt>
                <c:pt idx="1518">
                  <c:v>38730</c:v>
                </c:pt>
                <c:pt idx="1519">
                  <c:v>38733</c:v>
                </c:pt>
                <c:pt idx="1520">
                  <c:v>38734</c:v>
                </c:pt>
                <c:pt idx="1521">
                  <c:v>38735</c:v>
                </c:pt>
                <c:pt idx="1522">
                  <c:v>38736</c:v>
                </c:pt>
                <c:pt idx="1523">
                  <c:v>38737</c:v>
                </c:pt>
                <c:pt idx="1524">
                  <c:v>38740</c:v>
                </c:pt>
                <c:pt idx="1525">
                  <c:v>38741</c:v>
                </c:pt>
                <c:pt idx="1526">
                  <c:v>38742</c:v>
                </c:pt>
                <c:pt idx="1527">
                  <c:v>38743</c:v>
                </c:pt>
                <c:pt idx="1528">
                  <c:v>38744</c:v>
                </c:pt>
                <c:pt idx="1529">
                  <c:v>38747</c:v>
                </c:pt>
                <c:pt idx="1530">
                  <c:v>38748</c:v>
                </c:pt>
                <c:pt idx="1531">
                  <c:v>38749</c:v>
                </c:pt>
                <c:pt idx="1532">
                  <c:v>38750</c:v>
                </c:pt>
                <c:pt idx="1533">
                  <c:v>38751</c:v>
                </c:pt>
                <c:pt idx="1534">
                  <c:v>38754</c:v>
                </c:pt>
                <c:pt idx="1535">
                  <c:v>38755</c:v>
                </c:pt>
                <c:pt idx="1536">
                  <c:v>38756</c:v>
                </c:pt>
                <c:pt idx="1537">
                  <c:v>38757</c:v>
                </c:pt>
                <c:pt idx="1538">
                  <c:v>38758</c:v>
                </c:pt>
                <c:pt idx="1539">
                  <c:v>38761</c:v>
                </c:pt>
                <c:pt idx="1540">
                  <c:v>38762</c:v>
                </c:pt>
                <c:pt idx="1541">
                  <c:v>38763</c:v>
                </c:pt>
                <c:pt idx="1542">
                  <c:v>38764</c:v>
                </c:pt>
                <c:pt idx="1543">
                  <c:v>38765</c:v>
                </c:pt>
                <c:pt idx="1544">
                  <c:v>38768</c:v>
                </c:pt>
                <c:pt idx="1545">
                  <c:v>38769</c:v>
                </c:pt>
                <c:pt idx="1546">
                  <c:v>38770</c:v>
                </c:pt>
                <c:pt idx="1547">
                  <c:v>38771</c:v>
                </c:pt>
                <c:pt idx="1548">
                  <c:v>38772</c:v>
                </c:pt>
                <c:pt idx="1549">
                  <c:v>38777</c:v>
                </c:pt>
                <c:pt idx="1550">
                  <c:v>38778</c:v>
                </c:pt>
                <c:pt idx="1551">
                  <c:v>38779</c:v>
                </c:pt>
                <c:pt idx="1552">
                  <c:v>38782</c:v>
                </c:pt>
                <c:pt idx="1553">
                  <c:v>38783</c:v>
                </c:pt>
                <c:pt idx="1554">
                  <c:v>38784</c:v>
                </c:pt>
                <c:pt idx="1555">
                  <c:v>38785</c:v>
                </c:pt>
                <c:pt idx="1556">
                  <c:v>38786</c:v>
                </c:pt>
                <c:pt idx="1557">
                  <c:v>38789</c:v>
                </c:pt>
                <c:pt idx="1558">
                  <c:v>38790</c:v>
                </c:pt>
                <c:pt idx="1559">
                  <c:v>38791</c:v>
                </c:pt>
                <c:pt idx="1560">
                  <c:v>38792</c:v>
                </c:pt>
                <c:pt idx="1561">
                  <c:v>38793</c:v>
                </c:pt>
                <c:pt idx="1562">
                  <c:v>38796</c:v>
                </c:pt>
                <c:pt idx="1563">
                  <c:v>38797</c:v>
                </c:pt>
                <c:pt idx="1564">
                  <c:v>38798</c:v>
                </c:pt>
                <c:pt idx="1565">
                  <c:v>38799</c:v>
                </c:pt>
                <c:pt idx="1566">
                  <c:v>38800</c:v>
                </c:pt>
                <c:pt idx="1567">
                  <c:v>38803</c:v>
                </c:pt>
                <c:pt idx="1568">
                  <c:v>38804</c:v>
                </c:pt>
                <c:pt idx="1569">
                  <c:v>38805</c:v>
                </c:pt>
                <c:pt idx="1570">
                  <c:v>38806</c:v>
                </c:pt>
                <c:pt idx="1571">
                  <c:v>38807</c:v>
                </c:pt>
                <c:pt idx="1572">
                  <c:v>38810</c:v>
                </c:pt>
                <c:pt idx="1573">
                  <c:v>38811</c:v>
                </c:pt>
                <c:pt idx="1574">
                  <c:v>38812</c:v>
                </c:pt>
                <c:pt idx="1575">
                  <c:v>38813</c:v>
                </c:pt>
                <c:pt idx="1576">
                  <c:v>38814</c:v>
                </c:pt>
                <c:pt idx="1577">
                  <c:v>38817</c:v>
                </c:pt>
                <c:pt idx="1578">
                  <c:v>38818</c:v>
                </c:pt>
                <c:pt idx="1579">
                  <c:v>38819</c:v>
                </c:pt>
                <c:pt idx="1580">
                  <c:v>38820</c:v>
                </c:pt>
                <c:pt idx="1581">
                  <c:v>38824</c:v>
                </c:pt>
                <c:pt idx="1582">
                  <c:v>38825</c:v>
                </c:pt>
                <c:pt idx="1583">
                  <c:v>38826</c:v>
                </c:pt>
                <c:pt idx="1584">
                  <c:v>38827</c:v>
                </c:pt>
                <c:pt idx="1585">
                  <c:v>38831</c:v>
                </c:pt>
                <c:pt idx="1586">
                  <c:v>38832</c:v>
                </c:pt>
                <c:pt idx="1587">
                  <c:v>38833</c:v>
                </c:pt>
                <c:pt idx="1588">
                  <c:v>38834</c:v>
                </c:pt>
                <c:pt idx="1589">
                  <c:v>38835</c:v>
                </c:pt>
                <c:pt idx="1590">
                  <c:v>38839</c:v>
                </c:pt>
                <c:pt idx="1591">
                  <c:v>38840</c:v>
                </c:pt>
                <c:pt idx="1592">
                  <c:v>38841</c:v>
                </c:pt>
                <c:pt idx="1593">
                  <c:v>38842</c:v>
                </c:pt>
                <c:pt idx="1594">
                  <c:v>38845</c:v>
                </c:pt>
                <c:pt idx="1595">
                  <c:v>38846</c:v>
                </c:pt>
                <c:pt idx="1596">
                  <c:v>38847</c:v>
                </c:pt>
                <c:pt idx="1597">
                  <c:v>38848</c:v>
                </c:pt>
                <c:pt idx="1598">
                  <c:v>38849</c:v>
                </c:pt>
                <c:pt idx="1599">
                  <c:v>38852</c:v>
                </c:pt>
                <c:pt idx="1600">
                  <c:v>38853</c:v>
                </c:pt>
                <c:pt idx="1601">
                  <c:v>38854</c:v>
                </c:pt>
                <c:pt idx="1602">
                  <c:v>38855</c:v>
                </c:pt>
                <c:pt idx="1603">
                  <c:v>38856</c:v>
                </c:pt>
                <c:pt idx="1604">
                  <c:v>38859</c:v>
                </c:pt>
                <c:pt idx="1605">
                  <c:v>38860</c:v>
                </c:pt>
                <c:pt idx="1606">
                  <c:v>38861</c:v>
                </c:pt>
                <c:pt idx="1607">
                  <c:v>38862</c:v>
                </c:pt>
                <c:pt idx="1608">
                  <c:v>38863</c:v>
                </c:pt>
                <c:pt idx="1609">
                  <c:v>38866</c:v>
                </c:pt>
                <c:pt idx="1610">
                  <c:v>38867</c:v>
                </c:pt>
                <c:pt idx="1611">
                  <c:v>38868</c:v>
                </c:pt>
                <c:pt idx="1612">
                  <c:v>38869</c:v>
                </c:pt>
                <c:pt idx="1613">
                  <c:v>38870</c:v>
                </c:pt>
                <c:pt idx="1614">
                  <c:v>38873</c:v>
                </c:pt>
                <c:pt idx="1615">
                  <c:v>38874</c:v>
                </c:pt>
                <c:pt idx="1616">
                  <c:v>38875</c:v>
                </c:pt>
                <c:pt idx="1617">
                  <c:v>38876</c:v>
                </c:pt>
                <c:pt idx="1618">
                  <c:v>38877</c:v>
                </c:pt>
                <c:pt idx="1619">
                  <c:v>38880</c:v>
                </c:pt>
                <c:pt idx="1620">
                  <c:v>38881</c:v>
                </c:pt>
                <c:pt idx="1621">
                  <c:v>38882</c:v>
                </c:pt>
                <c:pt idx="1622">
                  <c:v>38884</c:v>
                </c:pt>
                <c:pt idx="1623">
                  <c:v>38887</c:v>
                </c:pt>
                <c:pt idx="1624">
                  <c:v>38888</c:v>
                </c:pt>
                <c:pt idx="1625">
                  <c:v>38889</c:v>
                </c:pt>
                <c:pt idx="1626">
                  <c:v>38890</c:v>
                </c:pt>
                <c:pt idx="1627">
                  <c:v>38891</c:v>
                </c:pt>
                <c:pt idx="1628">
                  <c:v>38894</c:v>
                </c:pt>
                <c:pt idx="1629">
                  <c:v>38895</c:v>
                </c:pt>
                <c:pt idx="1630">
                  <c:v>38896</c:v>
                </c:pt>
                <c:pt idx="1631">
                  <c:v>38897</c:v>
                </c:pt>
                <c:pt idx="1632">
                  <c:v>38898</c:v>
                </c:pt>
                <c:pt idx="1633">
                  <c:v>38901</c:v>
                </c:pt>
                <c:pt idx="1634">
                  <c:v>38902</c:v>
                </c:pt>
                <c:pt idx="1635">
                  <c:v>38903</c:v>
                </c:pt>
                <c:pt idx="1636">
                  <c:v>38904</c:v>
                </c:pt>
                <c:pt idx="1637">
                  <c:v>38905</c:v>
                </c:pt>
                <c:pt idx="1638">
                  <c:v>38908</c:v>
                </c:pt>
                <c:pt idx="1639">
                  <c:v>38909</c:v>
                </c:pt>
                <c:pt idx="1640">
                  <c:v>38910</c:v>
                </c:pt>
                <c:pt idx="1641">
                  <c:v>38911</c:v>
                </c:pt>
                <c:pt idx="1642">
                  <c:v>38912</c:v>
                </c:pt>
                <c:pt idx="1643">
                  <c:v>38915</c:v>
                </c:pt>
                <c:pt idx="1644">
                  <c:v>38916</c:v>
                </c:pt>
                <c:pt idx="1645">
                  <c:v>38917</c:v>
                </c:pt>
                <c:pt idx="1646">
                  <c:v>38918</c:v>
                </c:pt>
                <c:pt idx="1647">
                  <c:v>38919</c:v>
                </c:pt>
                <c:pt idx="1648">
                  <c:v>38922</c:v>
                </c:pt>
                <c:pt idx="1649">
                  <c:v>38923</c:v>
                </c:pt>
                <c:pt idx="1650">
                  <c:v>38924</c:v>
                </c:pt>
                <c:pt idx="1651">
                  <c:v>38925</c:v>
                </c:pt>
                <c:pt idx="1652">
                  <c:v>38926</c:v>
                </c:pt>
                <c:pt idx="1653">
                  <c:v>38929</c:v>
                </c:pt>
                <c:pt idx="1654">
                  <c:v>38930</c:v>
                </c:pt>
                <c:pt idx="1655">
                  <c:v>38931</c:v>
                </c:pt>
                <c:pt idx="1656">
                  <c:v>38932</c:v>
                </c:pt>
                <c:pt idx="1657">
                  <c:v>38933</c:v>
                </c:pt>
                <c:pt idx="1658">
                  <c:v>38936</c:v>
                </c:pt>
                <c:pt idx="1659">
                  <c:v>38937</c:v>
                </c:pt>
                <c:pt idx="1660">
                  <c:v>38938</c:v>
                </c:pt>
                <c:pt idx="1661">
                  <c:v>38939</c:v>
                </c:pt>
                <c:pt idx="1662">
                  <c:v>38940</c:v>
                </c:pt>
                <c:pt idx="1663">
                  <c:v>38943</c:v>
                </c:pt>
                <c:pt idx="1664">
                  <c:v>38944</c:v>
                </c:pt>
                <c:pt idx="1665">
                  <c:v>38945</c:v>
                </c:pt>
                <c:pt idx="1666">
                  <c:v>38946</c:v>
                </c:pt>
                <c:pt idx="1667">
                  <c:v>38947</c:v>
                </c:pt>
                <c:pt idx="1668">
                  <c:v>38950</c:v>
                </c:pt>
                <c:pt idx="1669">
                  <c:v>38951</c:v>
                </c:pt>
                <c:pt idx="1670">
                  <c:v>38952</c:v>
                </c:pt>
                <c:pt idx="1671">
                  <c:v>38953</c:v>
                </c:pt>
                <c:pt idx="1672">
                  <c:v>38954</c:v>
                </c:pt>
                <c:pt idx="1673">
                  <c:v>38957</c:v>
                </c:pt>
                <c:pt idx="1674">
                  <c:v>38958</c:v>
                </c:pt>
                <c:pt idx="1675">
                  <c:v>38959</c:v>
                </c:pt>
                <c:pt idx="1676">
                  <c:v>38960</c:v>
                </c:pt>
                <c:pt idx="1677">
                  <c:v>38961</c:v>
                </c:pt>
                <c:pt idx="1678">
                  <c:v>38964</c:v>
                </c:pt>
                <c:pt idx="1679">
                  <c:v>38965</c:v>
                </c:pt>
                <c:pt idx="1680">
                  <c:v>38966</c:v>
                </c:pt>
                <c:pt idx="1681">
                  <c:v>38968</c:v>
                </c:pt>
                <c:pt idx="1682">
                  <c:v>38971</c:v>
                </c:pt>
                <c:pt idx="1683">
                  <c:v>38972</c:v>
                </c:pt>
                <c:pt idx="1684">
                  <c:v>38973</c:v>
                </c:pt>
                <c:pt idx="1685">
                  <c:v>38974</c:v>
                </c:pt>
                <c:pt idx="1686">
                  <c:v>38975</c:v>
                </c:pt>
                <c:pt idx="1687">
                  <c:v>38978</c:v>
                </c:pt>
                <c:pt idx="1688">
                  <c:v>38979</c:v>
                </c:pt>
                <c:pt idx="1689">
                  <c:v>38980</c:v>
                </c:pt>
                <c:pt idx="1690">
                  <c:v>38981</c:v>
                </c:pt>
                <c:pt idx="1691">
                  <c:v>38982</c:v>
                </c:pt>
                <c:pt idx="1692">
                  <c:v>38985</c:v>
                </c:pt>
                <c:pt idx="1693">
                  <c:v>38986</c:v>
                </c:pt>
                <c:pt idx="1694">
                  <c:v>38987</c:v>
                </c:pt>
                <c:pt idx="1695">
                  <c:v>38988</c:v>
                </c:pt>
                <c:pt idx="1696">
                  <c:v>38989</c:v>
                </c:pt>
                <c:pt idx="1697">
                  <c:v>38992</c:v>
                </c:pt>
                <c:pt idx="1698">
                  <c:v>38993</c:v>
                </c:pt>
                <c:pt idx="1699">
                  <c:v>38994</c:v>
                </c:pt>
                <c:pt idx="1700">
                  <c:v>38995</c:v>
                </c:pt>
                <c:pt idx="1701">
                  <c:v>38996</c:v>
                </c:pt>
                <c:pt idx="1702">
                  <c:v>38999</c:v>
                </c:pt>
                <c:pt idx="1703">
                  <c:v>39000</c:v>
                </c:pt>
                <c:pt idx="1704">
                  <c:v>39001</c:v>
                </c:pt>
                <c:pt idx="1705">
                  <c:v>39003</c:v>
                </c:pt>
                <c:pt idx="1706">
                  <c:v>39006</c:v>
                </c:pt>
                <c:pt idx="1707">
                  <c:v>39007</c:v>
                </c:pt>
                <c:pt idx="1708">
                  <c:v>39008</c:v>
                </c:pt>
                <c:pt idx="1709">
                  <c:v>39009</c:v>
                </c:pt>
                <c:pt idx="1710">
                  <c:v>39010</c:v>
                </c:pt>
                <c:pt idx="1711">
                  <c:v>39013</c:v>
                </c:pt>
                <c:pt idx="1712">
                  <c:v>39014</c:v>
                </c:pt>
                <c:pt idx="1713">
                  <c:v>39015</c:v>
                </c:pt>
                <c:pt idx="1714">
                  <c:v>39016</c:v>
                </c:pt>
                <c:pt idx="1715">
                  <c:v>39017</c:v>
                </c:pt>
                <c:pt idx="1716">
                  <c:v>39020</c:v>
                </c:pt>
                <c:pt idx="1717">
                  <c:v>39021</c:v>
                </c:pt>
                <c:pt idx="1718">
                  <c:v>39022</c:v>
                </c:pt>
                <c:pt idx="1719">
                  <c:v>39024</c:v>
                </c:pt>
                <c:pt idx="1720">
                  <c:v>39027</c:v>
                </c:pt>
                <c:pt idx="1721">
                  <c:v>39028</c:v>
                </c:pt>
                <c:pt idx="1722">
                  <c:v>39029</c:v>
                </c:pt>
                <c:pt idx="1723">
                  <c:v>39030</c:v>
                </c:pt>
                <c:pt idx="1724">
                  <c:v>39031</c:v>
                </c:pt>
                <c:pt idx="1725">
                  <c:v>39034</c:v>
                </c:pt>
                <c:pt idx="1726">
                  <c:v>39035</c:v>
                </c:pt>
                <c:pt idx="1727">
                  <c:v>39037</c:v>
                </c:pt>
                <c:pt idx="1728">
                  <c:v>39038</c:v>
                </c:pt>
                <c:pt idx="1729">
                  <c:v>39041</c:v>
                </c:pt>
                <c:pt idx="1730">
                  <c:v>39042</c:v>
                </c:pt>
                <c:pt idx="1731">
                  <c:v>39043</c:v>
                </c:pt>
                <c:pt idx="1732">
                  <c:v>39044</c:v>
                </c:pt>
                <c:pt idx="1733">
                  <c:v>39045</c:v>
                </c:pt>
                <c:pt idx="1734">
                  <c:v>39048</c:v>
                </c:pt>
                <c:pt idx="1735">
                  <c:v>39049</c:v>
                </c:pt>
                <c:pt idx="1736">
                  <c:v>39050</c:v>
                </c:pt>
                <c:pt idx="1737">
                  <c:v>39051</c:v>
                </c:pt>
                <c:pt idx="1738">
                  <c:v>39052</c:v>
                </c:pt>
                <c:pt idx="1739">
                  <c:v>39055</c:v>
                </c:pt>
                <c:pt idx="1740">
                  <c:v>39056</c:v>
                </c:pt>
                <c:pt idx="1741">
                  <c:v>39057</c:v>
                </c:pt>
                <c:pt idx="1742">
                  <c:v>39058</c:v>
                </c:pt>
                <c:pt idx="1743">
                  <c:v>39059</c:v>
                </c:pt>
                <c:pt idx="1744">
                  <c:v>39062</c:v>
                </c:pt>
                <c:pt idx="1745">
                  <c:v>39063</c:v>
                </c:pt>
                <c:pt idx="1746">
                  <c:v>39064</c:v>
                </c:pt>
                <c:pt idx="1747">
                  <c:v>39065</c:v>
                </c:pt>
                <c:pt idx="1748">
                  <c:v>39066</c:v>
                </c:pt>
                <c:pt idx="1749">
                  <c:v>39069</c:v>
                </c:pt>
                <c:pt idx="1750">
                  <c:v>39070</c:v>
                </c:pt>
                <c:pt idx="1751">
                  <c:v>39071</c:v>
                </c:pt>
                <c:pt idx="1752">
                  <c:v>39072</c:v>
                </c:pt>
                <c:pt idx="1753">
                  <c:v>39073</c:v>
                </c:pt>
                <c:pt idx="1754">
                  <c:v>39077</c:v>
                </c:pt>
                <c:pt idx="1755">
                  <c:v>39078</c:v>
                </c:pt>
                <c:pt idx="1756">
                  <c:v>39079</c:v>
                </c:pt>
                <c:pt idx="1757">
                  <c:v>39080</c:v>
                </c:pt>
                <c:pt idx="1758">
                  <c:v>39084</c:v>
                </c:pt>
                <c:pt idx="1759">
                  <c:v>39085</c:v>
                </c:pt>
                <c:pt idx="1760">
                  <c:v>39086</c:v>
                </c:pt>
                <c:pt idx="1761">
                  <c:v>39087</c:v>
                </c:pt>
                <c:pt idx="1762">
                  <c:v>39090</c:v>
                </c:pt>
                <c:pt idx="1763">
                  <c:v>39091</c:v>
                </c:pt>
                <c:pt idx="1764">
                  <c:v>39092</c:v>
                </c:pt>
                <c:pt idx="1765">
                  <c:v>39093</c:v>
                </c:pt>
                <c:pt idx="1766">
                  <c:v>39094</c:v>
                </c:pt>
                <c:pt idx="1767">
                  <c:v>39097</c:v>
                </c:pt>
                <c:pt idx="1768">
                  <c:v>39098</c:v>
                </c:pt>
                <c:pt idx="1769">
                  <c:v>39099</c:v>
                </c:pt>
                <c:pt idx="1770">
                  <c:v>39100</c:v>
                </c:pt>
                <c:pt idx="1771">
                  <c:v>39101</c:v>
                </c:pt>
                <c:pt idx="1772">
                  <c:v>39104</c:v>
                </c:pt>
                <c:pt idx="1773">
                  <c:v>39105</c:v>
                </c:pt>
                <c:pt idx="1774">
                  <c:v>39106</c:v>
                </c:pt>
                <c:pt idx="1775">
                  <c:v>39107</c:v>
                </c:pt>
                <c:pt idx="1776">
                  <c:v>39108</c:v>
                </c:pt>
                <c:pt idx="1777">
                  <c:v>39111</c:v>
                </c:pt>
                <c:pt idx="1778">
                  <c:v>39112</c:v>
                </c:pt>
                <c:pt idx="1779">
                  <c:v>39113</c:v>
                </c:pt>
                <c:pt idx="1780">
                  <c:v>39114</c:v>
                </c:pt>
                <c:pt idx="1781">
                  <c:v>39115</c:v>
                </c:pt>
                <c:pt idx="1782">
                  <c:v>39118</c:v>
                </c:pt>
                <c:pt idx="1783">
                  <c:v>39119</c:v>
                </c:pt>
                <c:pt idx="1784">
                  <c:v>39120</c:v>
                </c:pt>
                <c:pt idx="1785">
                  <c:v>39121</c:v>
                </c:pt>
                <c:pt idx="1786">
                  <c:v>39122</c:v>
                </c:pt>
                <c:pt idx="1787">
                  <c:v>39125</c:v>
                </c:pt>
                <c:pt idx="1788">
                  <c:v>39126</c:v>
                </c:pt>
                <c:pt idx="1789">
                  <c:v>39127</c:v>
                </c:pt>
                <c:pt idx="1790">
                  <c:v>39128</c:v>
                </c:pt>
                <c:pt idx="1791">
                  <c:v>39129</c:v>
                </c:pt>
                <c:pt idx="1792">
                  <c:v>39134</c:v>
                </c:pt>
                <c:pt idx="1793">
                  <c:v>39135</c:v>
                </c:pt>
                <c:pt idx="1794">
                  <c:v>39136</c:v>
                </c:pt>
                <c:pt idx="1795">
                  <c:v>39139</c:v>
                </c:pt>
                <c:pt idx="1796">
                  <c:v>39140</c:v>
                </c:pt>
                <c:pt idx="1797">
                  <c:v>39141</c:v>
                </c:pt>
                <c:pt idx="1798">
                  <c:v>39142</c:v>
                </c:pt>
                <c:pt idx="1799">
                  <c:v>39143</c:v>
                </c:pt>
                <c:pt idx="1800">
                  <c:v>39146</c:v>
                </c:pt>
                <c:pt idx="1801">
                  <c:v>39147</c:v>
                </c:pt>
                <c:pt idx="1802">
                  <c:v>39148</c:v>
                </c:pt>
                <c:pt idx="1803">
                  <c:v>39149</c:v>
                </c:pt>
                <c:pt idx="1804">
                  <c:v>39150</c:v>
                </c:pt>
                <c:pt idx="1805">
                  <c:v>39153</c:v>
                </c:pt>
                <c:pt idx="1806">
                  <c:v>39154</c:v>
                </c:pt>
                <c:pt idx="1807">
                  <c:v>39155</c:v>
                </c:pt>
                <c:pt idx="1808">
                  <c:v>39156</c:v>
                </c:pt>
                <c:pt idx="1809">
                  <c:v>39157</c:v>
                </c:pt>
                <c:pt idx="1810">
                  <c:v>39160</c:v>
                </c:pt>
                <c:pt idx="1811">
                  <c:v>39161</c:v>
                </c:pt>
                <c:pt idx="1812">
                  <c:v>39162</c:v>
                </c:pt>
                <c:pt idx="1813">
                  <c:v>39163</c:v>
                </c:pt>
                <c:pt idx="1814">
                  <c:v>39164</c:v>
                </c:pt>
                <c:pt idx="1815">
                  <c:v>39167</c:v>
                </c:pt>
                <c:pt idx="1816">
                  <c:v>39168</c:v>
                </c:pt>
                <c:pt idx="1817">
                  <c:v>39169</c:v>
                </c:pt>
                <c:pt idx="1818">
                  <c:v>39170</c:v>
                </c:pt>
                <c:pt idx="1819">
                  <c:v>39171</c:v>
                </c:pt>
                <c:pt idx="1820">
                  <c:v>39174</c:v>
                </c:pt>
                <c:pt idx="1821">
                  <c:v>39175</c:v>
                </c:pt>
                <c:pt idx="1822">
                  <c:v>39176</c:v>
                </c:pt>
                <c:pt idx="1823">
                  <c:v>39177</c:v>
                </c:pt>
                <c:pt idx="1824">
                  <c:v>39181</c:v>
                </c:pt>
                <c:pt idx="1825">
                  <c:v>39182</c:v>
                </c:pt>
                <c:pt idx="1826">
                  <c:v>39183</c:v>
                </c:pt>
                <c:pt idx="1827">
                  <c:v>39184</c:v>
                </c:pt>
                <c:pt idx="1828">
                  <c:v>39185</c:v>
                </c:pt>
                <c:pt idx="1829">
                  <c:v>39188</c:v>
                </c:pt>
                <c:pt idx="1830">
                  <c:v>39189</c:v>
                </c:pt>
                <c:pt idx="1831">
                  <c:v>39190</c:v>
                </c:pt>
                <c:pt idx="1832">
                  <c:v>39191</c:v>
                </c:pt>
                <c:pt idx="1833">
                  <c:v>39192</c:v>
                </c:pt>
                <c:pt idx="1834">
                  <c:v>39195</c:v>
                </c:pt>
                <c:pt idx="1835">
                  <c:v>39196</c:v>
                </c:pt>
                <c:pt idx="1836">
                  <c:v>39197</c:v>
                </c:pt>
                <c:pt idx="1837">
                  <c:v>39198</c:v>
                </c:pt>
                <c:pt idx="1838">
                  <c:v>39199</c:v>
                </c:pt>
                <c:pt idx="1839">
                  <c:v>39202</c:v>
                </c:pt>
                <c:pt idx="1840">
                  <c:v>39204</c:v>
                </c:pt>
                <c:pt idx="1841">
                  <c:v>39205</c:v>
                </c:pt>
                <c:pt idx="1842">
                  <c:v>39206</c:v>
                </c:pt>
                <c:pt idx="1843">
                  <c:v>39209</c:v>
                </c:pt>
                <c:pt idx="1844">
                  <c:v>39210</c:v>
                </c:pt>
                <c:pt idx="1845">
                  <c:v>39211</c:v>
                </c:pt>
                <c:pt idx="1846">
                  <c:v>39212</c:v>
                </c:pt>
                <c:pt idx="1847">
                  <c:v>39213</c:v>
                </c:pt>
                <c:pt idx="1848">
                  <c:v>39216</c:v>
                </c:pt>
                <c:pt idx="1849">
                  <c:v>39217</c:v>
                </c:pt>
                <c:pt idx="1850">
                  <c:v>39218</c:v>
                </c:pt>
                <c:pt idx="1851">
                  <c:v>39219</c:v>
                </c:pt>
                <c:pt idx="1852">
                  <c:v>39220</c:v>
                </c:pt>
                <c:pt idx="1853">
                  <c:v>39223</c:v>
                </c:pt>
                <c:pt idx="1854">
                  <c:v>39224</c:v>
                </c:pt>
                <c:pt idx="1855">
                  <c:v>39225</c:v>
                </c:pt>
                <c:pt idx="1856">
                  <c:v>39226</c:v>
                </c:pt>
                <c:pt idx="1857">
                  <c:v>39227</c:v>
                </c:pt>
                <c:pt idx="1858">
                  <c:v>39230</c:v>
                </c:pt>
                <c:pt idx="1859">
                  <c:v>39231</c:v>
                </c:pt>
                <c:pt idx="1860">
                  <c:v>39232</c:v>
                </c:pt>
                <c:pt idx="1861">
                  <c:v>39233</c:v>
                </c:pt>
                <c:pt idx="1862">
                  <c:v>39234</c:v>
                </c:pt>
                <c:pt idx="1863">
                  <c:v>39237</c:v>
                </c:pt>
                <c:pt idx="1864">
                  <c:v>39238</c:v>
                </c:pt>
                <c:pt idx="1865">
                  <c:v>39239</c:v>
                </c:pt>
                <c:pt idx="1866">
                  <c:v>39241</c:v>
                </c:pt>
                <c:pt idx="1867">
                  <c:v>39244</c:v>
                </c:pt>
                <c:pt idx="1868">
                  <c:v>39245</c:v>
                </c:pt>
                <c:pt idx="1869">
                  <c:v>39246</c:v>
                </c:pt>
                <c:pt idx="1870">
                  <c:v>39247</c:v>
                </c:pt>
                <c:pt idx="1871">
                  <c:v>39248</c:v>
                </c:pt>
                <c:pt idx="1872">
                  <c:v>39251</c:v>
                </c:pt>
                <c:pt idx="1873">
                  <c:v>39252</c:v>
                </c:pt>
                <c:pt idx="1874">
                  <c:v>39253</c:v>
                </c:pt>
                <c:pt idx="1875">
                  <c:v>39254</c:v>
                </c:pt>
                <c:pt idx="1876">
                  <c:v>39255</c:v>
                </c:pt>
                <c:pt idx="1877">
                  <c:v>39258</c:v>
                </c:pt>
                <c:pt idx="1878">
                  <c:v>39259</c:v>
                </c:pt>
                <c:pt idx="1879">
                  <c:v>39260</c:v>
                </c:pt>
                <c:pt idx="1880">
                  <c:v>39261</c:v>
                </c:pt>
                <c:pt idx="1881">
                  <c:v>39262</c:v>
                </c:pt>
                <c:pt idx="1882">
                  <c:v>39265</c:v>
                </c:pt>
                <c:pt idx="1883">
                  <c:v>39266</c:v>
                </c:pt>
                <c:pt idx="1884">
                  <c:v>39267</c:v>
                </c:pt>
                <c:pt idx="1885">
                  <c:v>39268</c:v>
                </c:pt>
                <c:pt idx="1886">
                  <c:v>39269</c:v>
                </c:pt>
                <c:pt idx="1887">
                  <c:v>39272</c:v>
                </c:pt>
                <c:pt idx="1888">
                  <c:v>39273</c:v>
                </c:pt>
                <c:pt idx="1889">
                  <c:v>39274</c:v>
                </c:pt>
                <c:pt idx="1890">
                  <c:v>39275</c:v>
                </c:pt>
                <c:pt idx="1891">
                  <c:v>39276</c:v>
                </c:pt>
                <c:pt idx="1892">
                  <c:v>39279</c:v>
                </c:pt>
                <c:pt idx="1893">
                  <c:v>39280</c:v>
                </c:pt>
                <c:pt idx="1894">
                  <c:v>39281</c:v>
                </c:pt>
                <c:pt idx="1895">
                  <c:v>39282</c:v>
                </c:pt>
                <c:pt idx="1896">
                  <c:v>39283</c:v>
                </c:pt>
                <c:pt idx="1897">
                  <c:v>39286</c:v>
                </c:pt>
                <c:pt idx="1898">
                  <c:v>39287</c:v>
                </c:pt>
                <c:pt idx="1899">
                  <c:v>39288</c:v>
                </c:pt>
                <c:pt idx="1900">
                  <c:v>39289</c:v>
                </c:pt>
                <c:pt idx="1901">
                  <c:v>39290</c:v>
                </c:pt>
                <c:pt idx="1902">
                  <c:v>39293</c:v>
                </c:pt>
                <c:pt idx="1903">
                  <c:v>39294</c:v>
                </c:pt>
                <c:pt idx="1904">
                  <c:v>39295</c:v>
                </c:pt>
                <c:pt idx="1905">
                  <c:v>39296</c:v>
                </c:pt>
                <c:pt idx="1906">
                  <c:v>39297</c:v>
                </c:pt>
                <c:pt idx="1907">
                  <c:v>39300</c:v>
                </c:pt>
                <c:pt idx="1908">
                  <c:v>39301</c:v>
                </c:pt>
                <c:pt idx="1909">
                  <c:v>39302</c:v>
                </c:pt>
                <c:pt idx="1910">
                  <c:v>39303</c:v>
                </c:pt>
                <c:pt idx="1911">
                  <c:v>39304</c:v>
                </c:pt>
                <c:pt idx="1912">
                  <c:v>39307</c:v>
                </c:pt>
                <c:pt idx="1913">
                  <c:v>39308</c:v>
                </c:pt>
                <c:pt idx="1914">
                  <c:v>39309</c:v>
                </c:pt>
                <c:pt idx="1915">
                  <c:v>39310</c:v>
                </c:pt>
                <c:pt idx="1916">
                  <c:v>39311</c:v>
                </c:pt>
                <c:pt idx="1917">
                  <c:v>39314</c:v>
                </c:pt>
                <c:pt idx="1918">
                  <c:v>39315</c:v>
                </c:pt>
                <c:pt idx="1919">
                  <c:v>39316</c:v>
                </c:pt>
                <c:pt idx="1920">
                  <c:v>39317</c:v>
                </c:pt>
                <c:pt idx="1921">
                  <c:v>39318</c:v>
                </c:pt>
                <c:pt idx="1922">
                  <c:v>39321</c:v>
                </c:pt>
                <c:pt idx="1923">
                  <c:v>39322</c:v>
                </c:pt>
                <c:pt idx="1924">
                  <c:v>39323</c:v>
                </c:pt>
                <c:pt idx="1925">
                  <c:v>39324</c:v>
                </c:pt>
                <c:pt idx="1926">
                  <c:v>39325</c:v>
                </c:pt>
                <c:pt idx="1927">
                  <c:v>39328</c:v>
                </c:pt>
                <c:pt idx="1928">
                  <c:v>39329</c:v>
                </c:pt>
                <c:pt idx="1929">
                  <c:v>39330</c:v>
                </c:pt>
                <c:pt idx="1930">
                  <c:v>39331</c:v>
                </c:pt>
                <c:pt idx="1931">
                  <c:v>39335</c:v>
                </c:pt>
                <c:pt idx="1932">
                  <c:v>39336</c:v>
                </c:pt>
                <c:pt idx="1933">
                  <c:v>39337</c:v>
                </c:pt>
                <c:pt idx="1934">
                  <c:v>39338</c:v>
                </c:pt>
                <c:pt idx="1935">
                  <c:v>39339</c:v>
                </c:pt>
                <c:pt idx="1936">
                  <c:v>39342</c:v>
                </c:pt>
                <c:pt idx="1937">
                  <c:v>39343</c:v>
                </c:pt>
                <c:pt idx="1938">
                  <c:v>39344</c:v>
                </c:pt>
                <c:pt idx="1939">
                  <c:v>39345</c:v>
                </c:pt>
                <c:pt idx="1940">
                  <c:v>39346</c:v>
                </c:pt>
                <c:pt idx="1941">
                  <c:v>39349</c:v>
                </c:pt>
                <c:pt idx="1942">
                  <c:v>39350</c:v>
                </c:pt>
                <c:pt idx="1943">
                  <c:v>39351</c:v>
                </c:pt>
                <c:pt idx="1944">
                  <c:v>39352</c:v>
                </c:pt>
                <c:pt idx="1945">
                  <c:v>39353</c:v>
                </c:pt>
                <c:pt idx="1946">
                  <c:v>39356</c:v>
                </c:pt>
                <c:pt idx="1947">
                  <c:v>39357</c:v>
                </c:pt>
                <c:pt idx="1948">
                  <c:v>39358</c:v>
                </c:pt>
                <c:pt idx="1949">
                  <c:v>39359</c:v>
                </c:pt>
                <c:pt idx="1950">
                  <c:v>39360</c:v>
                </c:pt>
                <c:pt idx="1951">
                  <c:v>39363</c:v>
                </c:pt>
                <c:pt idx="1952">
                  <c:v>39364</c:v>
                </c:pt>
                <c:pt idx="1953">
                  <c:v>39365</c:v>
                </c:pt>
                <c:pt idx="1954">
                  <c:v>39366</c:v>
                </c:pt>
                <c:pt idx="1955">
                  <c:v>39370</c:v>
                </c:pt>
                <c:pt idx="1956">
                  <c:v>39371</c:v>
                </c:pt>
                <c:pt idx="1957">
                  <c:v>39372</c:v>
                </c:pt>
                <c:pt idx="1958">
                  <c:v>39373</c:v>
                </c:pt>
                <c:pt idx="1959">
                  <c:v>39374</c:v>
                </c:pt>
                <c:pt idx="1960">
                  <c:v>39377</c:v>
                </c:pt>
                <c:pt idx="1961">
                  <c:v>39378</c:v>
                </c:pt>
                <c:pt idx="1962">
                  <c:v>39379</c:v>
                </c:pt>
                <c:pt idx="1963">
                  <c:v>39380</c:v>
                </c:pt>
                <c:pt idx="1964">
                  <c:v>39381</c:v>
                </c:pt>
                <c:pt idx="1965">
                  <c:v>39384</c:v>
                </c:pt>
                <c:pt idx="1966">
                  <c:v>39385</c:v>
                </c:pt>
                <c:pt idx="1967">
                  <c:v>39386</c:v>
                </c:pt>
                <c:pt idx="1968">
                  <c:v>39387</c:v>
                </c:pt>
                <c:pt idx="1969">
                  <c:v>39391</c:v>
                </c:pt>
                <c:pt idx="1970">
                  <c:v>39392</c:v>
                </c:pt>
                <c:pt idx="1971">
                  <c:v>39393</c:v>
                </c:pt>
                <c:pt idx="1972">
                  <c:v>39394</c:v>
                </c:pt>
                <c:pt idx="1973">
                  <c:v>39395</c:v>
                </c:pt>
                <c:pt idx="1974">
                  <c:v>39398</c:v>
                </c:pt>
                <c:pt idx="1975">
                  <c:v>39399</c:v>
                </c:pt>
                <c:pt idx="1976">
                  <c:v>39400</c:v>
                </c:pt>
                <c:pt idx="1977">
                  <c:v>39402</c:v>
                </c:pt>
                <c:pt idx="1978">
                  <c:v>39405</c:v>
                </c:pt>
                <c:pt idx="1979">
                  <c:v>39406</c:v>
                </c:pt>
                <c:pt idx="1980">
                  <c:v>39407</c:v>
                </c:pt>
                <c:pt idx="1981">
                  <c:v>39408</c:v>
                </c:pt>
                <c:pt idx="1982">
                  <c:v>39409</c:v>
                </c:pt>
                <c:pt idx="1983">
                  <c:v>39412</c:v>
                </c:pt>
                <c:pt idx="1984">
                  <c:v>39413</c:v>
                </c:pt>
                <c:pt idx="1985">
                  <c:v>39414</c:v>
                </c:pt>
                <c:pt idx="1986">
                  <c:v>39415</c:v>
                </c:pt>
                <c:pt idx="1987">
                  <c:v>39416</c:v>
                </c:pt>
                <c:pt idx="1988">
                  <c:v>39419</c:v>
                </c:pt>
                <c:pt idx="1989">
                  <c:v>39420</c:v>
                </c:pt>
                <c:pt idx="1990">
                  <c:v>39421</c:v>
                </c:pt>
                <c:pt idx="1991">
                  <c:v>39422</c:v>
                </c:pt>
                <c:pt idx="1992">
                  <c:v>39423</c:v>
                </c:pt>
                <c:pt idx="1993">
                  <c:v>39426</c:v>
                </c:pt>
                <c:pt idx="1994">
                  <c:v>39427</c:v>
                </c:pt>
                <c:pt idx="1995">
                  <c:v>39428</c:v>
                </c:pt>
                <c:pt idx="1996">
                  <c:v>39429</c:v>
                </c:pt>
                <c:pt idx="1997">
                  <c:v>39430</c:v>
                </c:pt>
                <c:pt idx="1998">
                  <c:v>39433</c:v>
                </c:pt>
                <c:pt idx="1999">
                  <c:v>39434</c:v>
                </c:pt>
                <c:pt idx="2000">
                  <c:v>39435</c:v>
                </c:pt>
                <c:pt idx="2001">
                  <c:v>39436</c:v>
                </c:pt>
                <c:pt idx="2002">
                  <c:v>39437</c:v>
                </c:pt>
                <c:pt idx="2003">
                  <c:v>39440</c:v>
                </c:pt>
                <c:pt idx="2004">
                  <c:v>39442</c:v>
                </c:pt>
                <c:pt idx="2005">
                  <c:v>39443</c:v>
                </c:pt>
                <c:pt idx="2006">
                  <c:v>39444</c:v>
                </c:pt>
                <c:pt idx="2007">
                  <c:v>39447</c:v>
                </c:pt>
                <c:pt idx="2008">
                  <c:v>39449</c:v>
                </c:pt>
                <c:pt idx="2009">
                  <c:v>39450</c:v>
                </c:pt>
                <c:pt idx="2010">
                  <c:v>39451</c:v>
                </c:pt>
                <c:pt idx="2011">
                  <c:v>39454</c:v>
                </c:pt>
                <c:pt idx="2012">
                  <c:v>39455</c:v>
                </c:pt>
                <c:pt idx="2013">
                  <c:v>39456</c:v>
                </c:pt>
                <c:pt idx="2014">
                  <c:v>39457</c:v>
                </c:pt>
                <c:pt idx="2015">
                  <c:v>39458</c:v>
                </c:pt>
                <c:pt idx="2016">
                  <c:v>39461</c:v>
                </c:pt>
                <c:pt idx="2017">
                  <c:v>39462</c:v>
                </c:pt>
                <c:pt idx="2018">
                  <c:v>39463</c:v>
                </c:pt>
                <c:pt idx="2019">
                  <c:v>39464</c:v>
                </c:pt>
                <c:pt idx="2020">
                  <c:v>39465</c:v>
                </c:pt>
                <c:pt idx="2021">
                  <c:v>39468</c:v>
                </c:pt>
                <c:pt idx="2022">
                  <c:v>39469</c:v>
                </c:pt>
                <c:pt idx="2023">
                  <c:v>39470</c:v>
                </c:pt>
                <c:pt idx="2024">
                  <c:v>39471</c:v>
                </c:pt>
                <c:pt idx="2025">
                  <c:v>39472</c:v>
                </c:pt>
                <c:pt idx="2026">
                  <c:v>39475</c:v>
                </c:pt>
                <c:pt idx="2027">
                  <c:v>39476</c:v>
                </c:pt>
                <c:pt idx="2028">
                  <c:v>39477</c:v>
                </c:pt>
                <c:pt idx="2029">
                  <c:v>39478</c:v>
                </c:pt>
                <c:pt idx="2030">
                  <c:v>39479</c:v>
                </c:pt>
                <c:pt idx="2031">
                  <c:v>39484</c:v>
                </c:pt>
                <c:pt idx="2032">
                  <c:v>39485</c:v>
                </c:pt>
                <c:pt idx="2033">
                  <c:v>39486</c:v>
                </c:pt>
                <c:pt idx="2034">
                  <c:v>39489</c:v>
                </c:pt>
                <c:pt idx="2035">
                  <c:v>39490</c:v>
                </c:pt>
                <c:pt idx="2036">
                  <c:v>39491</c:v>
                </c:pt>
                <c:pt idx="2037">
                  <c:v>39492</c:v>
                </c:pt>
                <c:pt idx="2038">
                  <c:v>39493</c:v>
                </c:pt>
                <c:pt idx="2039">
                  <c:v>39496</c:v>
                </c:pt>
                <c:pt idx="2040">
                  <c:v>39497</c:v>
                </c:pt>
                <c:pt idx="2041">
                  <c:v>39498</c:v>
                </c:pt>
                <c:pt idx="2042">
                  <c:v>39499</c:v>
                </c:pt>
                <c:pt idx="2043">
                  <c:v>39500</c:v>
                </c:pt>
                <c:pt idx="2044">
                  <c:v>39503</c:v>
                </c:pt>
                <c:pt idx="2045">
                  <c:v>39504</c:v>
                </c:pt>
                <c:pt idx="2046">
                  <c:v>39505</c:v>
                </c:pt>
                <c:pt idx="2047">
                  <c:v>39506</c:v>
                </c:pt>
                <c:pt idx="2048">
                  <c:v>39507</c:v>
                </c:pt>
                <c:pt idx="2049">
                  <c:v>39510</c:v>
                </c:pt>
                <c:pt idx="2050">
                  <c:v>39511</c:v>
                </c:pt>
                <c:pt idx="2051">
                  <c:v>39512</c:v>
                </c:pt>
                <c:pt idx="2052">
                  <c:v>39513</c:v>
                </c:pt>
                <c:pt idx="2053">
                  <c:v>39514</c:v>
                </c:pt>
                <c:pt idx="2054">
                  <c:v>39517</c:v>
                </c:pt>
                <c:pt idx="2055">
                  <c:v>39518</c:v>
                </c:pt>
                <c:pt idx="2056">
                  <c:v>39519</c:v>
                </c:pt>
                <c:pt idx="2057">
                  <c:v>39520</c:v>
                </c:pt>
                <c:pt idx="2058">
                  <c:v>39521</c:v>
                </c:pt>
                <c:pt idx="2059">
                  <c:v>39524</c:v>
                </c:pt>
                <c:pt idx="2060">
                  <c:v>39525</c:v>
                </c:pt>
                <c:pt idx="2061">
                  <c:v>39526</c:v>
                </c:pt>
                <c:pt idx="2062">
                  <c:v>39527</c:v>
                </c:pt>
                <c:pt idx="2063">
                  <c:v>39531</c:v>
                </c:pt>
                <c:pt idx="2064">
                  <c:v>39532</c:v>
                </c:pt>
                <c:pt idx="2065">
                  <c:v>39533</c:v>
                </c:pt>
                <c:pt idx="2066">
                  <c:v>39534</c:v>
                </c:pt>
                <c:pt idx="2067">
                  <c:v>39535</c:v>
                </c:pt>
                <c:pt idx="2068">
                  <c:v>39538</c:v>
                </c:pt>
                <c:pt idx="2069">
                  <c:v>39539</c:v>
                </c:pt>
                <c:pt idx="2070">
                  <c:v>39540</c:v>
                </c:pt>
                <c:pt idx="2071">
                  <c:v>39541</c:v>
                </c:pt>
                <c:pt idx="2072">
                  <c:v>39542</c:v>
                </c:pt>
                <c:pt idx="2073">
                  <c:v>39545</c:v>
                </c:pt>
                <c:pt idx="2074">
                  <c:v>39546</c:v>
                </c:pt>
                <c:pt idx="2075">
                  <c:v>39547</c:v>
                </c:pt>
                <c:pt idx="2076">
                  <c:v>39548</c:v>
                </c:pt>
                <c:pt idx="2077">
                  <c:v>39549</c:v>
                </c:pt>
                <c:pt idx="2078">
                  <c:v>39552</c:v>
                </c:pt>
                <c:pt idx="2079">
                  <c:v>39553</c:v>
                </c:pt>
                <c:pt idx="2080">
                  <c:v>39554</c:v>
                </c:pt>
                <c:pt idx="2081">
                  <c:v>39555</c:v>
                </c:pt>
                <c:pt idx="2082">
                  <c:v>39556</c:v>
                </c:pt>
                <c:pt idx="2083">
                  <c:v>39560</c:v>
                </c:pt>
                <c:pt idx="2084">
                  <c:v>39561</c:v>
                </c:pt>
                <c:pt idx="2085">
                  <c:v>39562</c:v>
                </c:pt>
                <c:pt idx="2086">
                  <c:v>39563</c:v>
                </c:pt>
                <c:pt idx="2087">
                  <c:v>39566</c:v>
                </c:pt>
                <c:pt idx="2088">
                  <c:v>39567</c:v>
                </c:pt>
                <c:pt idx="2089">
                  <c:v>39568</c:v>
                </c:pt>
                <c:pt idx="2090">
                  <c:v>39570</c:v>
                </c:pt>
                <c:pt idx="2091">
                  <c:v>39573</c:v>
                </c:pt>
                <c:pt idx="2092">
                  <c:v>39574</c:v>
                </c:pt>
                <c:pt idx="2093">
                  <c:v>39575</c:v>
                </c:pt>
                <c:pt idx="2094">
                  <c:v>39576</c:v>
                </c:pt>
                <c:pt idx="2095">
                  <c:v>39577</c:v>
                </c:pt>
                <c:pt idx="2096">
                  <c:v>39580</c:v>
                </c:pt>
                <c:pt idx="2097">
                  <c:v>39581</c:v>
                </c:pt>
                <c:pt idx="2098">
                  <c:v>39582</c:v>
                </c:pt>
                <c:pt idx="2099">
                  <c:v>39583</c:v>
                </c:pt>
                <c:pt idx="2100">
                  <c:v>39584</c:v>
                </c:pt>
                <c:pt idx="2101">
                  <c:v>39587</c:v>
                </c:pt>
                <c:pt idx="2102">
                  <c:v>39588</c:v>
                </c:pt>
                <c:pt idx="2103">
                  <c:v>39589</c:v>
                </c:pt>
                <c:pt idx="2104">
                  <c:v>39591</c:v>
                </c:pt>
                <c:pt idx="2105">
                  <c:v>39594</c:v>
                </c:pt>
                <c:pt idx="2106">
                  <c:v>39595</c:v>
                </c:pt>
                <c:pt idx="2107">
                  <c:v>39596</c:v>
                </c:pt>
                <c:pt idx="2108">
                  <c:v>39597</c:v>
                </c:pt>
                <c:pt idx="2109">
                  <c:v>39598</c:v>
                </c:pt>
                <c:pt idx="2110">
                  <c:v>39601</c:v>
                </c:pt>
                <c:pt idx="2111">
                  <c:v>39602</c:v>
                </c:pt>
                <c:pt idx="2112">
                  <c:v>39603</c:v>
                </c:pt>
                <c:pt idx="2113">
                  <c:v>39604</c:v>
                </c:pt>
                <c:pt idx="2114">
                  <c:v>39605</c:v>
                </c:pt>
                <c:pt idx="2115">
                  <c:v>39608</c:v>
                </c:pt>
                <c:pt idx="2116">
                  <c:v>39609</c:v>
                </c:pt>
                <c:pt idx="2117">
                  <c:v>39610</c:v>
                </c:pt>
                <c:pt idx="2118">
                  <c:v>39611</c:v>
                </c:pt>
                <c:pt idx="2119">
                  <c:v>39612</c:v>
                </c:pt>
                <c:pt idx="2120">
                  <c:v>39615</c:v>
                </c:pt>
                <c:pt idx="2121">
                  <c:v>39616</c:v>
                </c:pt>
                <c:pt idx="2122">
                  <c:v>39617</c:v>
                </c:pt>
                <c:pt idx="2123">
                  <c:v>39618</c:v>
                </c:pt>
                <c:pt idx="2124">
                  <c:v>39619</c:v>
                </c:pt>
                <c:pt idx="2125">
                  <c:v>39622</c:v>
                </c:pt>
                <c:pt idx="2126">
                  <c:v>39623</c:v>
                </c:pt>
                <c:pt idx="2127">
                  <c:v>39624</c:v>
                </c:pt>
                <c:pt idx="2128">
                  <c:v>39625</c:v>
                </c:pt>
                <c:pt idx="2129">
                  <c:v>39626</c:v>
                </c:pt>
                <c:pt idx="2130">
                  <c:v>39629</c:v>
                </c:pt>
                <c:pt idx="2131">
                  <c:v>39630</c:v>
                </c:pt>
                <c:pt idx="2132">
                  <c:v>39631</c:v>
                </c:pt>
                <c:pt idx="2133">
                  <c:v>39632</c:v>
                </c:pt>
                <c:pt idx="2134">
                  <c:v>39633</c:v>
                </c:pt>
                <c:pt idx="2135">
                  <c:v>39636</c:v>
                </c:pt>
                <c:pt idx="2136">
                  <c:v>39637</c:v>
                </c:pt>
                <c:pt idx="2137">
                  <c:v>39638</c:v>
                </c:pt>
                <c:pt idx="2138">
                  <c:v>39639</c:v>
                </c:pt>
                <c:pt idx="2139">
                  <c:v>39640</c:v>
                </c:pt>
                <c:pt idx="2140">
                  <c:v>39643</c:v>
                </c:pt>
                <c:pt idx="2141">
                  <c:v>39644</c:v>
                </c:pt>
                <c:pt idx="2142">
                  <c:v>39645</c:v>
                </c:pt>
                <c:pt idx="2143">
                  <c:v>39646</c:v>
                </c:pt>
                <c:pt idx="2144">
                  <c:v>39647</c:v>
                </c:pt>
                <c:pt idx="2145">
                  <c:v>39650</c:v>
                </c:pt>
                <c:pt idx="2146">
                  <c:v>39651</c:v>
                </c:pt>
                <c:pt idx="2147">
                  <c:v>39652</c:v>
                </c:pt>
                <c:pt idx="2148">
                  <c:v>39653</c:v>
                </c:pt>
                <c:pt idx="2149">
                  <c:v>39654</c:v>
                </c:pt>
                <c:pt idx="2150">
                  <c:v>39657</c:v>
                </c:pt>
                <c:pt idx="2151">
                  <c:v>39658</c:v>
                </c:pt>
                <c:pt idx="2152">
                  <c:v>39659</c:v>
                </c:pt>
                <c:pt idx="2153">
                  <c:v>39660</c:v>
                </c:pt>
                <c:pt idx="2154">
                  <c:v>39661</c:v>
                </c:pt>
                <c:pt idx="2155">
                  <c:v>39664</c:v>
                </c:pt>
                <c:pt idx="2156">
                  <c:v>39665</c:v>
                </c:pt>
                <c:pt idx="2157">
                  <c:v>39666</c:v>
                </c:pt>
                <c:pt idx="2158">
                  <c:v>39667</c:v>
                </c:pt>
                <c:pt idx="2159">
                  <c:v>39668</c:v>
                </c:pt>
                <c:pt idx="2160">
                  <c:v>39671</c:v>
                </c:pt>
                <c:pt idx="2161">
                  <c:v>39672</c:v>
                </c:pt>
                <c:pt idx="2162">
                  <c:v>39673</c:v>
                </c:pt>
                <c:pt idx="2163">
                  <c:v>39674</c:v>
                </c:pt>
                <c:pt idx="2164">
                  <c:v>39675</c:v>
                </c:pt>
                <c:pt idx="2165">
                  <c:v>39678</c:v>
                </c:pt>
                <c:pt idx="2166">
                  <c:v>39679</c:v>
                </c:pt>
                <c:pt idx="2167">
                  <c:v>39680</c:v>
                </c:pt>
                <c:pt idx="2168">
                  <c:v>39681</c:v>
                </c:pt>
                <c:pt idx="2169">
                  <c:v>39682</c:v>
                </c:pt>
                <c:pt idx="2170">
                  <c:v>39685</c:v>
                </c:pt>
                <c:pt idx="2171">
                  <c:v>39686</c:v>
                </c:pt>
                <c:pt idx="2172">
                  <c:v>39687</c:v>
                </c:pt>
                <c:pt idx="2173">
                  <c:v>39688</c:v>
                </c:pt>
                <c:pt idx="2174">
                  <c:v>39689</c:v>
                </c:pt>
                <c:pt idx="2175">
                  <c:v>39692</c:v>
                </c:pt>
                <c:pt idx="2176">
                  <c:v>39693</c:v>
                </c:pt>
                <c:pt idx="2177">
                  <c:v>39694</c:v>
                </c:pt>
                <c:pt idx="2178">
                  <c:v>39695</c:v>
                </c:pt>
                <c:pt idx="2179">
                  <c:v>39696</c:v>
                </c:pt>
                <c:pt idx="2180">
                  <c:v>39699</c:v>
                </c:pt>
                <c:pt idx="2181">
                  <c:v>39700</c:v>
                </c:pt>
                <c:pt idx="2182">
                  <c:v>39701</c:v>
                </c:pt>
                <c:pt idx="2183">
                  <c:v>39702</c:v>
                </c:pt>
                <c:pt idx="2184">
                  <c:v>39703</c:v>
                </c:pt>
                <c:pt idx="2185">
                  <c:v>39706</c:v>
                </c:pt>
                <c:pt idx="2186">
                  <c:v>39707</c:v>
                </c:pt>
                <c:pt idx="2187">
                  <c:v>39708</c:v>
                </c:pt>
                <c:pt idx="2188">
                  <c:v>39709</c:v>
                </c:pt>
                <c:pt idx="2189">
                  <c:v>39710</c:v>
                </c:pt>
                <c:pt idx="2190">
                  <c:v>39713</c:v>
                </c:pt>
                <c:pt idx="2191">
                  <c:v>39714</c:v>
                </c:pt>
                <c:pt idx="2192">
                  <c:v>39715</c:v>
                </c:pt>
                <c:pt idx="2193">
                  <c:v>39716</c:v>
                </c:pt>
                <c:pt idx="2194">
                  <c:v>39717</c:v>
                </c:pt>
                <c:pt idx="2195">
                  <c:v>39720</c:v>
                </c:pt>
                <c:pt idx="2196">
                  <c:v>39721</c:v>
                </c:pt>
                <c:pt idx="2197">
                  <c:v>39722</c:v>
                </c:pt>
                <c:pt idx="2198">
                  <c:v>39723</c:v>
                </c:pt>
                <c:pt idx="2199">
                  <c:v>39724</c:v>
                </c:pt>
                <c:pt idx="2200">
                  <c:v>39727</c:v>
                </c:pt>
                <c:pt idx="2201">
                  <c:v>39728</c:v>
                </c:pt>
                <c:pt idx="2202">
                  <c:v>39729</c:v>
                </c:pt>
                <c:pt idx="2203">
                  <c:v>39730</c:v>
                </c:pt>
                <c:pt idx="2204">
                  <c:v>39731</c:v>
                </c:pt>
                <c:pt idx="2205">
                  <c:v>39734</c:v>
                </c:pt>
                <c:pt idx="2206">
                  <c:v>39735</c:v>
                </c:pt>
                <c:pt idx="2207">
                  <c:v>39736</c:v>
                </c:pt>
                <c:pt idx="2208">
                  <c:v>39737</c:v>
                </c:pt>
                <c:pt idx="2209">
                  <c:v>39738</c:v>
                </c:pt>
                <c:pt idx="2210">
                  <c:v>39741</c:v>
                </c:pt>
                <c:pt idx="2211">
                  <c:v>39742</c:v>
                </c:pt>
                <c:pt idx="2212">
                  <c:v>39743</c:v>
                </c:pt>
                <c:pt idx="2213">
                  <c:v>39744</c:v>
                </c:pt>
                <c:pt idx="2214">
                  <c:v>39745</c:v>
                </c:pt>
                <c:pt idx="2215">
                  <c:v>39748</c:v>
                </c:pt>
                <c:pt idx="2216">
                  <c:v>39749</c:v>
                </c:pt>
                <c:pt idx="2217">
                  <c:v>39750</c:v>
                </c:pt>
                <c:pt idx="2218">
                  <c:v>39751</c:v>
                </c:pt>
                <c:pt idx="2219">
                  <c:v>39752</c:v>
                </c:pt>
                <c:pt idx="2220">
                  <c:v>39755</c:v>
                </c:pt>
                <c:pt idx="2221">
                  <c:v>39756</c:v>
                </c:pt>
                <c:pt idx="2222">
                  <c:v>39757</c:v>
                </c:pt>
                <c:pt idx="2223">
                  <c:v>39758</c:v>
                </c:pt>
                <c:pt idx="2224">
                  <c:v>39759</c:v>
                </c:pt>
                <c:pt idx="2225">
                  <c:v>39762</c:v>
                </c:pt>
                <c:pt idx="2226">
                  <c:v>39763</c:v>
                </c:pt>
                <c:pt idx="2227">
                  <c:v>39764</c:v>
                </c:pt>
                <c:pt idx="2228">
                  <c:v>39765</c:v>
                </c:pt>
                <c:pt idx="2229">
                  <c:v>39766</c:v>
                </c:pt>
                <c:pt idx="2230">
                  <c:v>39769</c:v>
                </c:pt>
                <c:pt idx="2231">
                  <c:v>39770</c:v>
                </c:pt>
                <c:pt idx="2232">
                  <c:v>39771</c:v>
                </c:pt>
                <c:pt idx="2233">
                  <c:v>39772</c:v>
                </c:pt>
                <c:pt idx="2234">
                  <c:v>39773</c:v>
                </c:pt>
                <c:pt idx="2235">
                  <c:v>39776</c:v>
                </c:pt>
                <c:pt idx="2236">
                  <c:v>39777</c:v>
                </c:pt>
                <c:pt idx="2237">
                  <c:v>39778</c:v>
                </c:pt>
                <c:pt idx="2238">
                  <c:v>39779</c:v>
                </c:pt>
                <c:pt idx="2239">
                  <c:v>39780</c:v>
                </c:pt>
                <c:pt idx="2240">
                  <c:v>39783</c:v>
                </c:pt>
                <c:pt idx="2241">
                  <c:v>39784</c:v>
                </c:pt>
                <c:pt idx="2242">
                  <c:v>39785</c:v>
                </c:pt>
                <c:pt idx="2243">
                  <c:v>39786</c:v>
                </c:pt>
                <c:pt idx="2244">
                  <c:v>39787</c:v>
                </c:pt>
                <c:pt idx="2245">
                  <c:v>39790</c:v>
                </c:pt>
                <c:pt idx="2246">
                  <c:v>39791</c:v>
                </c:pt>
                <c:pt idx="2247">
                  <c:v>39792</c:v>
                </c:pt>
                <c:pt idx="2248">
                  <c:v>39793</c:v>
                </c:pt>
                <c:pt idx="2249">
                  <c:v>39794</c:v>
                </c:pt>
                <c:pt idx="2250">
                  <c:v>39797</c:v>
                </c:pt>
                <c:pt idx="2251">
                  <c:v>39798</c:v>
                </c:pt>
                <c:pt idx="2252">
                  <c:v>39799</c:v>
                </c:pt>
                <c:pt idx="2253">
                  <c:v>39800</c:v>
                </c:pt>
                <c:pt idx="2254">
                  <c:v>39801</c:v>
                </c:pt>
                <c:pt idx="2255">
                  <c:v>39804</c:v>
                </c:pt>
                <c:pt idx="2256">
                  <c:v>39805</c:v>
                </c:pt>
                <c:pt idx="2257">
                  <c:v>39806</c:v>
                </c:pt>
                <c:pt idx="2258">
                  <c:v>39808</c:v>
                </c:pt>
                <c:pt idx="2259">
                  <c:v>39811</c:v>
                </c:pt>
                <c:pt idx="2260">
                  <c:v>39812</c:v>
                </c:pt>
                <c:pt idx="2261">
                  <c:v>39813</c:v>
                </c:pt>
                <c:pt idx="2262">
                  <c:v>39815</c:v>
                </c:pt>
                <c:pt idx="2263">
                  <c:v>39818</c:v>
                </c:pt>
                <c:pt idx="2264">
                  <c:v>39819</c:v>
                </c:pt>
                <c:pt idx="2265">
                  <c:v>39820</c:v>
                </c:pt>
                <c:pt idx="2266">
                  <c:v>39821</c:v>
                </c:pt>
                <c:pt idx="2267">
                  <c:v>39822</c:v>
                </c:pt>
                <c:pt idx="2268">
                  <c:v>39825</c:v>
                </c:pt>
                <c:pt idx="2269">
                  <c:v>39826</c:v>
                </c:pt>
                <c:pt idx="2270">
                  <c:v>39827</c:v>
                </c:pt>
                <c:pt idx="2271">
                  <c:v>39828</c:v>
                </c:pt>
                <c:pt idx="2272">
                  <c:v>39829</c:v>
                </c:pt>
                <c:pt idx="2273">
                  <c:v>39832</c:v>
                </c:pt>
                <c:pt idx="2274">
                  <c:v>39833</c:v>
                </c:pt>
                <c:pt idx="2275">
                  <c:v>39834</c:v>
                </c:pt>
                <c:pt idx="2276">
                  <c:v>39835</c:v>
                </c:pt>
                <c:pt idx="2277">
                  <c:v>39836</c:v>
                </c:pt>
                <c:pt idx="2278">
                  <c:v>39839</c:v>
                </c:pt>
                <c:pt idx="2279">
                  <c:v>39840</c:v>
                </c:pt>
                <c:pt idx="2280">
                  <c:v>39841</c:v>
                </c:pt>
                <c:pt idx="2281">
                  <c:v>39842</c:v>
                </c:pt>
                <c:pt idx="2282">
                  <c:v>39843</c:v>
                </c:pt>
                <c:pt idx="2283">
                  <c:v>39846</c:v>
                </c:pt>
                <c:pt idx="2284">
                  <c:v>39847</c:v>
                </c:pt>
                <c:pt idx="2285">
                  <c:v>39848</c:v>
                </c:pt>
                <c:pt idx="2286">
                  <c:v>39849</c:v>
                </c:pt>
                <c:pt idx="2287">
                  <c:v>39850</c:v>
                </c:pt>
                <c:pt idx="2288">
                  <c:v>39853</c:v>
                </c:pt>
                <c:pt idx="2289">
                  <c:v>39854</c:v>
                </c:pt>
                <c:pt idx="2290">
                  <c:v>39855</c:v>
                </c:pt>
                <c:pt idx="2291">
                  <c:v>39856</c:v>
                </c:pt>
                <c:pt idx="2292">
                  <c:v>39857</c:v>
                </c:pt>
                <c:pt idx="2293">
                  <c:v>39860</c:v>
                </c:pt>
                <c:pt idx="2294">
                  <c:v>39861</c:v>
                </c:pt>
                <c:pt idx="2295">
                  <c:v>39862</c:v>
                </c:pt>
                <c:pt idx="2296">
                  <c:v>39863</c:v>
                </c:pt>
                <c:pt idx="2297">
                  <c:v>39864</c:v>
                </c:pt>
                <c:pt idx="2298">
                  <c:v>39869</c:v>
                </c:pt>
                <c:pt idx="2299">
                  <c:v>39870</c:v>
                </c:pt>
                <c:pt idx="2300">
                  <c:v>39871</c:v>
                </c:pt>
                <c:pt idx="2301">
                  <c:v>39874</c:v>
                </c:pt>
                <c:pt idx="2302">
                  <c:v>39875</c:v>
                </c:pt>
                <c:pt idx="2303">
                  <c:v>39876</c:v>
                </c:pt>
                <c:pt idx="2304">
                  <c:v>39877</c:v>
                </c:pt>
                <c:pt idx="2305">
                  <c:v>39878</c:v>
                </c:pt>
                <c:pt idx="2306">
                  <c:v>39881</c:v>
                </c:pt>
                <c:pt idx="2307">
                  <c:v>39882</c:v>
                </c:pt>
                <c:pt idx="2308">
                  <c:v>39883</c:v>
                </c:pt>
                <c:pt idx="2309">
                  <c:v>39884</c:v>
                </c:pt>
                <c:pt idx="2310">
                  <c:v>39885</c:v>
                </c:pt>
                <c:pt idx="2311">
                  <c:v>39888</c:v>
                </c:pt>
                <c:pt idx="2312">
                  <c:v>39889</c:v>
                </c:pt>
                <c:pt idx="2313">
                  <c:v>39890</c:v>
                </c:pt>
                <c:pt idx="2314">
                  <c:v>39891</c:v>
                </c:pt>
                <c:pt idx="2315">
                  <c:v>39892</c:v>
                </c:pt>
                <c:pt idx="2316">
                  <c:v>39895</c:v>
                </c:pt>
                <c:pt idx="2317">
                  <c:v>39896</c:v>
                </c:pt>
                <c:pt idx="2318">
                  <c:v>39897</c:v>
                </c:pt>
                <c:pt idx="2319">
                  <c:v>39898</c:v>
                </c:pt>
                <c:pt idx="2320">
                  <c:v>39899</c:v>
                </c:pt>
                <c:pt idx="2321">
                  <c:v>39902</c:v>
                </c:pt>
                <c:pt idx="2322">
                  <c:v>39903</c:v>
                </c:pt>
                <c:pt idx="2323">
                  <c:v>39904</c:v>
                </c:pt>
                <c:pt idx="2324">
                  <c:v>39905</c:v>
                </c:pt>
                <c:pt idx="2325">
                  <c:v>39906</c:v>
                </c:pt>
                <c:pt idx="2326">
                  <c:v>39909</c:v>
                </c:pt>
                <c:pt idx="2327">
                  <c:v>39910</c:v>
                </c:pt>
                <c:pt idx="2328">
                  <c:v>39911</c:v>
                </c:pt>
                <c:pt idx="2329">
                  <c:v>39912</c:v>
                </c:pt>
                <c:pt idx="2330">
                  <c:v>39916</c:v>
                </c:pt>
                <c:pt idx="2331">
                  <c:v>39917</c:v>
                </c:pt>
                <c:pt idx="2332">
                  <c:v>39918</c:v>
                </c:pt>
                <c:pt idx="2333">
                  <c:v>39919</c:v>
                </c:pt>
                <c:pt idx="2334">
                  <c:v>39920</c:v>
                </c:pt>
                <c:pt idx="2335">
                  <c:v>39923</c:v>
                </c:pt>
                <c:pt idx="2336">
                  <c:v>39925</c:v>
                </c:pt>
                <c:pt idx="2337">
                  <c:v>39926</c:v>
                </c:pt>
                <c:pt idx="2338">
                  <c:v>39927</c:v>
                </c:pt>
                <c:pt idx="2339">
                  <c:v>39930</c:v>
                </c:pt>
                <c:pt idx="2340">
                  <c:v>39931</c:v>
                </c:pt>
                <c:pt idx="2341">
                  <c:v>39932</c:v>
                </c:pt>
                <c:pt idx="2342">
                  <c:v>39933</c:v>
                </c:pt>
                <c:pt idx="2343">
                  <c:v>39937</c:v>
                </c:pt>
                <c:pt idx="2344">
                  <c:v>39938</c:v>
                </c:pt>
                <c:pt idx="2345">
                  <c:v>39939</c:v>
                </c:pt>
                <c:pt idx="2346">
                  <c:v>39940</c:v>
                </c:pt>
                <c:pt idx="2347">
                  <c:v>39941</c:v>
                </c:pt>
                <c:pt idx="2348">
                  <c:v>39944</c:v>
                </c:pt>
                <c:pt idx="2349">
                  <c:v>39945</c:v>
                </c:pt>
                <c:pt idx="2350">
                  <c:v>39946</c:v>
                </c:pt>
                <c:pt idx="2351">
                  <c:v>39947</c:v>
                </c:pt>
                <c:pt idx="2352">
                  <c:v>39948</c:v>
                </c:pt>
                <c:pt idx="2353">
                  <c:v>39951</c:v>
                </c:pt>
                <c:pt idx="2354">
                  <c:v>39952</c:v>
                </c:pt>
                <c:pt idx="2355">
                  <c:v>39953</c:v>
                </c:pt>
                <c:pt idx="2356">
                  <c:v>39954</c:v>
                </c:pt>
                <c:pt idx="2357">
                  <c:v>39955</c:v>
                </c:pt>
                <c:pt idx="2358">
                  <c:v>39958</c:v>
                </c:pt>
                <c:pt idx="2359">
                  <c:v>39959</c:v>
                </c:pt>
                <c:pt idx="2360">
                  <c:v>39960</c:v>
                </c:pt>
                <c:pt idx="2361">
                  <c:v>39961</c:v>
                </c:pt>
                <c:pt idx="2362">
                  <c:v>39962</c:v>
                </c:pt>
                <c:pt idx="2363">
                  <c:v>39965</c:v>
                </c:pt>
                <c:pt idx="2364">
                  <c:v>39966</c:v>
                </c:pt>
                <c:pt idx="2365">
                  <c:v>39967</c:v>
                </c:pt>
                <c:pt idx="2366">
                  <c:v>39968</c:v>
                </c:pt>
                <c:pt idx="2367">
                  <c:v>39969</c:v>
                </c:pt>
                <c:pt idx="2368">
                  <c:v>39972</c:v>
                </c:pt>
                <c:pt idx="2369">
                  <c:v>39973</c:v>
                </c:pt>
                <c:pt idx="2370">
                  <c:v>39974</c:v>
                </c:pt>
                <c:pt idx="2371">
                  <c:v>39976</c:v>
                </c:pt>
                <c:pt idx="2372">
                  <c:v>39979</c:v>
                </c:pt>
                <c:pt idx="2373">
                  <c:v>39980</c:v>
                </c:pt>
                <c:pt idx="2374">
                  <c:v>39981</c:v>
                </c:pt>
                <c:pt idx="2375">
                  <c:v>39982</c:v>
                </c:pt>
                <c:pt idx="2376">
                  <c:v>39983</c:v>
                </c:pt>
                <c:pt idx="2377">
                  <c:v>39986</c:v>
                </c:pt>
                <c:pt idx="2378">
                  <c:v>39987</c:v>
                </c:pt>
                <c:pt idx="2379">
                  <c:v>39988</c:v>
                </c:pt>
                <c:pt idx="2380">
                  <c:v>39989</c:v>
                </c:pt>
                <c:pt idx="2381">
                  <c:v>39990</c:v>
                </c:pt>
                <c:pt idx="2382">
                  <c:v>39993</c:v>
                </c:pt>
                <c:pt idx="2383">
                  <c:v>39994</c:v>
                </c:pt>
                <c:pt idx="2384">
                  <c:v>39995</c:v>
                </c:pt>
                <c:pt idx="2385">
                  <c:v>39996</c:v>
                </c:pt>
                <c:pt idx="2386">
                  <c:v>39997</c:v>
                </c:pt>
                <c:pt idx="2387">
                  <c:v>40000</c:v>
                </c:pt>
                <c:pt idx="2388">
                  <c:v>40001</c:v>
                </c:pt>
                <c:pt idx="2389">
                  <c:v>40002</c:v>
                </c:pt>
                <c:pt idx="2390">
                  <c:v>40003</c:v>
                </c:pt>
                <c:pt idx="2391">
                  <c:v>40004</c:v>
                </c:pt>
                <c:pt idx="2392">
                  <c:v>40007</c:v>
                </c:pt>
                <c:pt idx="2393">
                  <c:v>40008</c:v>
                </c:pt>
                <c:pt idx="2394">
                  <c:v>40009</c:v>
                </c:pt>
                <c:pt idx="2395">
                  <c:v>40010</c:v>
                </c:pt>
                <c:pt idx="2396">
                  <c:v>40011</c:v>
                </c:pt>
                <c:pt idx="2397">
                  <c:v>40014</c:v>
                </c:pt>
                <c:pt idx="2398">
                  <c:v>40015</c:v>
                </c:pt>
                <c:pt idx="2399">
                  <c:v>40016</c:v>
                </c:pt>
                <c:pt idx="2400">
                  <c:v>40017</c:v>
                </c:pt>
                <c:pt idx="2401">
                  <c:v>40018</c:v>
                </c:pt>
                <c:pt idx="2402">
                  <c:v>40021</c:v>
                </c:pt>
                <c:pt idx="2403">
                  <c:v>40022</c:v>
                </c:pt>
                <c:pt idx="2404">
                  <c:v>40023</c:v>
                </c:pt>
                <c:pt idx="2405">
                  <c:v>40024</c:v>
                </c:pt>
                <c:pt idx="2406">
                  <c:v>40025</c:v>
                </c:pt>
                <c:pt idx="2407">
                  <c:v>40028</c:v>
                </c:pt>
                <c:pt idx="2408">
                  <c:v>40029</c:v>
                </c:pt>
                <c:pt idx="2409">
                  <c:v>40030</c:v>
                </c:pt>
                <c:pt idx="2410">
                  <c:v>40031</c:v>
                </c:pt>
                <c:pt idx="2411">
                  <c:v>40032</c:v>
                </c:pt>
                <c:pt idx="2412">
                  <c:v>40035</c:v>
                </c:pt>
                <c:pt idx="2413">
                  <c:v>40036</c:v>
                </c:pt>
                <c:pt idx="2414">
                  <c:v>40037</c:v>
                </c:pt>
                <c:pt idx="2415">
                  <c:v>40038</c:v>
                </c:pt>
                <c:pt idx="2416">
                  <c:v>40039</c:v>
                </c:pt>
                <c:pt idx="2417">
                  <c:v>40042</c:v>
                </c:pt>
                <c:pt idx="2418">
                  <c:v>40043</c:v>
                </c:pt>
                <c:pt idx="2419">
                  <c:v>40044</c:v>
                </c:pt>
                <c:pt idx="2420">
                  <c:v>40045</c:v>
                </c:pt>
                <c:pt idx="2421">
                  <c:v>40046</c:v>
                </c:pt>
                <c:pt idx="2422">
                  <c:v>40049</c:v>
                </c:pt>
                <c:pt idx="2423">
                  <c:v>40050</c:v>
                </c:pt>
                <c:pt idx="2424">
                  <c:v>40051</c:v>
                </c:pt>
                <c:pt idx="2425">
                  <c:v>40052</c:v>
                </c:pt>
                <c:pt idx="2426">
                  <c:v>40053</c:v>
                </c:pt>
                <c:pt idx="2427">
                  <c:v>40056</c:v>
                </c:pt>
                <c:pt idx="2428">
                  <c:v>40057</c:v>
                </c:pt>
                <c:pt idx="2429">
                  <c:v>40058</c:v>
                </c:pt>
                <c:pt idx="2430">
                  <c:v>40059</c:v>
                </c:pt>
                <c:pt idx="2431">
                  <c:v>40060</c:v>
                </c:pt>
                <c:pt idx="2432">
                  <c:v>40064</c:v>
                </c:pt>
                <c:pt idx="2433">
                  <c:v>40065</c:v>
                </c:pt>
                <c:pt idx="2434">
                  <c:v>40066</c:v>
                </c:pt>
                <c:pt idx="2435">
                  <c:v>40067</c:v>
                </c:pt>
                <c:pt idx="2436">
                  <c:v>40070</c:v>
                </c:pt>
                <c:pt idx="2437">
                  <c:v>40071</c:v>
                </c:pt>
                <c:pt idx="2438">
                  <c:v>40072</c:v>
                </c:pt>
                <c:pt idx="2439">
                  <c:v>40073</c:v>
                </c:pt>
                <c:pt idx="2440">
                  <c:v>40074</c:v>
                </c:pt>
                <c:pt idx="2441">
                  <c:v>40077</c:v>
                </c:pt>
                <c:pt idx="2442">
                  <c:v>40078</c:v>
                </c:pt>
                <c:pt idx="2443">
                  <c:v>40079</c:v>
                </c:pt>
                <c:pt idx="2444">
                  <c:v>40080</c:v>
                </c:pt>
                <c:pt idx="2445">
                  <c:v>40081</c:v>
                </c:pt>
                <c:pt idx="2446">
                  <c:v>40084</c:v>
                </c:pt>
                <c:pt idx="2447">
                  <c:v>40085</c:v>
                </c:pt>
                <c:pt idx="2448">
                  <c:v>40086</c:v>
                </c:pt>
                <c:pt idx="2449">
                  <c:v>40087</c:v>
                </c:pt>
                <c:pt idx="2450">
                  <c:v>40088</c:v>
                </c:pt>
                <c:pt idx="2451">
                  <c:v>40091</c:v>
                </c:pt>
                <c:pt idx="2452">
                  <c:v>40092</c:v>
                </c:pt>
                <c:pt idx="2453">
                  <c:v>40093</c:v>
                </c:pt>
                <c:pt idx="2454">
                  <c:v>40094</c:v>
                </c:pt>
                <c:pt idx="2455">
                  <c:v>40095</c:v>
                </c:pt>
                <c:pt idx="2456">
                  <c:v>40099</c:v>
                </c:pt>
                <c:pt idx="2457">
                  <c:v>40100</c:v>
                </c:pt>
                <c:pt idx="2458">
                  <c:v>40101</c:v>
                </c:pt>
                <c:pt idx="2459">
                  <c:v>40102</c:v>
                </c:pt>
                <c:pt idx="2460">
                  <c:v>40105</c:v>
                </c:pt>
                <c:pt idx="2461">
                  <c:v>40106</c:v>
                </c:pt>
                <c:pt idx="2462">
                  <c:v>40107</c:v>
                </c:pt>
                <c:pt idx="2463">
                  <c:v>40108</c:v>
                </c:pt>
                <c:pt idx="2464">
                  <c:v>40109</c:v>
                </c:pt>
                <c:pt idx="2465">
                  <c:v>40112</c:v>
                </c:pt>
                <c:pt idx="2466">
                  <c:v>40113</c:v>
                </c:pt>
                <c:pt idx="2467">
                  <c:v>40114</c:v>
                </c:pt>
                <c:pt idx="2468">
                  <c:v>40115</c:v>
                </c:pt>
                <c:pt idx="2469">
                  <c:v>40116</c:v>
                </c:pt>
                <c:pt idx="2470">
                  <c:v>40120</c:v>
                </c:pt>
                <c:pt idx="2471">
                  <c:v>40121</c:v>
                </c:pt>
                <c:pt idx="2472">
                  <c:v>40122</c:v>
                </c:pt>
                <c:pt idx="2473">
                  <c:v>40123</c:v>
                </c:pt>
                <c:pt idx="2474">
                  <c:v>40126</c:v>
                </c:pt>
                <c:pt idx="2475">
                  <c:v>40127</c:v>
                </c:pt>
                <c:pt idx="2476">
                  <c:v>40128</c:v>
                </c:pt>
                <c:pt idx="2477">
                  <c:v>40129</c:v>
                </c:pt>
                <c:pt idx="2478">
                  <c:v>40130</c:v>
                </c:pt>
                <c:pt idx="2479">
                  <c:v>40133</c:v>
                </c:pt>
                <c:pt idx="2480">
                  <c:v>40134</c:v>
                </c:pt>
                <c:pt idx="2481">
                  <c:v>40135</c:v>
                </c:pt>
                <c:pt idx="2482">
                  <c:v>40136</c:v>
                </c:pt>
                <c:pt idx="2483">
                  <c:v>40137</c:v>
                </c:pt>
                <c:pt idx="2484">
                  <c:v>40140</c:v>
                </c:pt>
                <c:pt idx="2485">
                  <c:v>40141</c:v>
                </c:pt>
                <c:pt idx="2486">
                  <c:v>40142</c:v>
                </c:pt>
                <c:pt idx="2487">
                  <c:v>40143</c:v>
                </c:pt>
                <c:pt idx="2488">
                  <c:v>40144</c:v>
                </c:pt>
                <c:pt idx="2489">
                  <c:v>40147</c:v>
                </c:pt>
                <c:pt idx="2490">
                  <c:v>40148</c:v>
                </c:pt>
                <c:pt idx="2491">
                  <c:v>40149</c:v>
                </c:pt>
                <c:pt idx="2492">
                  <c:v>40150</c:v>
                </c:pt>
                <c:pt idx="2493">
                  <c:v>40151</c:v>
                </c:pt>
                <c:pt idx="2494">
                  <c:v>40154</c:v>
                </c:pt>
                <c:pt idx="2495">
                  <c:v>40155</c:v>
                </c:pt>
                <c:pt idx="2496">
                  <c:v>40156</c:v>
                </c:pt>
                <c:pt idx="2497">
                  <c:v>40157</c:v>
                </c:pt>
                <c:pt idx="2498">
                  <c:v>40158</c:v>
                </c:pt>
                <c:pt idx="2499">
                  <c:v>40161</c:v>
                </c:pt>
                <c:pt idx="2500">
                  <c:v>40162</c:v>
                </c:pt>
                <c:pt idx="2501">
                  <c:v>40163</c:v>
                </c:pt>
                <c:pt idx="2502">
                  <c:v>40164</c:v>
                </c:pt>
                <c:pt idx="2503">
                  <c:v>40165</c:v>
                </c:pt>
                <c:pt idx="2504">
                  <c:v>40168</c:v>
                </c:pt>
                <c:pt idx="2505">
                  <c:v>40169</c:v>
                </c:pt>
                <c:pt idx="2506">
                  <c:v>40170</c:v>
                </c:pt>
                <c:pt idx="2507">
                  <c:v>40171</c:v>
                </c:pt>
                <c:pt idx="2508">
                  <c:v>40175</c:v>
                </c:pt>
                <c:pt idx="2509">
                  <c:v>40176</c:v>
                </c:pt>
                <c:pt idx="2510">
                  <c:v>40177</c:v>
                </c:pt>
                <c:pt idx="2511">
                  <c:v>40178</c:v>
                </c:pt>
                <c:pt idx="2512">
                  <c:v>40182</c:v>
                </c:pt>
                <c:pt idx="2513">
                  <c:v>40183</c:v>
                </c:pt>
                <c:pt idx="2514">
                  <c:v>40184</c:v>
                </c:pt>
                <c:pt idx="2515">
                  <c:v>40185</c:v>
                </c:pt>
                <c:pt idx="2516">
                  <c:v>40186</c:v>
                </c:pt>
                <c:pt idx="2517">
                  <c:v>40189</c:v>
                </c:pt>
                <c:pt idx="2518">
                  <c:v>40190</c:v>
                </c:pt>
                <c:pt idx="2519">
                  <c:v>40191</c:v>
                </c:pt>
                <c:pt idx="2520">
                  <c:v>40192</c:v>
                </c:pt>
                <c:pt idx="2521">
                  <c:v>40193</c:v>
                </c:pt>
                <c:pt idx="2522">
                  <c:v>40196</c:v>
                </c:pt>
                <c:pt idx="2523">
                  <c:v>40197</c:v>
                </c:pt>
                <c:pt idx="2524">
                  <c:v>40198</c:v>
                </c:pt>
                <c:pt idx="2525">
                  <c:v>40199</c:v>
                </c:pt>
                <c:pt idx="2526">
                  <c:v>40200</c:v>
                </c:pt>
                <c:pt idx="2527">
                  <c:v>40203</c:v>
                </c:pt>
                <c:pt idx="2528">
                  <c:v>40204</c:v>
                </c:pt>
                <c:pt idx="2529">
                  <c:v>40205</c:v>
                </c:pt>
                <c:pt idx="2530">
                  <c:v>40206</c:v>
                </c:pt>
                <c:pt idx="2531">
                  <c:v>40207</c:v>
                </c:pt>
                <c:pt idx="2532">
                  <c:v>40210</c:v>
                </c:pt>
                <c:pt idx="2533">
                  <c:v>40211</c:v>
                </c:pt>
                <c:pt idx="2534">
                  <c:v>40212</c:v>
                </c:pt>
                <c:pt idx="2535">
                  <c:v>40213</c:v>
                </c:pt>
                <c:pt idx="2536">
                  <c:v>40214</c:v>
                </c:pt>
                <c:pt idx="2537">
                  <c:v>40217</c:v>
                </c:pt>
                <c:pt idx="2538">
                  <c:v>40218</c:v>
                </c:pt>
                <c:pt idx="2539">
                  <c:v>40219</c:v>
                </c:pt>
                <c:pt idx="2540">
                  <c:v>40220</c:v>
                </c:pt>
                <c:pt idx="2541">
                  <c:v>40221</c:v>
                </c:pt>
                <c:pt idx="2542">
                  <c:v>40226</c:v>
                </c:pt>
                <c:pt idx="2543">
                  <c:v>40227</c:v>
                </c:pt>
                <c:pt idx="2544">
                  <c:v>40228</c:v>
                </c:pt>
                <c:pt idx="2545">
                  <c:v>40231</c:v>
                </c:pt>
                <c:pt idx="2546">
                  <c:v>40232</c:v>
                </c:pt>
                <c:pt idx="2547">
                  <c:v>40233</c:v>
                </c:pt>
                <c:pt idx="2548">
                  <c:v>40234</c:v>
                </c:pt>
                <c:pt idx="2549">
                  <c:v>40235</c:v>
                </c:pt>
                <c:pt idx="2550">
                  <c:v>40238</c:v>
                </c:pt>
                <c:pt idx="2551">
                  <c:v>40239</c:v>
                </c:pt>
                <c:pt idx="2552">
                  <c:v>40240</c:v>
                </c:pt>
                <c:pt idx="2553">
                  <c:v>40241</c:v>
                </c:pt>
                <c:pt idx="2554">
                  <c:v>40242</c:v>
                </c:pt>
                <c:pt idx="2555">
                  <c:v>40245</c:v>
                </c:pt>
                <c:pt idx="2556">
                  <c:v>40246</c:v>
                </c:pt>
                <c:pt idx="2557">
                  <c:v>40247</c:v>
                </c:pt>
                <c:pt idx="2558">
                  <c:v>40248</c:v>
                </c:pt>
                <c:pt idx="2559">
                  <c:v>40249</c:v>
                </c:pt>
                <c:pt idx="2560">
                  <c:v>40252</c:v>
                </c:pt>
                <c:pt idx="2561">
                  <c:v>40253</c:v>
                </c:pt>
                <c:pt idx="2562">
                  <c:v>40254</c:v>
                </c:pt>
                <c:pt idx="2563">
                  <c:v>40255</c:v>
                </c:pt>
                <c:pt idx="2564">
                  <c:v>40256</c:v>
                </c:pt>
                <c:pt idx="2565">
                  <c:v>40259</c:v>
                </c:pt>
                <c:pt idx="2566">
                  <c:v>40260</c:v>
                </c:pt>
                <c:pt idx="2567">
                  <c:v>40261</c:v>
                </c:pt>
                <c:pt idx="2568">
                  <c:v>40262</c:v>
                </c:pt>
                <c:pt idx="2569">
                  <c:v>40263</c:v>
                </c:pt>
                <c:pt idx="2570">
                  <c:v>40266</c:v>
                </c:pt>
                <c:pt idx="2571">
                  <c:v>40267</c:v>
                </c:pt>
                <c:pt idx="2572">
                  <c:v>40268</c:v>
                </c:pt>
                <c:pt idx="2573">
                  <c:v>40269</c:v>
                </c:pt>
                <c:pt idx="2574">
                  <c:v>40273</c:v>
                </c:pt>
                <c:pt idx="2575">
                  <c:v>40274</c:v>
                </c:pt>
                <c:pt idx="2576">
                  <c:v>40275</c:v>
                </c:pt>
                <c:pt idx="2577">
                  <c:v>40276</c:v>
                </c:pt>
                <c:pt idx="2578">
                  <c:v>40277</c:v>
                </c:pt>
                <c:pt idx="2579">
                  <c:v>40280</c:v>
                </c:pt>
                <c:pt idx="2580">
                  <c:v>40281</c:v>
                </c:pt>
                <c:pt idx="2581">
                  <c:v>40282</c:v>
                </c:pt>
                <c:pt idx="2582">
                  <c:v>40283</c:v>
                </c:pt>
                <c:pt idx="2583">
                  <c:v>40284</c:v>
                </c:pt>
                <c:pt idx="2584">
                  <c:v>40287</c:v>
                </c:pt>
                <c:pt idx="2585">
                  <c:v>40288</c:v>
                </c:pt>
                <c:pt idx="2586">
                  <c:v>40290</c:v>
                </c:pt>
                <c:pt idx="2587">
                  <c:v>40291</c:v>
                </c:pt>
                <c:pt idx="2588">
                  <c:v>40294</c:v>
                </c:pt>
                <c:pt idx="2589">
                  <c:v>40295</c:v>
                </c:pt>
                <c:pt idx="2590">
                  <c:v>40296</c:v>
                </c:pt>
                <c:pt idx="2591">
                  <c:v>40297</c:v>
                </c:pt>
                <c:pt idx="2592">
                  <c:v>40298</c:v>
                </c:pt>
                <c:pt idx="2593">
                  <c:v>40301</c:v>
                </c:pt>
                <c:pt idx="2594">
                  <c:v>40302</c:v>
                </c:pt>
                <c:pt idx="2595">
                  <c:v>40303</c:v>
                </c:pt>
                <c:pt idx="2596">
                  <c:v>40304</c:v>
                </c:pt>
                <c:pt idx="2597">
                  <c:v>40305</c:v>
                </c:pt>
                <c:pt idx="2598">
                  <c:v>40308</c:v>
                </c:pt>
                <c:pt idx="2599">
                  <c:v>40309</c:v>
                </c:pt>
                <c:pt idx="2600">
                  <c:v>40310</c:v>
                </c:pt>
                <c:pt idx="2601">
                  <c:v>40311</c:v>
                </c:pt>
                <c:pt idx="2602">
                  <c:v>40312</c:v>
                </c:pt>
                <c:pt idx="2603">
                  <c:v>40315</c:v>
                </c:pt>
                <c:pt idx="2604">
                  <c:v>40316</c:v>
                </c:pt>
                <c:pt idx="2605">
                  <c:v>40317</c:v>
                </c:pt>
                <c:pt idx="2606">
                  <c:v>40318</c:v>
                </c:pt>
                <c:pt idx="2607">
                  <c:v>40319</c:v>
                </c:pt>
                <c:pt idx="2608">
                  <c:v>40322</c:v>
                </c:pt>
                <c:pt idx="2609">
                  <c:v>40323</c:v>
                </c:pt>
                <c:pt idx="2610">
                  <c:v>40324</c:v>
                </c:pt>
                <c:pt idx="2611">
                  <c:v>40325</c:v>
                </c:pt>
                <c:pt idx="2612">
                  <c:v>40326</c:v>
                </c:pt>
                <c:pt idx="2613">
                  <c:v>40329</c:v>
                </c:pt>
                <c:pt idx="2614">
                  <c:v>40330</c:v>
                </c:pt>
                <c:pt idx="2615">
                  <c:v>40331</c:v>
                </c:pt>
                <c:pt idx="2616">
                  <c:v>40333</c:v>
                </c:pt>
                <c:pt idx="2617">
                  <c:v>40336</c:v>
                </c:pt>
                <c:pt idx="2618">
                  <c:v>40337</c:v>
                </c:pt>
                <c:pt idx="2619">
                  <c:v>40338</c:v>
                </c:pt>
                <c:pt idx="2620">
                  <c:v>40339</c:v>
                </c:pt>
                <c:pt idx="2621">
                  <c:v>40340</c:v>
                </c:pt>
                <c:pt idx="2622">
                  <c:v>40343</c:v>
                </c:pt>
                <c:pt idx="2623">
                  <c:v>40344</c:v>
                </c:pt>
                <c:pt idx="2624">
                  <c:v>40345</c:v>
                </c:pt>
                <c:pt idx="2625">
                  <c:v>40346</c:v>
                </c:pt>
                <c:pt idx="2626">
                  <c:v>40347</c:v>
                </c:pt>
                <c:pt idx="2627">
                  <c:v>40350</c:v>
                </c:pt>
                <c:pt idx="2628">
                  <c:v>40351</c:v>
                </c:pt>
                <c:pt idx="2629">
                  <c:v>40352</c:v>
                </c:pt>
                <c:pt idx="2630">
                  <c:v>40353</c:v>
                </c:pt>
                <c:pt idx="2631">
                  <c:v>40354</c:v>
                </c:pt>
                <c:pt idx="2632">
                  <c:v>40357</c:v>
                </c:pt>
                <c:pt idx="2633">
                  <c:v>40358</c:v>
                </c:pt>
                <c:pt idx="2634">
                  <c:v>40359</c:v>
                </c:pt>
                <c:pt idx="2635">
                  <c:v>40360</c:v>
                </c:pt>
                <c:pt idx="2636">
                  <c:v>40361</c:v>
                </c:pt>
                <c:pt idx="2637">
                  <c:v>40364</c:v>
                </c:pt>
                <c:pt idx="2638">
                  <c:v>40365</c:v>
                </c:pt>
                <c:pt idx="2639">
                  <c:v>40366</c:v>
                </c:pt>
                <c:pt idx="2640">
                  <c:v>40367</c:v>
                </c:pt>
                <c:pt idx="2641">
                  <c:v>40368</c:v>
                </c:pt>
                <c:pt idx="2642">
                  <c:v>40371</c:v>
                </c:pt>
                <c:pt idx="2643">
                  <c:v>40372</c:v>
                </c:pt>
                <c:pt idx="2644">
                  <c:v>40373</c:v>
                </c:pt>
                <c:pt idx="2645">
                  <c:v>40374</c:v>
                </c:pt>
                <c:pt idx="2646">
                  <c:v>40375</c:v>
                </c:pt>
                <c:pt idx="2647">
                  <c:v>40378</c:v>
                </c:pt>
                <c:pt idx="2648">
                  <c:v>40379</c:v>
                </c:pt>
                <c:pt idx="2649">
                  <c:v>40380</c:v>
                </c:pt>
                <c:pt idx="2650">
                  <c:v>40381</c:v>
                </c:pt>
                <c:pt idx="2651">
                  <c:v>40382</c:v>
                </c:pt>
                <c:pt idx="2652">
                  <c:v>40385</c:v>
                </c:pt>
                <c:pt idx="2653">
                  <c:v>40386</c:v>
                </c:pt>
                <c:pt idx="2654">
                  <c:v>40387</c:v>
                </c:pt>
                <c:pt idx="2655">
                  <c:v>40388</c:v>
                </c:pt>
                <c:pt idx="2656">
                  <c:v>40389</c:v>
                </c:pt>
                <c:pt idx="2657">
                  <c:v>40392</c:v>
                </c:pt>
                <c:pt idx="2658">
                  <c:v>40393</c:v>
                </c:pt>
                <c:pt idx="2659">
                  <c:v>40394</c:v>
                </c:pt>
                <c:pt idx="2660">
                  <c:v>40395</c:v>
                </c:pt>
                <c:pt idx="2661">
                  <c:v>40396</c:v>
                </c:pt>
                <c:pt idx="2662">
                  <c:v>40399</c:v>
                </c:pt>
                <c:pt idx="2663">
                  <c:v>40400</c:v>
                </c:pt>
                <c:pt idx="2664">
                  <c:v>40401</c:v>
                </c:pt>
                <c:pt idx="2665">
                  <c:v>40402</c:v>
                </c:pt>
                <c:pt idx="2666">
                  <c:v>40403</c:v>
                </c:pt>
                <c:pt idx="2667">
                  <c:v>40406</c:v>
                </c:pt>
                <c:pt idx="2668">
                  <c:v>40407</c:v>
                </c:pt>
                <c:pt idx="2669">
                  <c:v>40408</c:v>
                </c:pt>
                <c:pt idx="2670">
                  <c:v>40409</c:v>
                </c:pt>
                <c:pt idx="2671">
                  <c:v>40410</c:v>
                </c:pt>
                <c:pt idx="2672">
                  <c:v>40413</c:v>
                </c:pt>
                <c:pt idx="2673">
                  <c:v>40414</c:v>
                </c:pt>
                <c:pt idx="2674">
                  <c:v>40415</c:v>
                </c:pt>
                <c:pt idx="2675">
                  <c:v>40416</c:v>
                </c:pt>
                <c:pt idx="2676">
                  <c:v>40417</c:v>
                </c:pt>
                <c:pt idx="2677">
                  <c:v>40420</c:v>
                </c:pt>
                <c:pt idx="2678">
                  <c:v>40421</c:v>
                </c:pt>
                <c:pt idx="2679">
                  <c:v>40422</c:v>
                </c:pt>
                <c:pt idx="2680">
                  <c:v>40423</c:v>
                </c:pt>
                <c:pt idx="2681">
                  <c:v>40424</c:v>
                </c:pt>
                <c:pt idx="2682">
                  <c:v>40427</c:v>
                </c:pt>
                <c:pt idx="2683">
                  <c:v>40429</c:v>
                </c:pt>
                <c:pt idx="2684">
                  <c:v>40430</c:v>
                </c:pt>
                <c:pt idx="2685">
                  <c:v>40431</c:v>
                </c:pt>
                <c:pt idx="2686">
                  <c:v>40434</c:v>
                </c:pt>
                <c:pt idx="2687">
                  <c:v>40435</c:v>
                </c:pt>
                <c:pt idx="2688">
                  <c:v>40436</c:v>
                </c:pt>
                <c:pt idx="2689">
                  <c:v>40437</c:v>
                </c:pt>
                <c:pt idx="2690">
                  <c:v>40438</c:v>
                </c:pt>
                <c:pt idx="2691">
                  <c:v>40441</c:v>
                </c:pt>
                <c:pt idx="2692">
                  <c:v>40442</c:v>
                </c:pt>
                <c:pt idx="2693">
                  <c:v>40443</c:v>
                </c:pt>
                <c:pt idx="2694">
                  <c:v>40444</c:v>
                </c:pt>
                <c:pt idx="2695">
                  <c:v>40445</c:v>
                </c:pt>
                <c:pt idx="2696">
                  <c:v>40448</c:v>
                </c:pt>
                <c:pt idx="2697">
                  <c:v>40449</c:v>
                </c:pt>
                <c:pt idx="2698">
                  <c:v>40450</c:v>
                </c:pt>
                <c:pt idx="2699">
                  <c:v>40451</c:v>
                </c:pt>
                <c:pt idx="2700">
                  <c:v>40452</c:v>
                </c:pt>
                <c:pt idx="2701">
                  <c:v>40455</c:v>
                </c:pt>
                <c:pt idx="2702">
                  <c:v>40456</c:v>
                </c:pt>
                <c:pt idx="2703">
                  <c:v>40457</c:v>
                </c:pt>
                <c:pt idx="2704">
                  <c:v>40458</c:v>
                </c:pt>
                <c:pt idx="2705">
                  <c:v>40459</c:v>
                </c:pt>
                <c:pt idx="2706">
                  <c:v>40462</c:v>
                </c:pt>
                <c:pt idx="2707">
                  <c:v>40464</c:v>
                </c:pt>
                <c:pt idx="2708">
                  <c:v>40465</c:v>
                </c:pt>
                <c:pt idx="2709">
                  <c:v>40466</c:v>
                </c:pt>
                <c:pt idx="2710">
                  <c:v>40469</c:v>
                </c:pt>
                <c:pt idx="2711">
                  <c:v>40470</c:v>
                </c:pt>
                <c:pt idx="2712">
                  <c:v>40471</c:v>
                </c:pt>
                <c:pt idx="2713">
                  <c:v>40472</c:v>
                </c:pt>
                <c:pt idx="2714">
                  <c:v>40473</c:v>
                </c:pt>
                <c:pt idx="2715">
                  <c:v>40476</c:v>
                </c:pt>
                <c:pt idx="2716">
                  <c:v>40477</c:v>
                </c:pt>
                <c:pt idx="2717">
                  <c:v>40478</c:v>
                </c:pt>
                <c:pt idx="2718">
                  <c:v>40479</c:v>
                </c:pt>
                <c:pt idx="2719">
                  <c:v>40480</c:v>
                </c:pt>
                <c:pt idx="2720">
                  <c:v>40483</c:v>
                </c:pt>
                <c:pt idx="2721">
                  <c:v>40485</c:v>
                </c:pt>
                <c:pt idx="2722">
                  <c:v>40486</c:v>
                </c:pt>
                <c:pt idx="2723">
                  <c:v>40487</c:v>
                </c:pt>
                <c:pt idx="2724">
                  <c:v>40490</c:v>
                </c:pt>
                <c:pt idx="2725">
                  <c:v>40491</c:v>
                </c:pt>
                <c:pt idx="2726">
                  <c:v>40492</c:v>
                </c:pt>
                <c:pt idx="2727">
                  <c:v>40493</c:v>
                </c:pt>
                <c:pt idx="2728">
                  <c:v>40494</c:v>
                </c:pt>
                <c:pt idx="2729">
                  <c:v>40498</c:v>
                </c:pt>
                <c:pt idx="2730">
                  <c:v>40499</c:v>
                </c:pt>
                <c:pt idx="2731">
                  <c:v>40500</c:v>
                </c:pt>
                <c:pt idx="2732">
                  <c:v>40501</c:v>
                </c:pt>
                <c:pt idx="2733">
                  <c:v>40504</c:v>
                </c:pt>
                <c:pt idx="2734">
                  <c:v>40505</c:v>
                </c:pt>
                <c:pt idx="2735">
                  <c:v>40506</c:v>
                </c:pt>
                <c:pt idx="2736">
                  <c:v>40507</c:v>
                </c:pt>
                <c:pt idx="2737">
                  <c:v>40508</c:v>
                </c:pt>
                <c:pt idx="2738">
                  <c:v>40511</c:v>
                </c:pt>
                <c:pt idx="2739">
                  <c:v>40512</c:v>
                </c:pt>
                <c:pt idx="2740">
                  <c:v>40513</c:v>
                </c:pt>
                <c:pt idx="2741">
                  <c:v>40514</c:v>
                </c:pt>
                <c:pt idx="2742">
                  <c:v>40515</c:v>
                </c:pt>
                <c:pt idx="2743">
                  <c:v>40518</c:v>
                </c:pt>
                <c:pt idx="2744">
                  <c:v>40519</c:v>
                </c:pt>
                <c:pt idx="2745">
                  <c:v>40520</c:v>
                </c:pt>
                <c:pt idx="2746">
                  <c:v>40521</c:v>
                </c:pt>
                <c:pt idx="2747">
                  <c:v>40522</c:v>
                </c:pt>
                <c:pt idx="2748">
                  <c:v>40525</c:v>
                </c:pt>
                <c:pt idx="2749">
                  <c:v>40526</c:v>
                </c:pt>
                <c:pt idx="2750">
                  <c:v>40527</c:v>
                </c:pt>
                <c:pt idx="2751">
                  <c:v>40528</c:v>
                </c:pt>
                <c:pt idx="2752">
                  <c:v>40529</c:v>
                </c:pt>
                <c:pt idx="2753">
                  <c:v>40532</c:v>
                </c:pt>
                <c:pt idx="2754">
                  <c:v>40533</c:v>
                </c:pt>
                <c:pt idx="2755">
                  <c:v>40534</c:v>
                </c:pt>
                <c:pt idx="2756">
                  <c:v>40535</c:v>
                </c:pt>
                <c:pt idx="2757">
                  <c:v>40536</c:v>
                </c:pt>
                <c:pt idx="2758">
                  <c:v>40539</c:v>
                </c:pt>
                <c:pt idx="2759">
                  <c:v>40540</c:v>
                </c:pt>
                <c:pt idx="2760">
                  <c:v>40541</c:v>
                </c:pt>
                <c:pt idx="2761">
                  <c:v>40542</c:v>
                </c:pt>
                <c:pt idx="2762">
                  <c:v>40543</c:v>
                </c:pt>
                <c:pt idx="2763">
                  <c:v>40546</c:v>
                </c:pt>
                <c:pt idx="2764">
                  <c:v>40547</c:v>
                </c:pt>
                <c:pt idx="2765">
                  <c:v>40548</c:v>
                </c:pt>
                <c:pt idx="2766">
                  <c:v>40549</c:v>
                </c:pt>
                <c:pt idx="2767">
                  <c:v>40550</c:v>
                </c:pt>
                <c:pt idx="2768">
                  <c:v>40553</c:v>
                </c:pt>
                <c:pt idx="2769">
                  <c:v>40554</c:v>
                </c:pt>
                <c:pt idx="2770">
                  <c:v>40555</c:v>
                </c:pt>
                <c:pt idx="2771">
                  <c:v>40556</c:v>
                </c:pt>
                <c:pt idx="2772">
                  <c:v>40557</c:v>
                </c:pt>
                <c:pt idx="2773">
                  <c:v>40560</c:v>
                </c:pt>
                <c:pt idx="2774">
                  <c:v>40561</c:v>
                </c:pt>
                <c:pt idx="2775">
                  <c:v>40562</c:v>
                </c:pt>
                <c:pt idx="2776">
                  <c:v>40563</c:v>
                </c:pt>
                <c:pt idx="2777">
                  <c:v>40564</c:v>
                </c:pt>
                <c:pt idx="2778">
                  <c:v>40567</c:v>
                </c:pt>
                <c:pt idx="2779">
                  <c:v>40568</c:v>
                </c:pt>
                <c:pt idx="2780">
                  <c:v>40569</c:v>
                </c:pt>
                <c:pt idx="2781">
                  <c:v>40570</c:v>
                </c:pt>
                <c:pt idx="2782">
                  <c:v>40571</c:v>
                </c:pt>
                <c:pt idx="2783">
                  <c:v>40574</c:v>
                </c:pt>
                <c:pt idx="2784">
                  <c:v>40575</c:v>
                </c:pt>
                <c:pt idx="2785">
                  <c:v>40576</c:v>
                </c:pt>
                <c:pt idx="2786">
                  <c:v>40577</c:v>
                </c:pt>
                <c:pt idx="2787">
                  <c:v>40578</c:v>
                </c:pt>
                <c:pt idx="2788">
                  <c:v>40581</c:v>
                </c:pt>
                <c:pt idx="2789">
                  <c:v>40582</c:v>
                </c:pt>
                <c:pt idx="2790">
                  <c:v>40583</c:v>
                </c:pt>
                <c:pt idx="2791">
                  <c:v>40584</c:v>
                </c:pt>
                <c:pt idx="2792">
                  <c:v>40585</c:v>
                </c:pt>
                <c:pt idx="2793">
                  <c:v>40588</c:v>
                </c:pt>
                <c:pt idx="2794">
                  <c:v>40589</c:v>
                </c:pt>
                <c:pt idx="2795">
                  <c:v>40590</c:v>
                </c:pt>
                <c:pt idx="2796">
                  <c:v>40591</c:v>
                </c:pt>
                <c:pt idx="2797">
                  <c:v>40592</c:v>
                </c:pt>
                <c:pt idx="2798">
                  <c:v>40595</c:v>
                </c:pt>
                <c:pt idx="2799">
                  <c:v>40596</c:v>
                </c:pt>
                <c:pt idx="2800">
                  <c:v>40597</c:v>
                </c:pt>
                <c:pt idx="2801">
                  <c:v>40598</c:v>
                </c:pt>
                <c:pt idx="2802">
                  <c:v>40599</c:v>
                </c:pt>
                <c:pt idx="2803">
                  <c:v>40602</c:v>
                </c:pt>
                <c:pt idx="2804">
                  <c:v>40603</c:v>
                </c:pt>
                <c:pt idx="2805">
                  <c:v>40604</c:v>
                </c:pt>
                <c:pt idx="2806">
                  <c:v>40605</c:v>
                </c:pt>
                <c:pt idx="2807">
                  <c:v>40606</c:v>
                </c:pt>
                <c:pt idx="2808">
                  <c:v>40611</c:v>
                </c:pt>
                <c:pt idx="2809">
                  <c:v>40612</c:v>
                </c:pt>
                <c:pt idx="2810">
                  <c:v>40613</c:v>
                </c:pt>
                <c:pt idx="2811">
                  <c:v>40616</c:v>
                </c:pt>
                <c:pt idx="2812">
                  <c:v>40617</c:v>
                </c:pt>
                <c:pt idx="2813">
                  <c:v>40618</c:v>
                </c:pt>
                <c:pt idx="2814">
                  <c:v>40619</c:v>
                </c:pt>
                <c:pt idx="2815">
                  <c:v>40620</c:v>
                </c:pt>
                <c:pt idx="2816">
                  <c:v>40623</c:v>
                </c:pt>
                <c:pt idx="2817">
                  <c:v>40624</c:v>
                </c:pt>
                <c:pt idx="2818">
                  <c:v>40625</c:v>
                </c:pt>
                <c:pt idx="2819">
                  <c:v>40626</c:v>
                </c:pt>
                <c:pt idx="2820">
                  <c:v>40627</c:v>
                </c:pt>
                <c:pt idx="2821">
                  <c:v>40630</c:v>
                </c:pt>
                <c:pt idx="2822">
                  <c:v>40631</c:v>
                </c:pt>
                <c:pt idx="2823">
                  <c:v>40632</c:v>
                </c:pt>
                <c:pt idx="2824">
                  <c:v>40633</c:v>
                </c:pt>
                <c:pt idx="2825">
                  <c:v>40634</c:v>
                </c:pt>
                <c:pt idx="2826">
                  <c:v>40637</c:v>
                </c:pt>
                <c:pt idx="2827">
                  <c:v>40638</c:v>
                </c:pt>
                <c:pt idx="2828">
                  <c:v>40639</c:v>
                </c:pt>
                <c:pt idx="2829">
                  <c:v>40640</c:v>
                </c:pt>
                <c:pt idx="2830">
                  <c:v>40641</c:v>
                </c:pt>
                <c:pt idx="2831">
                  <c:v>40644</c:v>
                </c:pt>
                <c:pt idx="2832">
                  <c:v>40645</c:v>
                </c:pt>
                <c:pt idx="2833">
                  <c:v>40646</c:v>
                </c:pt>
                <c:pt idx="2834">
                  <c:v>40647</c:v>
                </c:pt>
                <c:pt idx="2835">
                  <c:v>40648</c:v>
                </c:pt>
                <c:pt idx="2836">
                  <c:v>40651</c:v>
                </c:pt>
                <c:pt idx="2837">
                  <c:v>40652</c:v>
                </c:pt>
                <c:pt idx="2838">
                  <c:v>40653</c:v>
                </c:pt>
                <c:pt idx="2839">
                  <c:v>40658</c:v>
                </c:pt>
                <c:pt idx="2840">
                  <c:v>40659</c:v>
                </c:pt>
                <c:pt idx="2841">
                  <c:v>40660</c:v>
                </c:pt>
                <c:pt idx="2842">
                  <c:v>40661</c:v>
                </c:pt>
                <c:pt idx="2843">
                  <c:v>40662</c:v>
                </c:pt>
                <c:pt idx="2844">
                  <c:v>40665</c:v>
                </c:pt>
                <c:pt idx="2845">
                  <c:v>40666</c:v>
                </c:pt>
                <c:pt idx="2846">
                  <c:v>40667</c:v>
                </c:pt>
                <c:pt idx="2847">
                  <c:v>40668</c:v>
                </c:pt>
                <c:pt idx="2848">
                  <c:v>40669</c:v>
                </c:pt>
                <c:pt idx="2849">
                  <c:v>40672</c:v>
                </c:pt>
                <c:pt idx="2850">
                  <c:v>40673</c:v>
                </c:pt>
                <c:pt idx="2851">
                  <c:v>40674</c:v>
                </c:pt>
                <c:pt idx="2852">
                  <c:v>40675</c:v>
                </c:pt>
                <c:pt idx="2853">
                  <c:v>40676</c:v>
                </c:pt>
                <c:pt idx="2854">
                  <c:v>40679</c:v>
                </c:pt>
                <c:pt idx="2855">
                  <c:v>40680</c:v>
                </c:pt>
                <c:pt idx="2856">
                  <c:v>40681</c:v>
                </c:pt>
                <c:pt idx="2857">
                  <c:v>40682</c:v>
                </c:pt>
                <c:pt idx="2858">
                  <c:v>40683</c:v>
                </c:pt>
                <c:pt idx="2859">
                  <c:v>40686</c:v>
                </c:pt>
                <c:pt idx="2860">
                  <c:v>40687</c:v>
                </c:pt>
                <c:pt idx="2861">
                  <c:v>40688</c:v>
                </c:pt>
                <c:pt idx="2862">
                  <c:v>40689</c:v>
                </c:pt>
                <c:pt idx="2863">
                  <c:v>40690</c:v>
                </c:pt>
                <c:pt idx="2864">
                  <c:v>40693</c:v>
                </c:pt>
                <c:pt idx="2865">
                  <c:v>40694</c:v>
                </c:pt>
                <c:pt idx="2866">
                  <c:v>40695</c:v>
                </c:pt>
                <c:pt idx="2867">
                  <c:v>40696</c:v>
                </c:pt>
                <c:pt idx="2868">
                  <c:v>40697</c:v>
                </c:pt>
                <c:pt idx="2869">
                  <c:v>40700</c:v>
                </c:pt>
                <c:pt idx="2870">
                  <c:v>40701</c:v>
                </c:pt>
                <c:pt idx="2871">
                  <c:v>40702</c:v>
                </c:pt>
                <c:pt idx="2872">
                  <c:v>40703</c:v>
                </c:pt>
                <c:pt idx="2873">
                  <c:v>40704</c:v>
                </c:pt>
                <c:pt idx="2874">
                  <c:v>40707</c:v>
                </c:pt>
                <c:pt idx="2875">
                  <c:v>40708</c:v>
                </c:pt>
                <c:pt idx="2876">
                  <c:v>40709</c:v>
                </c:pt>
                <c:pt idx="2877">
                  <c:v>40710</c:v>
                </c:pt>
                <c:pt idx="2878">
                  <c:v>40711</c:v>
                </c:pt>
                <c:pt idx="2879">
                  <c:v>40714</c:v>
                </c:pt>
                <c:pt idx="2880">
                  <c:v>40715</c:v>
                </c:pt>
                <c:pt idx="2881">
                  <c:v>40716</c:v>
                </c:pt>
                <c:pt idx="2882">
                  <c:v>40718</c:v>
                </c:pt>
                <c:pt idx="2883">
                  <c:v>40721</c:v>
                </c:pt>
                <c:pt idx="2884">
                  <c:v>40722</c:v>
                </c:pt>
                <c:pt idx="2885">
                  <c:v>40723</c:v>
                </c:pt>
                <c:pt idx="2886">
                  <c:v>40724</c:v>
                </c:pt>
                <c:pt idx="2887">
                  <c:v>40725</c:v>
                </c:pt>
                <c:pt idx="2888">
                  <c:v>40728</c:v>
                </c:pt>
                <c:pt idx="2889">
                  <c:v>40729</c:v>
                </c:pt>
                <c:pt idx="2890">
                  <c:v>40730</c:v>
                </c:pt>
                <c:pt idx="2891">
                  <c:v>40731</c:v>
                </c:pt>
                <c:pt idx="2892">
                  <c:v>40732</c:v>
                </c:pt>
                <c:pt idx="2893">
                  <c:v>40735</c:v>
                </c:pt>
                <c:pt idx="2894">
                  <c:v>40736</c:v>
                </c:pt>
                <c:pt idx="2895">
                  <c:v>40737</c:v>
                </c:pt>
                <c:pt idx="2896">
                  <c:v>40738</c:v>
                </c:pt>
                <c:pt idx="2897">
                  <c:v>40739</c:v>
                </c:pt>
                <c:pt idx="2898">
                  <c:v>40742</c:v>
                </c:pt>
                <c:pt idx="2899">
                  <c:v>40743</c:v>
                </c:pt>
                <c:pt idx="2900">
                  <c:v>40744</c:v>
                </c:pt>
                <c:pt idx="2901">
                  <c:v>40745</c:v>
                </c:pt>
                <c:pt idx="2902">
                  <c:v>40746</c:v>
                </c:pt>
                <c:pt idx="2903">
                  <c:v>40749</c:v>
                </c:pt>
                <c:pt idx="2904">
                  <c:v>40750</c:v>
                </c:pt>
                <c:pt idx="2905">
                  <c:v>40751</c:v>
                </c:pt>
                <c:pt idx="2906">
                  <c:v>40752</c:v>
                </c:pt>
                <c:pt idx="2907">
                  <c:v>40753</c:v>
                </c:pt>
                <c:pt idx="2908">
                  <c:v>40756</c:v>
                </c:pt>
                <c:pt idx="2909">
                  <c:v>40757</c:v>
                </c:pt>
                <c:pt idx="2910">
                  <c:v>40758</c:v>
                </c:pt>
                <c:pt idx="2911">
                  <c:v>40759</c:v>
                </c:pt>
                <c:pt idx="2912">
                  <c:v>40760</c:v>
                </c:pt>
                <c:pt idx="2913">
                  <c:v>40763</c:v>
                </c:pt>
                <c:pt idx="2914">
                  <c:v>40764</c:v>
                </c:pt>
                <c:pt idx="2915">
                  <c:v>40765</c:v>
                </c:pt>
                <c:pt idx="2916">
                  <c:v>40766</c:v>
                </c:pt>
                <c:pt idx="2917">
                  <c:v>40767</c:v>
                </c:pt>
                <c:pt idx="2918">
                  <c:v>40770</c:v>
                </c:pt>
                <c:pt idx="2919">
                  <c:v>40771</c:v>
                </c:pt>
                <c:pt idx="2920">
                  <c:v>40772</c:v>
                </c:pt>
                <c:pt idx="2921">
                  <c:v>40773</c:v>
                </c:pt>
                <c:pt idx="2922">
                  <c:v>40774</c:v>
                </c:pt>
                <c:pt idx="2923">
                  <c:v>40777</c:v>
                </c:pt>
                <c:pt idx="2924">
                  <c:v>40778</c:v>
                </c:pt>
                <c:pt idx="2925">
                  <c:v>40779</c:v>
                </c:pt>
                <c:pt idx="2926">
                  <c:v>40780</c:v>
                </c:pt>
                <c:pt idx="2927">
                  <c:v>40781</c:v>
                </c:pt>
                <c:pt idx="2928">
                  <c:v>40784</c:v>
                </c:pt>
                <c:pt idx="2929">
                  <c:v>40785</c:v>
                </c:pt>
                <c:pt idx="2930">
                  <c:v>40786</c:v>
                </c:pt>
                <c:pt idx="2931">
                  <c:v>40787</c:v>
                </c:pt>
                <c:pt idx="2932">
                  <c:v>40788</c:v>
                </c:pt>
                <c:pt idx="2933">
                  <c:v>40791</c:v>
                </c:pt>
                <c:pt idx="2934">
                  <c:v>40792</c:v>
                </c:pt>
                <c:pt idx="2935">
                  <c:v>40794</c:v>
                </c:pt>
                <c:pt idx="2936">
                  <c:v>40795</c:v>
                </c:pt>
                <c:pt idx="2937">
                  <c:v>40798</c:v>
                </c:pt>
                <c:pt idx="2938">
                  <c:v>40799</c:v>
                </c:pt>
                <c:pt idx="2939">
                  <c:v>40800</c:v>
                </c:pt>
                <c:pt idx="2940">
                  <c:v>40801</c:v>
                </c:pt>
                <c:pt idx="2941">
                  <c:v>40802</c:v>
                </c:pt>
                <c:pt idx="2942">
                  <c:v>40805</c:v>
                </c:pt>
                <c:pt idx="2943">
                  <c:v>40806</c:v>
                </c:pt>
                <c:pt idx="2944">
                  <c:v>40807</c:v>
                </c:pt>
                <c:pt idx="2945">
                  <c:v>40808</c:v>
                </c:pt>
                <c:pt idx="2946">
                  <c:v>40809</c:v>
                </c:pt>
                <c:pt idx="2947">
                  <c:v>40812</c:v>
                </c:pt>
                <c:pt idx="2948">
                  <c:v>40813</c:v>
                </c:pt>
                <c:pt idx="2949">
                  <c:v>40814</c:v>
                </c:pt>
                <c:pt idx="2950">
                  <c:v>40815</c:v>
                </c:pt>
                <c:pt idx="2951">
                  <c:v>40816</c:v>
                </c:pt>
                <c:pt idx="2952">
                  <c:v>40819</c:v>
                </c:pt>
                <c:pt idx="2953">
                  <c:v>40820</c:v>
                </c:pt>
                <c:pt idx="2954">
                  <c:v>40821</c:v>
                </c:pt>
                <c:pt idx="2955">
                  <c:v>40822</c:v>
                </c:pt>
                <c:pt idx="2956">
                  <c:v>40823</c:v>
                </c:pt>
                <c:pt idx="2957">
                  <c:v>40826</c:v>
                </c:pt>
                <c:pt idx="2958">
                  <c:v>40827</c:v>
                </c:pt>
                <c:pt idx="2959">
                  <c:v>40829</c:v>
                </c:pt>
                <c:pt idx="2960">
                  <c:v>40830</c:v>
                </c:pt>
                <c:pt idx="2961">
                  <c:v>40833</c:v>
                </c:pt>
                <c:pt idx="2962">
                  <c:v>40834</c:v>
                </c:pt>
                <c:pt idx="2963">
                  <c:v>40835</c:v>
                </c:pt>
                <c:pt idx="2964">
                  <c:v>40836</c:v>
                </c:pt>
                <c:pt idx="2965">
                  <c:v>40837</c:v>
                </c:pt>
                <c:pt idx="2966">
                  <c:v>40840</c:v>
                </c:pt>
                <c:pt idx="2967">
                  <c:v>40841</c:v>
                </c:pt>
                <c:pt idx="2968">
                  <c:v>40842</c:v>
                </c:pt>
                <c:pt idx="2969">
                  <c:v>40843</c:v>
                </c:pt>
                <c:pt idx="2970">
                  <c:v>40844</c:v>
                </c:pt>
                <c:pt idx="2971">
                  <c:v>40847</c:v>
                </c:pt>
                <c:pt idx="2972">
                  <c:v>40848</c:v>
                </c:pt>
                <c:pt idx="2973">
                  <c:v>40850</c:v>
                </c:pt>
                <c:pt idx="2974">
                  <c:v>40851</c:v>
                </c:pt>
                <c:pt idx="2975">
                  <c:v>40854</c:v>
                </c:pt>
                <c:pt idx="2976">
                  <c:v>40855</c:v>
                </c:pt>
                <c:pt idx="2977">
                  <c:v>40856</c:v>
                </c:pt>
                <c:pt idx="2978">
                  <c:v>40857</c:v>
                </c:pt>
                <c:pt idx="2979">
                  <c:v>40858</c:v>
                </c:pt>
                <c:pt idx="2980">
                  <c:v>40861</c:v>
                </c:pt>
                <c:pt idx="2981">
                  <c:v>40863</c:v>
                </c:pt>
                <c:pt idx="2982">
                  <c:v>40864</c:v>
                </c:pt>
                <c:pt idx="2983">
                  <c:v>40865</c:v>
                </c:pt>
                <c:pt idx="2984">
                  <c:v>40868</c:v>
                </c:pt>
                <c:pt idx="2985">
                  <c:v>40869</c:v>
                </c:pt>
                <c:pt idx="2986">
                  <c:v>40870</c:v>
                </c:pt>
                <c:pt idx="2987">
                  <c:v>40871</c:v>
                </c:pt>
                <c:pt idx="2988">
                  <c:v>40872</c:v>
                </c:pt>
                <c:pt idx="2989">
                  <c:v>40875</c:v>
                </c:pt>
                <c:pt idx="2990">
                  <c:v>40876</c:v>
                </c:pt>
                <c:pt idx="2991">
                  <c:v>40877</c:v>
                </c:pt>
                <c:pt idx="2992">
                  <c:v>40878</c:v>
                </c:pt>
                <c:pt idx="2993">
                  <c:v>40879</c:v>
                </c:pt>
                <c:pt idx="2994">
                  <c:v>40882</c:v>
                </c:pt>
                <c:pt idx="2995">
                  <c:v>40883</c:v>
                </c:pt>
                <c:pt idx="2996">
                  <c:v>40884</c:v>
                </c:pt>
                <c:pt idx="2997">
                  <c:v>40885</c:v>
                </c:pt>
                <c:pt idx="2998">
                  <c:v>40886</c:v>
                </c:pt>
                <c:pt idx="2999">
                  <c:v>40889</c:v>
                </c:pt>
                <c:pt idx="3000">
                  <c:v>40890</c:v>
                </c:pt>
                <c:pt idx="3001">
                  <c:v>40891</c:v>
                </c:pt>
                <c:pt idx="3002">
                  <c:v>40892</c:v>
                </c:pt>
                <c:pt idx="3003">
                  <c:v>40893</c:v>
                </c:pt>
                <c:pt idx="3004">
                  <c:v>40896</c:v>
                </c:pt>
                <c:pt idx="3005">
                  <c:v>40897</c:v>
                </c:pt>
                <c:pt idx="3006">
                  <c:v>40898</c:v>
                </c:pt>
                <c:pt idx="3007">
                  <c:v>40899</c:v>
                </c:pt>
                <c:pt idx="3008">
                  <c:v>40900</c:v>
                </c:pt>
                <c:pt idx="3009">
                  <c:v>40903</c:v>
                </c:pt>
                <c:pt idx="3010">
                  <c:v>40904</c:v>
                </c:pt>
                <c:pt idx="3011">
                  <c:v>40905</c:v>
                </c:pt>
                <c:pt idx="3012">
                  <c:v>40906</c:v>
                </c:pt>
                <c:pt idx="3013">
                  <c:v>40907</c:v>
                </c:pt>
                <c:pt idx="3014">
                  <c:v>40910</c:v>
                </c:pt>
                <c:pt idx="3015">
                  <c:v>40911</c:v>
                </c:pt>
                <c:pt idx="3016">
                  <c:v>40912</c:v>
                </c:pt>
                <c:pt idx="3017">
                  <c:v>40913</c:v>
                </c:pt>
                <c:pt idx="3018">
                  <c:v>40914</c:v>
                </c:pt>
                <c:pt idx="3019">
                  <c:v>40917</c:v>
                </c:pt>
                <c:pt idx="3020">
                  <c:v>40918</c:v>
                </c:pt>
                <c:pt idx="3021">
                  <c:v>40919</c:v>
                </c:pt>
                <c:pt idx="3022">
                  <c:v>40920</c:v>
                </c:pt>
                <c:pt idx="3023">
                  <c:v>40921</c:v>
                </c:pt>
                <c:pt idx="3024">
                  <c:v>40924</c:v>
                </c:pt>
                <c:pt idx="3025">
                  <c:v>40925</c:v>
                </c:pt>
                <c:pt idx="3026">
                  <c:v>40926</c:v>
                </c:pt>
                <c:pt idx="3027">
                  <c:v>40927</c:v>
                </c:pt>
                <c:pt idx="3028">
                  <c:v>40928</c:v>
                </c:pt>
                <c:pt idx="3029">
                  <c:v>40931</c:v>
                </c:pt>
                <c:pt idx="3030">
                  <c:v>40932</c:v>
                </c:pt>
                <c:pt idx="3031">
                  <c:v>40933</c:v>
                </c:pt>
                <c:pt idx="3032">
                  <c:v>40934</c:v>
                </c:pt>
                <c:pt idx="3033">
                  <c:v>40935</c:v>
                </c:pt>
                <c:pt idx="3034">
                  <c:v>40938</c:v>
                </c:pt>
                <c:pt idx="3035">
                  <c:v>40939</c:v>
                </c:pt>
                <c:pt idx="3036">
                  <c:v>40940</c:v>
                </c:pt>
                <c:pt idx="3037">
                  <c:v>40941</c:v>
                </c:pt>
                <c:pt idx="3038">
                  <c:v>40942</c:v>
                </c:pt>
                <c:pt idx="3039">
                  <c:v>40945</c:v>
                </c:pt>
                <c:pt idx="3040">
                  <c:v>40946</c:v>
                </c:pt>
                <c:pt idx="3041">
                  <c:v>40947</c:v>
                </c:pt>
                <c:pt idx="3042">
                  <c:v>40948</c:v>
                </c:pt>
                <c:pt idx="3043">
                  <c:v>40949</c:v>
                </c:pt>
                <c:pt idx="3044">
                  <c:v>40952</c:v>
                </c:pt>
                <c:pt idx="3045">
                  <c:v>40953</c:v>
                </c:pt>
                <c:pt idx="3046">
                  <c:v>40954</c:v>
                </c:pt>
                <c:pt idx="3047">
                  <c:v>40955</c:v>
                </c:pt>
                <c:pt idx="3048">
                  <c:v>40956</c:v>
                </c:pt>
                <c:pt idx="3049">
                  <c:v>40961</c:v>
                </c:pt>
                <c:pt idx="3050">
                  <c:v>40962</c:v>
                </c:pt>
                <c:pt idx="3051">
                  <c:v>40963</c:v>
                </c:pt>
                <c:pt idx="3052">
                  <c:v>40966</c:v>
                </c:pt>
                <c:pt idx="3053">
                  <c:v>40967</c:v>
                </c:pt>
                <c:pt idx="3054">
                  <c:v>40968</c:v>
                </c:pt>
                <c:pt idx="3055">
                  <c:v>40969</c:v>
                </c:pt>
                <c:pt idx="3056">
                  <c:v>40970</c:v>
                </c:pt>
                <c:pt idx="3057">
                  <c:v>40973</c:v>
                </c:pt>
                <c:pt idx="3058">
                  <c:v>40974</c:v>
                </c:pt>
                <c:pt idx="3059">
                  <c:v>40975</c:v>
                </c:pt>
                <c:pt idx="3060">
                  <c:v>40976</c:v>
                </c:pt>
                <c:pt idx="3061">
                  <c:v>40977</c:v>
                </c:pt>
                <c:pt idx="3062">
                  <c:v>40980</c:v>
                </c:pt>
                <c:pt idx="3063">
                  <c:v>40981</c:v>
                </c:pt>
                <c:pt idx="3064">
                  <c:v>40982</c:v>
                </c:pt>
                <c:pt idx="3065">
                  <c:v>40983</c:v>
                </c:pt>
                <c:pt idx="3066">
                  <c:v>40984</c:v>
                </c:pt>
                <c:pt idx="3067">
                  <c:v>40987</c:v>
                </c:pt>
                <c:pt idx="3068">
                  <c:v>40988</c:v>
                </c:pt>
                <c:pt idx="3069">
                  <c:v>40989</c:v>
                </c:pt>
                <c:pt idx="3070">
                  <c:v>40990</c:v>
                </c:pt>
                <c:pt idx="3071">
                  <c:v>40991</c:v>
                </c:pt>
                <c:pt idx="3072">
                  <c:v>40994</c:v>
                </c:pt>
                <c:pt idx="3073">
                  <c:v>40995</c:v>
                </c:pt>
                <c:pt idx="3074">
                  <c:v>40996</c:v>
                </c:pt>
                <c:pt idx="3075">
                  <c:v>40997</c:v>
                </c:pt>
                <c:pt idx="3076">
                  <c:v>40998</c:v>
                </c:pt>
                <c:pt idx="3077">
                  <c:v>41001</c:v>
                </c:pt>
                <c:pt idx="3078">
                  <c:v>41002</c:v>
                </c:pt>
                <c:pt idx="3079">
                  <c:v>41003</c:v>
                </c:pt>
                <c:pt idx="3080">
                  <c:v>41004</c:v>
                </c:pt>
                <c:pt idx="3081">
                  <c:v>41008</c:v>
                </c:pt>
                <c:pt idx="3082">
                  <c:v>41009</c:v>
                </c:pt>
                <c:pt idx="3083">
                  <c:v>41010</c:v>
                </c:pt>
                <c:pt idx="3084">
                  <c:v>41011</c:v>
                </c:pt>
                <c:pt idx="3085">
                  <c:v>41012</c:v>
                </c:pt>
                <c:pt idx="3086">
                  <c:v>41015</c:v>
                </c:pt>
                <c:pt idx="3087">
                  <c:v>41016</c:v>
                </c:pt>
                <c:pt idx="3088">
                  <c:v>41017</c:v>
                </c:pt>
                <c:pt idx="3089">
                  <c:v>41018</c:v>
                </c:pt>
                <c:pt idx="3090">
                  <c:v>41019</c:v>
                </c:pt>
                <c:pt idx="3091">
                  <c:v>41022</c:v>
                </c:pt>
                <c:pt idx="3092">
                  <c:v>41023</c:v>
                </c:pt>
                <c:pt idx="3093">
                  <c:v>41024</c:v>
                </c:pt>
                <c:pt idx="3094">
                  <c:v>41025</c:v>
                </c:pt>
                <c:pt idx="3095">
                  <c:v>41026</c:v>
                </c:pt>
                <c:pt idx="3096">
                  <c:v>41029</c:v>
                </c:pt>
                <c:pt idx="3097">
                  <c:v>41031</c:v>
                </c:pt>
                <c:pt idx="3098">
                  <c:v>41032</c:v>
                </c:pt>
                <c:pt idx="3099">
                  <c:v>41033</c:v>
                </c:pt>
                <c:pt idx="3100">
                  <c:v>41036</c:v>
                </c:pt>
                <c:pt idx="3101">
                  <c:v>41037</c:v>
                </c:pt>
                <c:pt idx="3102">
                  <c:v>41038</c:v>
                </c:pt>
                <c:pt idx="3103">
                  <c:v>41039</c:v>
                </c:pt>
                <c:pt idx="3104">
                  <c:v>41040</c:v>
                </c:pt>
                <c:pt idx="3105">
                  <c:v>41043</c:v>
                </c:pt>
                <c:pt idx="3106">
                  <c:v>41044</c:v>
                </c:pt>
                <c:pt idx="3107">
                  <c:v>41045</c:v>
                </c:pt>
                <c:pt idx="3108">
                  <c:v>41046</c:v>
                </c:pt>
                <c:pt idx="3109">
                  <c:v>41047</c:v>
                </c:pt>
                <c:pt idx="3110">
                  <c:v>41050</c:v>
                </c:pt>
                <c:pt idx="3111">
                  <c:v>41051</c:v>
                </c:pt>
                <c:pt idx="3112">
                  <c:v>41052</c:v>
                </c:pt>
                <c:pt idx="3113">
                  <c:v>41053</c:v>
                </c:pt>
                <c:pt idx="3114">
                  <c:v>41054</c:v>
                </c:pt>
                <c:pt idx="3115">
                  <c:v>41057</c:v>
                </c:pt>
                <c:pt idx="3116">
                  <c:v>41058</c:v>
                </c:pt>
                <c:pt idx="3117">
                  <c:v>41059</c:v>
                </c:pt>
                <c:pt idx="3118">
                  <c:v>41060</c:v>
                </c:pt>
                <c:pt idx="3119">
                  <c:v>41061</c:v>
                </c:pt>
                <c:pt idx="3120">
                  <c:v>41064</c:v>
                </c:pt>
                <c:pt idx="3121">
                  <c:v>41065</c:v>
                </c:pt>
                <c:pt idx="3122">
                  <c:v>41066</c:v>
                </c:pt>
                <c:pt idx="3123">
                  <c:v>41068</c:v>
                </c:pt>
                <c:pt idx="3124">
                  <c:v>41071</c:v>
                </c:pt>
                <c:pt idx="3125">
                  <c:v>41072</c:v>
                </c:pt>
                <c:pt idx="3126">
                  <c:v>41073</c:v>
                </c:pt>
                <c:pt idx="3127">
                  <c:v>41074</c:v>
                </c:pt>
                <c:pt idx="3128">
                  <c:v>41075</c:v>
                </c:pt>
                <c:pt idx="3129">
                  <c:v>41078</c:v>
                </c:pt>
                <c:pt idx="3130">
                  <c:v>41079</c:v>
                </c:pt>
                <c:pt idx="3131">
                  <c:v>41080</c:v>
                </c:pt>
                <c:pt idx="3132">
                  <c:v>41081</c:v>
                </c:pt>
                <c:pt idx="3133">
                  <c:v>41082</c:v>
                </c:pt>
                <c:pt idx="3134">
                  <c:v>41085</c:v>
                </c:pt>
                <c:pt idx="3135">
                  <c:v>41086</c:v>
                </c:pt>
                <c:pt idx="3136">
                  <c:v>41087</c:v>
                </c:pt>
                <c:pt idx="3137">
                  <c:v>41088</c:v>
                </c:pt>
                <c:pt idx="3138">
                  <c:v>41089</c:v>
                </c:pt>
                <c:pt idx="3139">
                  <c:v>41092</c:v>
                </c:pt>
                <c:pt idx="3140">
                  <c:v>41093</c:v>
                </c:pt>
                <c:pt idx="3141">
                  <c:v>41094</c:v>
                </c:pt>
                <c:pt idx="3142">
                  <c:v>41095</c:v>
                </c:pt>
                <c:pt idx="3143">
                  <c:v>41096</c:v>
                </c:pt>
                <c:pt idx="3144">
                  <c:v>41099</c:v>
                </c:pt>
                <c:pt idx="3145">
                  <c:v>41100</c:v>
                </c:pt>
                <c:pt idx="3146">
                  <c:v>41101</c:v>
                </c:pt>
                <c:pt idx="3147">
                  <c:v>41102</c:v>
                </c:pt>
                <c:pt idx="3148">
                  <c:v>41103</c:v>
                </c:pt>
                <c:pt idx="3149">
                  <c:v>41106</c:v>
                </c:pt>
                <c:pt idx="3150">
                  <c:v>41107</c:v>
                </c:pt>
                <c:pt idx="3151">
                  <c:v>41108</c:v>
                </c:pt>
                <c:pt idx="3152">
                  <c:v>41109</c:v>
                </c:pt>
                <c:pt idx="3153">
                  <c:v>41110</c:v>
                </c:pt>
                <c:pt idx="3154">
                  <c:v>41113</c:v>
                </c:pt>
                <c:pt idx="3155">
                  <c:v>41114</c:v>
                </c:pt>
                <c:pt idx="3156">
                  <c:v>41115</c:v>
                </c:pt>
                <c:pt idx="3157">
                  <c:v>41116</c:v>
                </c:pt>
                <c:pt idx="3158">
                  <c:v>41117</c:v>
                </c:pt>
                <c:pt idx="3159">
                  <c:v>41120</c:v>
                </c:pt>
                <c:pt idx="3160">
                  <c:v>41121</c:v>
                </c:pt>
                <c:pt idx="3161">
                  <c:v>41122</c:v>
                </c:pt>
                <c:pt idx="3162">
                  <c:v>41123</c:v>
                </c:pt>
                <c:pt idx="3163">
                  <c:v>41124</c:v>
                </c:pt>
                <c:pt idx="3164">
                  <c:v>41127</c:v>
                </c:pt>
                <c:pt idx="3165">
                  <c:v>41128</c:v>
                </c:pt>
                <c:pt idx="3166">
                  <c:v>41129</c:v>
                </c:pt>
                <c:pt idx="3167">
                  <c:v>41130</c:v>
                </c:pt>
                <c:pt idx="3168">
                  <c:v>41131</c:v>
                </c:pt>
                <c:pt idx="3169">
                  <c:v>41134</c:v>
                </c:pt>
                <c:pt idx="3170">
                  <c:v>41135</c:v>
                </c:pt>
                <c:pt idx="3171">
                  <c:v>41136</c:v>
                </c:pt>
                <c:pt idx="3172">
                  <c:v>41137</c:v>
                </c:pt>
                <c:pt idx="3173">
                  <c:v>41138</c:v>
                </c:pt>
                <c:pt idx="3174">
                  <c:v>41141</c:v>
                </c:pt>
                <c:pt idx="3175">
                  <c:v>41142</c:v>
                </c:pt>
                <c:pt idx="3176">
                  <c:v>41143</c:v>
                </c:pt>
                <c:pt idx="3177">
                  <c:v>41144</c:v>
                </c:pt>
                <c:pt idx="3178">
                  <c:v>41145</c:v>
                </c:pt>
                <c:pt idx="3179">
                  <c:v>41148</c:v>
                </c:pt>
                <c:pt idx="3180">
                  <c:v>41149</c:v>
                </c:pt>
                <c:pt idx="3181">
                  <c:v>41150</c:v>
                </c:pt>
                <c:pt idx="3182">
                  <c:v>41151</c:v>
                </c:pt>
                <c:pt idx="3183">
                  <c:v>41152</c:v>
                </c:pt>
                <c:pt idx="3184">
                  <c:v>41155</c:v>
                </c:pt>
                <c:pt idx="3185">
                  <c:v>41156</c:v>
                </c:pt>
                <c:pt idx="3186">
                  <c:v>41157</c:v>
                </c:pt>
                <c:pt idx="3187">
                  <c:v>41158</c:v>
                </c:pt>
                <c:pt idx="3188">
                  <c:v>41162</c:v>
                </c:pt>
                <c:pt idx="3189">
                  <c:v>41163</c:v>
                </c:pt>
                <c:pt idx="3190">
                  <c:v>41164</c:v>
                </c:pt>
                <c:pt idx="3191">
                  <c:v>41165</c:v>
                </c:pt>
                <c:pt idx="3192">
                  <c:v>41166</c:v>
                </c:pt>
                <c:pt idx="3193">
                  <c:v>41169</c:v>
                </c:pt>
                <c:pt idx="3194">
                  <c:v>41170</c:v>
                </c:pt>
                <c:pt idx="3195">
                  <c:v>41171</c:v>
                </c:pt>
                <c:pt idx="3196">
                  <c:v>41172</c:v>
                </c:pt>
                <c:pt idx="3197">
                  <c:v>41173</c:v>
                </c:pt>
                <c:pt idx="3198">
                  <c:v>41176</c:v>
                </c:pt>
                <c:pt idx="3199">
                  <c:v>41177</c:v>
                </c:pt>
                <c:pt idx="3200">
                  <c:v>41178</c:v>
                </c:pt>
                <c:pt idx="3201">
                  <c:v>41179</c:v>
                </c:pt>
                <c:pt idx="3202">
                  <c:v>41180</c:v>
                </c:pt>
                <c:pt idx="3203">
                  <c:v>41183</c:v>
                </c:pt>
                <c:pt idx="3204">
                  <c:v>41184</c:v>
                </c:pt>
                <c:pt idx="3205">
                  <c:v>41185</c:v>
                </c:pt>
                <c:pt idx="3206">
                  <c:v>41186</c:v>
                </c:pt>
                <c:pt idx="3207">
                  <c:v>41187</c:v>
                </c:pt>
                <c:pt idx="3208">
                  <c:v>41190</c:v>
                </c:pt>
                <c:pt idx="3209">
                  <c:v>41191</c:v>
                </c:pt>
                <c:pt idx="3210">
                  <c:v>41192</c:v>
                </c:pt>
                <c:pt idx="3211">
                  <c:v>41193</c:v>
                </c:pt>
                <c:pt idx="3212">
                  <c:v>41197</c:v>
                </c:pt>
                <c:pt idx="3213">
                  <c:v>41198</c:v>
                </c:pt>
                <c:pt idx="3214">
                  <c:v>41199</c:v>
                </c:pt>
                <c:pt idx="3215">
                  <c:v>41200</c:v>
                </c:pt>
                <c:pt idx="3216">
                  <c:v>41201</c:v>
                </c:pt>
                <c:pt idx="3217">
                  <c:v>41204</c:v>
                </c:pt>
                <c:pt idx="3218">
                  <c:v>41205</c:v>
                </c:pt>
                <c:pt idx="3219">
                  <c:v>41206</c:v>
                </c:pt>
                <c:pt idx="3220">
                  <c:v>41207</c:v>
                </c:pt>
                <c:pt idx="3221">
                  <c:v>41208</c:v>
                </c:pt>
                <c:pt idx="3222">
                  <c:v>41211</c:v>
                </c:pt>
                <c:pt idx="3223">
                  <c:v>41212</c:v>
                </c:pt>
                <c:pt idx="3224">
                  <c:v>41213</c:v>
                </c:pt>
                <c:pt idx="3225">
                  <c:v>41214</c:v>
                </c:pt>
                <c:pt idx="3226">
                  <c:v>41218</c:v>
                </c:pt>
                <c:pt idx="3227">
                  <c:v>41219</c:v>
                </c:pt>
                <c:pt idx="3228">
                  <c:v>41220</c:v>
                </c:pt>
                <c:pt idx="3229">
                  <c:v>41221</c:v>
                </c:pt>
                <c:pt idx="3230">
                  <c:v>41222</c:v>
                </c:pt>
                <c:pt idx="3231">
                  <c:v>41225</c:v>
                </c:pt>
                <c:pt idx="3232">
                  <c:v>41226</c:v>
                </c:pt>
                <c:pt idx="3233">
                  <c:v>41227</c:v>
                </c:pt>
                <c:pt idx="3234">
                  <c:v>41229</c:v>
                </c:pt>
                <c:pt idx="3235">
                  <c:v>41232</c:v>
                </c:pt>
                <c:pt idx="3236">
                  <c:v>41233</c:v>
                </c:pt>
                <c:pt idx="3237">
                  <c:v>41234</c:v>
                </c:pt>
                <c:pt idx="3238">
                  <c:v>41235</c:v>
                </c:pt>
                <c:pt idx="3239">
                  <c:v>41236</c:v>
                </c:pt>
                <c:pt idx="3240">
                  <c:v>41239</c:v>
                </c:pt>
                <c:pt idx="3241">
                  <c:v>41240</c:v>
                </c:pt>
                <c:pt idx="3242">
                  <c:v>41241</c:v>
                </c:pt>
                <c:pt idx="3243">
                  <c:v>41242</c:v>
                </c:pt>
                <c:pt idx="3244">
                  <c:v>41243</c:v>
                </c:pt>
                <c:pt idx="3245">
                  <c:v>41246</c:v>
                </c:pt>
                <c:pt idx="3246">
                  <c:v>41247</c:v>
                </c:pt>
                <c:pt idx="3247">
                  <c:v>41248</c:v>
                </c:pt>
                <c:pt idx="3248">
                  <c:v>41249</c:v>
                </c:pt>
                <c:pt idx="3249">
                  <c:v>41250</c:v>
                </c:pt>
                <c:pt idx="3250">
                  <c:v>41253</c:v>
                </c:pt>
                <c:pt idx="3251">
                  <c:v>41254</c:v>
                </c:pt>
                <c:pt idx="3252">
                  <c:v>41255</c:v>
                </c:pt>
                <c:pt idx="3253">
                  <c:v>41256</c:v>
                </c:pt>
                <c:pt idx="3254">
                  <c:v>41257</c:v>
                </c:pt>
                <c:pt idx="3255">
                  <c:v>41260</c:v>
                </c:pt>
                <c:pt idx="3256">
                  <c:v>41261</c:v>
                </c:pt>
                <c:pt idx="3257">
                  <c:v>41262</c:v>
                </c:pt>
                <c:pt idx="3258">
                  <c:v>41263</c:v>
                </c:pt>
                <c:pt idx="3259">
                  <c:v>41264</c:v>
                </c:pt>
                <c:pt idx="3260">
                  <c:v>41267</c:v>
                </c:pt>
                <c:pt idx="3261">
                  <c:v>41269</c:v>
                </c:pt>
                <c:pt idx="3262">
                  <c:v>41270</c:v>
                </c:pt>
                <c:pt idx="3263">
                  <c:v>41271</c:v>
                </c:pt>
                <c:pt idx="3264">
                  <c:v>41274</c:v>
                </c:pt>
                <c:pt idx="3265">
                  <c:v>41276</c:v>
                </c:pt>
                <c:pt idx="3266">
                  <c:v>41277</c:v>
                </c:pt>
                <c:pt idx="3267">
                  <c:v>41278</c:v>
                </c:pt>
                <c:pt idx="3268">
                  <c:v>41281</c:v>
                </c:pt>
                <c:pt idx="3269">
                  <c:v>41282</c:v>
                </c:pt>
                <c:pt idx="3270">
                  <c:v>41283</c:v>
                </c:pt>
                <c:pt idx="3271">
                  <c:v>41284</c:v>
                </c:pt>
                <c:pt idx="3272">
                  <c:v>41285</c:v>
                </c:pt>
                <c:pt idx="3273">
                  <c:v>41288</c:v>
                </c:pt>
                <c:pt idx="3274">
                  <c:v>41289</c:v>
                </c:pt>
                <c:pt idx="3275">
                  <c:v>41290</c:v>
                </c:pt>
                <c:pt idx="3276">
                  <c:v>41291</c:v>
                </c:pt>
                <c:pt idx="3277">
                  <c:v>41292</c:v>
                </c:pt>
                <c:pt idx="3278">
                  <c:v>41295</c:v>
                </c:pt>
                <c:pt idx="3279">
                  <c:v>41296</c:v>
                </c:pt>
                <c:pt idx="3280">
                  <c:v>41297</c:v>
                </c:pt>
                <c:pt idx="3281">
                  <c:v>41298</c:v>
                </c:pt>
                <c:pt idx="3282">
                  <c:v>41299</c:v>
                </c:pt>
                <c:pt idx="3283">
                  <c:v>41302</c:v>
                </c:pt>
                <c:pt idx="3284">
                  <c:v>41303</c:v>
                </c:pt>
                <c:pt idx="3285">
                  <c:v>41304</c:v>
                </c:pt>
                <c:pt idx="3286">
                  <c:v>41305</c:v>
                </c:pt>
                <c:pt idx="3287">
                  <c:v>41306</c:v>
                </c:pt>
                <c:pt idx="3288">
                  <c:v>41309</c:v>
                </c:pt>
                <c:pt idx="3289">
                  <c:v>41310</c:v>
                </c:pt>
                <c:pt idx="3290">
                  <c:v>41311</c:v>
                </c:pt>
                <c:pt idx="3291">
                  <c:v>41312</c:v>
                </c:pt>
                <c:pt idx="3292">
                  <c:v>41313</c:v>
                </c:pt>
                <c:pt idx="3293">
                  <c:v>41318</c:v>
                </c:pt>
                <c:pt idx="3294">
                  <c:v>41319</c:v>
                </c:pt>
                <c:pt idx="3295">
                  <c:v>41320</c:v>
                </c:pt>
                <c:pt idx="3296">
                  <c:v>41323</c:v>
                </c:pt>
                <c:pt idx="3297">
                  <c:v>41324</c:v>
                </c:pt>
                <c:pt idx="3298">
                  <c:v>41325</c:v>
                </c:pt>
                <c:pt idx="3299">
                  <c:v>41326</c:v>
                </c:pt>
                <c:pt idx="3300">
                  <c:v>41327</c:v>
                </c:pt>
                <c:pt idx="3301">
                  <c:v>41330</c:v>
                </c:pt>
                <c:pt idx="3302">
                  <c:v>41331</c:v>
                </c:pt>
                <c:pt idx="3303">
                  <c:v>41332</c:v>
                </c:pt>
                <c:pt idx="3304">
                  <c:v>41333</c:v>
                </c:pt>
                <c:pt idx="3305">
                  <c:v>41334</c:v>
                </c:pt>
                <c:pt idx="3306">
                  <c:v>41337</c:v>
                </c:pt>
                <c:pt idx="3307">
                  <c:v>41338</c:v>
                </c:pt>
                <c:pt idx="3308">
                  <c:v>41339</c:v>
                </c:pt>
                <c:pt idx="3309">
                  <c:v>41340</c:v>
                </c:pt>
                <c:pt idx="3310">
                  <c:v>41341</c:v>
                </c:pt>
                <c:pt idx="3311">
                  <c:v>41344</c:v>
                </c:pt>
                <c:pt idx="3312">
                  <c:v>41345</c:v>
                </c:pt>
                <c:pt idx="3313">
                  <c:v>41346</c:v>
                </c:pt>
                <c:pt idx="3314">
                  <c:v>41347</c:v>
                </c:pt>
                <c:pt idx="3315">
                  <c:v>41348</c:v>
                </c:pt>
                <c:pt idx="3316">
                  <c:v>41351</c:v>
                </c:pt>
                <c:pt idx="3317">
                  <c:v>41352</c:v>
                </c:pt>
                <c:pt idx="3318">
                  <c:v>41353</c:v>
                </c:pt>
                <c:pt idx="3319">
                  <c:v>41354</c:v>
                </c:pt>
                <c:pt idx="3320">
                  <c:v>41355</c:v>
                </c:pt>
                <c:pt idx="3321">
                  <c:v>41358</c:v>
                </c:pt>
                <c:pt idx="3322">
                  <c:v>41359</c:v>
                </c:pt>
                <c:pt idx="3323">
                  <c:v>41360</c:v>
                </c:pt>
                <c:pt idx="3324">
                  <c:v>41361</c:v>
                </c:pt>
                <c:pt idx="3325">
                  <c:v>41365</c:v>
                </c:pt>
                <c:pt idx="3326">
                  <c:v>41366</c:v>
                </c:pt>
                <c:pt idx="3327">
                  <c:v>41367</c:v>
                </c:pt>
                <c:pt idx="3328">
                  <c:v>41368</c:v>
                </c:pt>
                <c:pt idx="3329">
                  <c:v>41369</c:v>
                </c:pt>
                <c:pt idx="3330">
                  <c:v>41372</c:v>
                </c:pt>
                <c:pt idx="3331">
                  <c:v>41373</c:v>
                </c:pt>
                <c:pt idx="3332">
                  <c:v>41374</c:v>
                </c:pt>
                <c:pt idx="3333">
                  <c:v>41375</c:v>
                </c:pt>
                <c:pt idx="3334">
                  <c:v>41376</c:v>
                </c:pt>
                <c:pt idx="3335">
                  <c:v>41379</c:v>
                </c:pt>
                <c:pt idx="3336">
                  <c:v>41380</c:v>
                </c:pt>
                <c:pt idx="3337">
                  <c:v>41381</c:v>
                </c:pt>
                <c:pt idx="3338">
                  <c:v>41382</c:v>
                </c:pt>
                <c:pt idx="3339">
                  <c:v>41383</c:v>
                </c:pt>
                <c:pt idx="3340">
                  <c:v>41386</c:v>
                </c:pt>
                <c:pt idx="3341">
                  <c:v>41387</c:v>
                </c:pt>
                <c:pt idx="3342">
                  <c:v>41388</c:v>
                </c:pt>
                <c:pt idx="3343">
                  <c:v>41389</c:v>
                </c:pt>
                <c:pt idx="3344">
                  <c:v>41390</c:v>
                </c:pt>
                <c:pt idx="3345">
                  <c:v>41393</c:v>
                </c:pt>
                <c:pt idx="3346">
                  <c:v>41394</c:v>
                </c:pt>
                <c:pt idx="3347">
                  <c:v>41396</c:v>
                </c:pt>
                <c:pt idx="3348">
                  <c:v>41397</c:v>
                </c:pt>
                <c:pt idx="3349">
                  <c:v>41400</c:v>
                </c:pt>
                <c:pt idx="3350">
                  <c:v>41401</c:v>
                </c:pt>
                <c:pt idx="3351">
                  <c:v>41402</c:v>
                </c:pt>
                <c:pt idx="3352">
                  <c:v>41403</c:v>
                </c:pt>
                <c:pt idx="3353">
                  <c:v>41404</c:v>
                </c:pt>
                <c:pt idx="3354">
                  <c:v>41407</c:v>
                </c:pt>
                <c:pt idx="3355">
                  <c:v>41408</c:v>
                </c:pt>
                <c:pt idx="3356">
                  <c:v>41409</c:v>
                </c:pt>
                <c:pt idx="3357">
                  <c:v>41410</c:v>
                </c:pt>
                <c:pt idx="3358">
                  <c:v>41411</c:v>
                </c:pt>
                <c:pt idx="3359">
                  <c:v>41414</c:v>
                </c:pt>
                <c:pt idx="3360">
                  <c:v>41415</c:v>
                </c:pt>
                <c:pt idx="3361">
                  <c:v>41416</c:v>
                </c:pt>
                <c:pt idx="3362">
                  <c:v>41417</c:v>
                </c:pt>
                <c:pt idx="3363">
                  <c:v>41418</c:v>
                </c:pt>
                <c:pt idx="3364">
                  <c:v>41421</c:v>
                </c:pt>
                <c:pt idx="3365">
                  <c:v>41422</c:v>
                </c:pt>
                <c:pt idx="3366">
                  <c:v>41423</c:v>
                </c:pt>
                <c:pt idx="3367">
                  <c:v>41425</c:v>
                </c:pt>
                <c:pt idx="3368">
                  <c:v>41428</c:v>
                </c:pt>
                <c:pt idx="3369">
                  <c:v>41429</c:v>
                </c:pt>
                <c:pt idx="3370">
                  <c:v>41430</c:v>
                </c:pt>
                <c:pt idx="3371">
                  <c:v>41431</c:v>
                </c:pt>
                <c:pt idx="3372">
                  <c:v>41432</c:v>
                </c:pt>
                <c:pt idx="3373">
                  <c:v>41435</c:v>
                </c:pt>
                <c:pt idx="3374">
                  <c:v>41436</c:v>
                </c:pt>
                <c:pt idx="3375">
                  <c:v>41437</c:v>
                </c:pt>
                <c:pt idx="3376">
                  <c:v>41438</c:v>
                </c:pt>
                <c:pt idx="3377">
                  <c:v>41439</c:v>
                </c:pt>
                <c:pt idx="3378">
                  <c:v>41442</c:v>
                </c:pt>
                <c:pt idx="3379">
                  <c:v>41443</c:v>
                </c:pt>
                <c:pt idx="3380">
                  <c:v>41444</c:v>
                </c:pt>
                <c:pt idx="3381">
                  <c:v>41445</c:v>
                </c:pt>
                <c:pt idx="3382">
                  <c:v>41446</c:v>
                </c:pt>
                <c:pt idx="3383">
                  <c:v>41449</c:v>
                </c:pt>
                <c:pt idx="3384">
                  <c:v>41450</c:v>
                </c:pt>
                <c:pt idx="3385">
                  <c:v>41451</c:v>
                </c:pt>
                <c:pt idx="3386">
                  <c:v>41452</c:v>
                </c:pt>
                <c:pt idx="3387">
                  <c:v>41453</c:v>
                </c:pt>
                <c:pt idx="3388">
                  <c:v>41456</c:v>
                </c:pt>
                <c:pt idx="3389">
                  <c:v>41457</c:v>
                </c:pt>
                <c:pt idx="3390">
                  <c:v>41458</c:v>
                </c:pt>
                <c:pt idx="3391">
                  <c:v>41459</c:v>
                </c:pt>
                <c:pt idx="3392">
                  <c:v>41460</c:v>
                </c:pt>
                <c:pt idx="3393">
                  <c:v>41463</c:v>
                </c:pt>
                <c:pt idx="3394">
                  <c:v>41464</c:v>
                </c:pt>
                <c:pt idx="3395">
                  <c:v>41465</c:v>
                </c:pt>
                <c:pt idx="3396">
                  <c:v>41466</c:v>
                </c:pt>
                <c:pt idx="3397">
                  <c:v>41467</c:v>
                </c:pt>
                <c:pt idx="3398">
                  <c:v>41470</c:v>
                </c:pt>
                <c:pt idx="3399">
                  <c:v>41471</c:v>
                </c:pt>
                <c:pt idx="3400">
                  <c:v>41472</c:v>
                </c:pt>
                <c:pt idx="3401">
                  <c:v>41473</c:v>
                </c:pt>
                <c:pt idx="3402">
                  <c:v>41474</c:v>
                </c:pt>
                <c:pt idx="3403">
                  <c:v>41477</c:v>
                </c:pt>
                <c:pt idx="3404">
                  <c:v>41478</c:v>
                </c:pt>
                <c:pt idx="3405">
                  <c:v>41479</c:v>
                </c:pt>
                <c:pt idx="3406">
                  <c:v>41480</c:v>
                </c:pt>
                <c:pt idx="3407">
                  <c:v>41481</c:v>
                </c:pt>
                <c:pt idx="3408">
                  <c:v>41484</c:v>
                </c:pt>
                <c:pt idx="3409">
                  <c:v>41485</c:v>
                </c:pt>
                <c:pt idx="3410">
                  <c:v>41486</c:v>
                </c:pt>
                <c:pt idx="3411">
                  <c:v>41487</c:v>
                </c:pt>
                <c:pt idx="3412">
                  <c:v>41488</c:v>
                </c:pt>
                <c:pt idx="3413">
                  <c:v>41491</c:v>
                </c:pt>
                <c:pt idx="3414">
                  <c:v>41492</c:v>
                </c:pt>
                <c:pt idx="3415">
                  <c:v>41493</c:v>
                </c:pt>
                <c:pt idx="3416">
                  <c:v>41494</c:v>
                </c:pt>
                <c:pt idx="3417">
                  <c:v>41495</c:v>
                </c:pt>
                <c:pt idx="3418">
                  <c:v>41498</c:v>
                </c:pt>
                <c:pt idx="3419">
                  <c:v>41499</c:v>
                </c:pt>
                <c:pt idx="3420">
                  <c:v>41500</c:v>
                </c:pt>
                <c:pt idx="3421">
                  <c:v>41501</c:v>
                </c:pt>
                <c:pt idx="3422">
                  <c:v>41502</c:v>
                </c:pt>
                <c:pt idx="3423">
                  <c:v>41505</c:v>
                </c:pt>
                <c:pt idx="3424">
                  <c:v>41506</c:v>
                </c:pt>
                <c:pt idx="3425">
                  <c:v>41507</c:v>
                </c:pt>
                <c:pt idx="3426">
                  <c:v>41508</c:v>
                </c:pt>
                <c:pt idx="3427">
                  <c:v>41509</c:v>
                </c:pt>
                <c:pt idx="3428">
                  <c:v>41512</c:v>
                </c:pt>
                <c:pt idx="3429">
                  <c:v>41513</c:v>
                </c:pt>
                <c:pt idx="3430">
                  <c:v>41514</c:v>
                </c:pt>
                <c:pt idx="3431">
                  <c:v>41515</c:v>
                </c:pt>
                <c:pt idx="3432">
                  <c:v>41516</c:v>
                </c:pt>
                <c:pt idx="3433">
                  <c:v>41519</c:v>
                </c:pt>
                <c:pt idx="3434">
                  <c:v>41520</c:v>
                </c:pt>
                <c:pt idx="3435">
                  <c:v>41521</c:v>
                </c:pt>
                <c:pt idx="3436">
                  <c:v>41522</c:v>
                </c:pt>
                <c:pt idx="3437">
                  <c:v>41523</c:v>
                </c:pt>
                <c:pt idx="3438">
                  <c:v>41526</c:v>
                </c:pt>
                <c:pt idx="3439">
                  <c:v>41527</c:v>
                </c:pt>
                <c:pt idx="3440">
                  <c:v>41528</c:v>
                </c:pt>
                <c:pt idx="3441">
                  <c:v>41529</c:v>
                </c:pt>
                <c:pt idx="3442">
                  <c:v>41530</c:v>
                </c:pt>
                <c:pt idx="3443">
                  <c:v>41533</c:v>
                </c:pt>
                <c:pt idx="3444">
                  <c:v>41534</c:v>
                </c:pt>
                <c:pt idx="3445">
                  <c:v>41535</c:v>
                </c:pt>
                <c:pt idx="3446">
                  <c:v>41536</c:v>
                </c:pt>
                <c:pt idx="3447">
                  <c:v>41537</c:v>
                </c:pt>
                <c:pt idx="3448">
                  <c:v>41540</c:v>
                </c:pt>
                <c:pt idx="3449">
                  <c:v>41541</c:v>
                </c:pt>
                <c:pt idx="3450">
                  <c:v>41542</c:v>
                </c:pt>
                <c:pt idx="3451">
                  <c:v>41543</c:v>
                </c:pt>
                <c:pt idx="3452">
                  <c:v>41544</c:v>
                </c:pt>
                <c:pt idx="3453">
                  <c:v>41547</c:v>
                </c:pt>
                <c:pt idx="3454">
                  <c:v>41548</c:v>
                </c:pt>
                <c:pt idx="3455">
                  <c:v>41549</c:v>
                </c:pt>
                <c:pt idx="3456">
                  <c:v>41550</c:v>
                </c:pt>
                <c:pt idx="3457">
                  <c:v>41551</c:v>
                </c:pt>
                <c:pt idx="3458">
                  <c:v>41554</c:v>
                </c:pt>
                <c:pt idx="3459">
                  <c:v>41555</c:v>
                </c:pt>
                <c:pt idx="3460">
                  <c:v>41556</c:v>
                </c:pt>
                <c:pt idx="3461">
                  <c:v>41557</c:v>
                </c:pt>
                <c:pt idx="3462">
                  <c:v>41558</c:v>
                </c:pt>
                <c:pt idx="3463">
                  <c:v>41561</c:v>
                </c:pt>
                <c:pt idx="3464">
                  <c:v>41562</c:v>
                </c:pt>
                <c:pt idx="3465">
                  <c:v>41563</c:v>
                </c:pt>
                <c:pt idx="3466">
                  <c:v>41564</c:v>
                </c:pt>
                <c:pt idx="3467">
                  <c:v>41565</c:v>
                </c:pt>
                <c:pt idx="3468">
                  <c:v>41568</c:v>
                </c:pt>
                <c:pt idx="3469">
                  <c:v>41569</c:v>
                </c:pt>
                <c:pt idx="3470">
                  <c:v>41570</c:v>
                </c:pt>
                <c:pt idx="3471">
                  <c:v>41571</c:v>
                </c:pt>
                <c:pt idx="3472">
                  <c:v>41572</c:v>
                </c:pt>
                <c:pt idx="3473">
                  <c:v>41575</c:v>
                </c:pt>
                <c:pt idx="3474">
                  <c:v>41576</c:v>
                </c:pt>
                <c:pt idx="3475">
                  <c:v>41577</c:v>
                </c:pt>
                <c:pt idx="3476">
                  <c:v>41578</c:v>
                </c:pt>
                <c:pt idx="3477">
                  <c:v>41579</c:v>
                </c:pt>
                <c:pt idx="3478">
                  <c:v>41582</c:v>
                </c:pt>
                <c:pt idx="3479">
                  <c:v>41583</c:v>
                </c:pt>
                <c:pt idx="3480">
                  <c:v>41584</c:v>
                </c:pt>
                <c:pt idx="3481">
                  <c:v>41585</c:v>
                </c:pt>
                <c:pt idx="3482">
                  <c:v>41586</c:v>
                </c:pt>
                <c:pt idx="3483">
                  <c:v>41589</c:v>
                </c:pt>
                <c:pt idx="3484">
                  <c:v>41590</c:v>
                </c:pt>
                <c:pt idx="3485">
                  <c:v>41591</c:v>
                </c:pt>
                <c:pt idx="3486">
                  <c:v>41592</c:v>
                </c:pt>
                <c:pt idx="3487">
                  <c:v>41596</c:v>
                </c:pt>
                <c:pt idx="3488">
                  <c:v>41598</c:v>
                </c:pt>
                <c:pt idx="3489">
                  <c:v>41599</c:v>
                </c:pt>
                <c:pt idx="3490">
                  <c:v>41600</c:v>
                </c:pt>
                <c:pt idx="3491">
                  <c:v>41603</c:v>
                </c:pt>
                <c:pt idx="3492">
                  <c:v>41604</c:v>
                </c:pt>
                <c:pt idx="3493">
                  <c:v>41605</c:v>
                </c:pt>
                <c:pt idx="3494">
                  <c:v>41606</c:v>
                </c:pt>
                <c:pt idx="3495">
                  <c:v>41607</c:v>
                </c:pt>
                <c:pt idx="3496">
                  <c:v>41610</c:v>
                </c:pt>
                <c:pt idx="3497">
                  <c:v>41611</c:v>
                </c:pt>
                <c:pt idx="3498">
                  <c:v>41612</c:v>
                </c:pt>
                <c:pt idx="3499">
                  <c:v>41613</c:v>
                </c:pt>
                <c:pt idx="3500">
                  <c:v>41614</c:v>
                </c:pt>
                <c:pt idx="3501">
                  <c:v>41617</c:v>
                </c:pt>
                <c:pt idx="3502">
                  <c:v>41618</c:v>
                </c:pt>
                <c:pt idx="3503">
                  <c:v>41619</c:v>
                </c:pt>
                <c:pt idx="3504">
                  <c:v>41620</c:v>
                </c:pt>
                <c:pt idx="3505">
                  <c:v>41621</c:v>
                </c:pt>
                <c:pt idx="3506">
                  <c:v>41624</c:v>
                </c:pt>
                <c:pt idx="3507">
                  <c:v>41626</c:v>
                </c:pt>
                <c:pt idx="3508">
                  <c:v>41627</c:v>
                </c:pt>
                <c:pt idx="3509">
                  <c:v>41628</c:v>
                </c:pt>
                <c:pt idx="3510">
                  <c:v>41631</c:v>
                </c:pt>
                <c:pt idx="3511">
                  <c:v>41632</c:v>
                </c:pt>
                <c:pt idx="3512">
                  <c:v>41634</c:v>
                </c:pt>
                <c:pt idx="3513">
                  <c:v>41635</c:v>
                </c:pt>
                <c:pt idx="3514">
                  <c:v>41638</c:v>
                </c:pt>
                <c:pt idx="3515">
                  <c:v>41639</c:v>
                </c:pt>
                <c:pt idx="3516">
                  <c:v>41641</c:v>
                </c:pt>
                <c:pt idx="3517">
                  <c:v>41642</c:v>
                </c:pt>
                <c:pt idx="3518">
                  <c:v>41645</c:v>
                </c:pt>
                <c:pt idx="3519">
                  <c:v>41646</c:v>
                </c:pt>
                <c:pt idx="3520">
                  <c:v>41647</c:v>
                </c:pt>
                <c:pt idx="3521">
                  <c:v>41648</c:v>
                </c:pt>
                <c:pt idx="3522">
                  <c:v>41649</c:v>
                </c:pt>
                <c:pt idx="3523">
                  <c:v>41652</c:v>
                </c:pt>
                <c:pt idx="3524">
                  <c:v>41653</c:v>
                </c:pt>
                <c:pt idx="3525">
                  <c:v>41654</c:v>
                </c:pt>
                <c:pt idx="3526">
                  <c:v>41655</c:v>
                </c:pt>
                <c:pt idx="3527">
                  <c:v>41656</c:v>
                </c:pt>
                <c:pt idx="3528">
                  <c:v>41659</c:v>
                </c:pt>
                <c:pt idx="3529">
                  <c:v>41660</c:v>
                </c:pt>
                <c:pt idx="3530">
                  <c:v>41661</c:v>
                </c:pt>
                <c:pt idx="3531">
                  <c:v>41662</c:v>
                </c:pt>
                <c:pt idx="3532">
                  <c:v>41663</c:v>
                </c:pt>
                <c:pt idx="3533">
                  <c:v>41666</c:v>
                </c:pt>
                <c:pt idx="3534">
                  <c:v>41667</c:v>
                </c:pt>
                <c:pt idx="3535">
                  <c:v>41668</c:v>
                </c:pt>
                <c:pt idx="3536">
                  <c:v>41669</c:v>
                </c:pt>
                <c:pt idx="3537">
                  <c:v>41670</c:v>
                </c:pt>
                <c:pt idx="3538">
                  <c:v>41673</c:v>
                </c:pt>
                <c:pt idx="3539">
                  <c:v>41674</c:v>
                </c:pt>
                <c:pt idx="3540">
                  <c:v>41675</c:v>
                </c:pt>
                <c:pt idx="3541">
                  <c:v>41676</c:v>
                </c:pt>
                <c:pt idx="3542">
                  <c:v>41677</c:v>
                </c:pt>
                <c:pt idx="3543">
                  <c:v>41680</c:v>
                </c:pt>
                <c:pt idx="3544">
                  <c:v>41681</c:v>
                </c:pt>
                <c:pt idx="3545">
                  <c:v>41682</c:v>
                </c:pt>
                <c:pt idx="3546">
                  <c:v>41683</c:v>
                </c:pt>
                <c:pt idx="3547">
                  <c:v>41684</c:v>
                </c:pt>
                <c:pt idx="3548">
                  <c:v>41687</c:v>
                </c:pt>
                <c:pt idx="3549">
                  <c:v>41688</c:v>
                </c:pt>
                <c:pt idx="3550">
                  <c:v>41689</c:v>
                </c:pt>
                <c:pt idx="3551">
                  <c:v>41690</c:v>
                </c:pt>
                <c:pt idx="3552">
                  <c:v>41691</c:v>
                </c:pt>
                <c:pt idx="3553">
                  <c:v>41694</c:v>
                </c:pt>
                <c:pt idx="3554">
                  <c:v>41695</c:v>
                </c:pt>
                <c:pt idx="3555">
                  <c:v>41696</c:v>
                </c:pt>
                <c:pt idx="3556">
                  <c:v>41697</c:v>
                </c:pt>
                <c:pt idx="3557">
                  <c:v>41698</c:v>
                </c:pt>
                <c:pt idx="3558">
                  <c:v>41703</c:v>
                </c:pt>
                <c:pt idx="3559">
                  <c:v>41704</c:v>
                </c:pt>
                <c:pt idx="3560">
                  <c:v>41705</c:v>
                </c:pt>
                <c:pt idx="3561">
                  <c:v>41708</c:v>
                </c:pt>
                <c:pt idx="3562">
                  <c:v>41709</c:v>
                </c:pt>
                <c:pt idx="3563">
                  <c:v>41710</c:v>
                </c:pt>
                <c:pt idx="3564">
                  <c:v>41711</c:v>
                </c:pt>
                <c:pt idx="3565">
                  <c:v>41712</c:v>
                </c:pt>
                <c:pt idx="3566">
                  <c:v>41715</c:v>
                </c:pt>
                <c:pt idx="3567">
                  <c:v>41716</c:v>
                </c:pt>
                <c:pt idx="3568">
                  <c:v>41717</c:v>
                </c:pt>
                <c:pt idx="3569">
                  <c:v>41718</c:v>
                </c:pt>
                <c:pt idx="3570">
                  <c:v>41719</c:v>
                </c:pt>
                <c:pt idx="3571">
                  <c:v>41722</c:v>
                </c:pt>
                <c:pt idx="3572">
                  <c:v>41723</c:v>
                </c:pt>
                <c:pt idx="3573">
                  <c:v>41724</c:v>
                </c:pt>
                <c:pt idx="3574">
                  <c:v>41725</c:v>
                </c:pt>
                <c:pt idx="3575">
                  <c:v>41726</c:v>
                </c:pt>
                <c:pt idx="3576">
                  <c:v>41729</c:v>
                </c:pt>
                <c:pt idx="3577">
                  <c:v>41730</c:v>
                </c:pt>
                <c:pt idx="3578">
                  <c:v>41731</c:v>
                </c:pt>
                <c:pt idx="3579">
                  <c:v>41732</c:v>
                </c:pt>
                <c:pt idx="3580">
                  <c:v>41733</c:v>
                </c:pt>
                <c:pt idx="3581">
                  <c:v>41736</c:v>
                </c:pt>
                <c:pt idx="3582">
                  <c:v>41737</c:v>
                </c:pt>
                <c:pt idx="3583">
                  <c:v>41738</c:v>
                </c:pt>
                <c:pt idx="3584">
                  <c:v>41739</c:v>
                </c:pt>
                <c:pt idx="3585">
                  <c:v>41740</c:v>
                </c:pt>
                <c:pt idx="3586">
                  <c:v>41743</c:v>
                </c:pt>
                <c:pt idx="3587">
                  <c:v>41744</c:v>
                </c:pt>
                <c:pt idx="3588">
                  <c:v>41745</c:v>
                </c:pt>
                <c:pt idx="3589">
                  <c:v>41746</c:v>
                </c:pt>
                <c:pt idx="3590">
                  <c:v>41751</c:v>
                </c:pt>
                <c:pt idx="3591">
                  <c:v>41752</c:v>
                </c:pt>
                <c:pt idx="3592">
                  <c:v>41753</c:v>
                </c:pt>
                <c:pt idx="3593">
                  <c:v>41754</c:v>
                </c:pt>
                <c:pt idx="3594">
                  <c:v>41757</c:v>
                </c:pt>
                <c:pt idx="3595">
                  <c:v>41758</c:v>
                </c:pt>
                <c:pt idx="3596">
                  <c:v>41759</c:v>
                </c:pt>
                <c:pt idx="3597">
                  <c:v>41761</c:v>
                </c:pt>
                <c:pt idx="3598">
                  <c:v>41764</c:v>
                </c:pt>
                <c:pt idx="3599">
                  <c:v>41765</c:v>
                </c:pt>
                <c:pt idx="3600">
                  <c:v>41766</c:v>
                </c:pt>
                <c:pt idx="3601">
                  <c:v>41767</c:v>
                </c:pt>
                <c:pt idx="3602">
                  <c:v>41768</c:v>
                </c:pt>
                <c:pt idx="3603">
                  <c:v>41771</c:v>
                </c:pt>
                <c:pt idx="3604">
                  <c:v>41772</c:v>
                </c:pt>
                <c:pt idx="3605">
                  <c:v>41773</c:v>
                </c:pt>
                <c:pt idx="3606">
                  <c:v>41774</c:v>
                </c:pt>
                <c:pt idx="3607">
                  <c:v>41775</c:v>
                </c:pt>
                <c:pt idx="3608">
                  <c:v>41778</c:v>
                </c:pt>
                <c:pt idx="3609">
                  <c:v>41779</c:v>
                </c:pt>
                <c:pt idx="3610">
                  <c:v>41780</c:v>
                </c:pt>
                <c:pt idx="3611">
                  <c:v>41781</c:v>
                </c:pt>
                <c:pt idx="3612">
                  <c:v>41782</c:v>
                </c:pt>
                <c:pt idx="3613">
                  <c:v>41785</c:v>
                </c:pt>
                <c:pt idx="3614">
                  <c:v>41786</c:v>
                </c:pt>
                <c:pt idx="3615">
                  <c:v>41787</c:v>
                </c:pt>
                <c:pt idx="3616">
                  <c:v>41788</c:v>
                </c:pt>
                <c:pt idx="3617">
                  <c:v>41789</c:v>
                </c:pt>
                <c:pt idx="3618">
                  <c:v>41792</c:v>
                </c:pt>
                <c:pt idx="3619">
                  <c:v>41793</c:v>
                </c:pt>
                <c:pt idx="3620">
                  <c:v>41794</c:v>
                </c:pt>
                <c:pt idx="3621">
                  <c:v>41795</c:v>
                </c:pt>
                <c:pt idx="3622">
                  <c:v>41796</c:v>
                </c:pt>
                <c:pt idx="3623">
                  <c:v>41799</c:v>
                </c:pt>
                <c:pt idx="3624">
                  <c:v>41800</c:v>
                </c:pt>
                <c:pt idx="3625">
                  <c:v>41801</c:v>
                </c:pt>
                <c:pt idx="3626">
                  <c:v>41802</c:v>
                </c:pt>
                <c:pt idx="3627">
                  <c:v>41803</c:v>
                </c:pt>
                <c:pt idx="3628">
                  <c:v>41806</c:v>
                </c:pt>
                <c:pt idx="3629">
                  <c:v>41807</c:v>
                </c:pt>
                <c:pt idx="3630">
                  <c:v>41808</c:v>
                </c:pt>
                <c:pt idx="3631">
                  <c:v>41810</c:v>
                </c:pt>
                <c:pt idx="3632">
                  <c:v>41813</c:v>
                </c:pt>
                <c:pt idx="3633">
                  <c:v>41814</c:v>
                </c:pt>
                <c:pt idx="3634">
                  <c:v>41815</c:v>
                </c:pt>
                <c:pt idx="3635">
                  <c:v>41816</c:v>
                </c:pt>
                <c:pt idx="3636">
                  <c:v>41817</c:v>
                </c:pt>
                <c:pt idx="3637">
                  <c:v>41820</c:v>
                </c:pt>
                <c:pt idx="3638">
                  <c:v>41821</c:v>
                </c:pt>
                <c:pt idx="3639">
                  <c:v>41822</c:v>
                </c:pt>
                <c:pt idx="3640">
                  <c:v>41823</c:v>
                </c:pt>
                <c:pt idx="3641">
                  <c:v>41824</c:v>
                </c:pt>
                <c:pt idx="3642">
                  <c:v>41827</c:v>
                </c:pt>
                <c:pt idx="3643">
                  <c:v>41828</c:v>
                </c:pt>
                <c:pt idx="3644">
                  <c:v>41829</c:v>
                </c:pt>
                <c:pt idx="3645">
                  <c:v>41830</c:v>
                </c:pt>
                <c:pt idx="3646">
                  <c:v>41831</c:v>
                </c:pt>
                <c:pt idx="3647">
                  <c:v>41834</c:v>
                </c:pt>
                <c:pt idx="3648">
                  <c:v>41835</c:v>
                </c:pt>
                <c:pt idx="3649">
                  <c:v>41836</c:v>
                </c:pt>
                <c:pt idx="3650">
                  <c:v>41837</c:v>
                </c:pt>
                <c:pt idx="3651">
                  <c:v>41838</c:v>
                </c:pt>
                <c:pt idx="3652">
                  <c:v>41841</c:v>
                </c:pt>
                <c:pt idx="3653">
                  <c:v>41842</c:v>
                </c:pt>
                <c:pt idx="3654">
                  <c:v>41843</c:v>
                </c:pt>
                <c:pt idx="3655">
                  <c:v>41844</c:v>
                </c:pt>
                <c:pt idx="3656">
                  <c:v>41845</c:v>
                </c:pt>
                <c:pt idx="3657">
                  <c:v>41848</c:v>
                </c:pt>
                <c:pt idx="3658">
                  <c:v>41849</c:v>
                </c:pt>
                <c:pt idx="3659">
                  <c:v>41850</c:v>
                </c:pt>
                <c:pt idx="3660">
                  <c:v>41851</c:v>
                </c:pt>
                <c:pt idx="3661">
                  <c:v>41852</c:v>
                </c:pt>
                <c:pt idx="3662">
                  <c:v>41855</c:v>
                </c:pt>
                <c:pt idx="3663">
                  <c:v>41856</c:v>
                </c:pt>
                <c:pt idx="3664">
                  <c:v>41857</c:v>
                </c:pt>
                <c:pt idx="3665">
                  <c:v>41858</c:v>
                </c:pt>
                <c:pt idx="3666">
                  <c:v>41859</c:v>
                </c:pt>
                <c:pt idx="3667">
                  <c:v>41862</c:v>
                </c:pt>
                <c:pt idx="3668">
                  <c:v>41863</c:v>
                </c:pt>
                <c:pt idx="3669">
                  <c:v>41864</c:v>
                </c:pt>
                <c:pt idx="3670">
                  <c:v>41865</c:v>
                </c:pt>
                <c:pt idx="3671">
                  <c:v>41866</c:v>
                </c:pt>
                <c:pt idx="3672">
                  <c:v>41869</c:v>
                </c:pt>
                <c:pt idx="3673">
                  <c:v>41870</c:v>
                </c:pt>
                <c:pt idx="3674">
                  <c:v>41871</c:v>
                </c:pt>
                <c:pt idx="3675">
                  <c:v>41872</c:v>
                </c:pt>
                <c:pt idx="3676">
                  <c:v>41873</c:v>
                </c:pt>
                <c:pt idx="3677">
                  <c:v>41876</c:v>
                </c:pt>
                <c:pt idx="3678">
                  <c:v>41877</c:v>
                </c:pt>
                <c:pt idx="3679">
                  <c:v>41878</c:v>
                </c:pt>
                <c:pt idx="3680">
                  <c:v>41879</c:v>
                </c:pt>
                <c:pt idx="3681">
                  <c:v>41880</c:v>
                </c:pt>
                <c:pt idx="3682">
                  <c:v>41883</c:v>
                </c:pt>
                <c:pt idx="3683">
                  <c:v>41884</c:v>
                </c:pt>
                <c:pt idx="3684">
                  <c:v>41885</c:v>
                </c:pt>
                <c:pt idx="3685">
                  <c:v>41886</c:v>
                </c:pt>
                <c:pt idx="3686">
                  <c:v>41887</c:v>
                </c:pt>
                <c:pt idx="3687">
                  <c:v>41890</c:v>
                </c:pt>
                <c:pt idx="3688">
                  <c:v>41891</c:v>
                </c:pt>
                <c:pt idx="3689">
                  <c:v>41892</c:v>
                </c:pt>
                <c:pt idx="3690">
                  <c:v>41893</c:v>
                </c:pt>
                <c:pt idx="3691">
                  <c:v>41894</c:v>
                </c:pt>
                <c:pt idx="3692">
                  <c:v>41897</c:v>
                </c:pt>
                <c:pt idx="3693">
                  <c:v>41898</c:v>
                </c:pt>
                <c:pt idx="3694">
                  <c:v>41899</c:v>
                </c:pt>
                <c:pt idx="3695">
                  <c:v>41900</c:v>
                </c:pt>
                <c:pt idx="3696">
                  <c:v>41901</c:v>
                </c:pt>
                <c:pt idx="3697">
                  <c:v>41904</c:v>
                </c:pt>
                <c:pt idx="3698">
                  <c:v>41905</c:v>
                </c:pt>
                <c:pt idx="3699">
                  <c:v>41906</c:v>
                </c:pt>
                <c:pt idx="3700">
                  <c:v>41907</c:v>
                </c:pt>
                <c:pt idx="3701">
                  <c:v>41908</c:v>
                </c:pt>
                <c:pt idx="3702">
                  <c:v>41911</c:v>
                </c:pt>
                <c:pt idx="3703">
                  <c:v>41912</c:v>
                </c:pt>
                <c:pt idx="3704">
                  <c:v>41913</c:v>
                </c:pt>
                <c:pt idx="3705">
                  <c:v>41914</c:v>
                </c:pt>
                <c:pt idx="3706">
                  <c:v>41915</c:v>
                </c:pt>
                <c:pt idx="3707">
                  <c:v>41918</c:v>
                </c:pt>
                <c:pt idx="3708">
                  <c:v>41919</c:v>
                </c:pt>
                <c:pt idx="3709">
                  <c:v>41920</c:v>
                </c:pt>
                <c:pt idx="3710">
                  <c:v>41921</c:v>
                </c:pt>
                <c:pt idx="3711">
                  <c:v>41922</c:v>
                </c:pt>
                <c:pt idx="3712">
                  <c:v>41925</c:v>
                </c:pt>
                <c:pt idx="3713">
                  <c:v>41926</c:v>
                </c:pt>
                <c:pt idx="3714">
                  <c:v>41927</c:v>
                </c:pt>
                <c:pt idx="3715">
                  <c:v>41928</c:v>
                </c:pt>
                <c:pt idx="3716">
                  <c:v>41929</c:v>
                </c:pt>
                <c:pt idx="3717">
                  <c:v>41932</c:v>
                </c:pt>
                <c:pt idx="3718">
                  <c:v>41933</c:v>
                </c:pt>
                <c:pt idx="3719">
                  <c:v>41934</c:v>
                </c:pt>
                <c:pt idx="3720">
                  <c:v>41935</c:v>
                </c:pt>
                <c:pt idx="3721">
                  <c:v>41936</c:v>
                </c:pt>
                <c:pt idx="3722">
                  <c:v>41939</c:v>
                </c:pt>
                <c:pt idx="3723">
                  <c:v>41940</c:v>
                </c:pt>
                <c:pt idx="3724">
                  <c:v>41941</c:v>
                </c:pt>
                <c:pt idx="3725">
                  <c:v>41942</c:v>
                </c:pt>
                <c:pt idx="3726">
                  <c:v>41943</c:v>
                </c:pt>
                <c:pt idx="3727">
                  <c:v>41946</c:v>
                </c:pt>
                <c:pt idx="3728">
                  <c:v>41947</c:v>
                </c:pt>
                <c:pt idx="3729">
                  <c:v>41948</c:v>
                </c:pt>
                <c:pt idx="3730">
                  <c:v>41949</c:v>
                </c:pt>
                <c:pt idx="3731">
                  <c:v>41950</c:v>
                </c:pt>
                <c:pt idx="3732">
                  <c:v>41953</c:v>
                </c:pt>
                <c:pt idx="3733">
                  <c:v>41954</c:v>
                </c:pt>
                <c:pt idx="3734">
                  <c:v>41955</c:v>
                </c:pt>
                <c:pt idx="3735">
                  <c:v>41956</c:v>
                </c:pt>
                <c:pt idx="3736">
                  <c:v>41957</c:v>
                </c:pt>
                <c:pt idx="3737">
                  <c:v>41960</c:v>
                </c:pt>
                <c:pt idx="3738">
                  <c:v>41961</c:v>
                </c:pt>
                <c:pt idx="3739">
                  <c:v>41962</c:v>
                </c:pt>
                <c:pt idx="3740">
                  <c:v>41963</c:v>
                </c:pt>
                <c:pt idx="3741">
                  <c:v>41964</c:v>
                </c:pt>
                <c:pt idx="3742">
                  <c:v>41967</c:v>
                </c:pt>
                <c:pt idx="3743">
                  <c:v>41968</c:v>
                </c:pt>
                <c:pt idx="3744">
                  <c:v>41969</c:v>
                </c:pt>
                <c:pt idx="3745">
                  <c:v>41970</c:v>
                </c:pt>
                <c:pt idx="3746">
                  <c:v>41971</c:v>
                </c:pt>
                <c:pt idx="3747">
                  <c:v>41974</c:v>
                </c:pt>
                <c:pt idx="3748">
                  <c:v>41975</c:v>
                </c:pt>
                <c:pt idx="3749">
                  <c:v>41976</c:v>
                </c:pt>
                <c:pt idx="3750">
                  <c:v>41977</c:v>
                </c:pt>
                <c:pt idx="3751">
                  <c:v>41978</c:v>
                </c:pt>
                <c:pt idx="3752">
                  <c:v>41981</c:v>
                </c:pt>
                <c:pt idx="3753">
                  <c:v>41982</c:v>
                </c:pt>
                <c:pt idx="3754">
                  <c:v>41983</c:v>
                </c:pt>
                <c:pt idx="3755">
                  <c:v>41984</c:v>
                </c:pt>
                <c:pt idx="3756">
                  <c:v>41985</c:v>
                </c:pt>
                <c:pt idx="3757">
                  <c:v>41988</c:v>
                </c:pt>
                <c:pt idx="3758">
                  <c:v>41989</c:v>
                </c:pt>
                <c:pt idx="3759">
                  <c:v>41990</c:v>
                </c:pt>
                <c:pt idx="3760">
                  <c:v>41991</c:v>
                </c:pt>
                <c:pt idx="3761">
                  <c:v>41992</c:v>
                </c:pt>
                <c:pt idx="3762">
                  <c:v>41995</c:v>
                </c:pt>
                <c:pt idx="3763">
                  <c:v>41996</c:v>
                </c:pt>
                <c:pt idx="3764">
                  <c:v>41997</c:v>
                </c:pt>
                <c:pt idx="3765">
                  <c:v>41999</c:v>
                </c:pt>
                <c:pt idx="3766">
                  <c:v>42002</c:v>
                </c:pt>
                <c:pt idx="3767">
                  <c:v>42003</c:v>
                </c:pt>
                <c:pt idx="3768">
                  <c:v>42004</c:v>
                </c:pt>
                <c:pt idx="3769">
                  <c:v>42006</c:v>
                </c:pt>
                <c:pt idx="3770">
                  <c:v>42009</c:v>
                </c:pt>
                <c:pt idx="3771">
                  <c:v>42010</c:v>
                </c:pt>
                <c:pt idx="3772">
                  <c:v>42011</c:v>
                </c:pt>
                <c:pt idx="3773">
                  <c:v>42012</c:v>
                </c:pt>
                <c:pt idx="3774">
                  <c:v>42013</c:v>
                </c:pt>
                <c:pt idx="3775">
                  <c:v>42016</c:v>
                </c:pt>
                <c:pt idx="3776">
                  <c:v>42017</c:v>
                </c:pt>
                <c:pt idx="3777">
                  <c:v>42018</c:v>
                </c:pt>
                <c:pt idx="3778">
                  <c:v>42019</c:v>
                </c:pt>
                <c:pt idx="3779">
                  <c:v>42020</c:v>
                </c:pt>
                <c:pt idx="3780">
                  <c:v>42023</c:v>
                </c:pt>
                <c:pt idx="3781">
                  <c:v>42024</c:v>
                </c:pt>
                <c:pt idx="3782">
                  <c:v>42025</c:v>
                </c:pt>
                <c:pt idx="3783">
                  <c:v>42026</c:v>
                </c:pt>
                <c:pt idx="3784">
                  <c:v>42027</c:v>
                </c:pt>
                <c:pt idx="3785">
                  <c:v>42030</c:v>
                </c:pt>
                <c:pt idx="3786">
                  <c:v>42031</c:v>
                </c:pt>
                <c:pt idx="3787">
                  <c:v>42032</c:v>
                </c:pt>
                <c:pt idx="3788">
                  <c:v>42033</c:v>
                </c:pt>
                <c:pt idx="3789">
                  <c:v>42034</c:v>
                </c:pt>
                <c:pt idx="3790">
                  <c:v>42037</c:v>
                </c:pt>
                <c:pt idx="3791">
                  <c:v>42038</c:v>
                </c:pt>
                <c:pt idx="3792">
                  <c:v>42039</c:v>
                </c:pt>
                <c:pt idx="3793">
                  <c:v>42040</c:v>
                </c:pt>
                <c:pt idx="3794">
                  <c:v>42041</c:v>
                </c:pt>
                <c:pt idx="3795">
                  <c:v>42044</c:v>
                </c:pt>
                <c:pt idx="3796">
                  <c:v>42045</c:v>
                </c:pt>
                <c:pt idx="3797">
                  <c:v>42046</c:v>
                </c:pt>
                <c:pt idx="3798">
                  <c:v>42047</c:v>
                </c:pt>
                <c:pt idx="3799">
                  <c:v>42048</c:v>
                </c:pt>
                <c:pt idx="3800">
                  <c:v>42053</c:v>
                </c:pt>
                <c:pt idx="3801">
                  <c:v>42054</c:v>
                </c:pt>
                <c:pt idx="3802">
                  <c:v>42055</c:v>
                </c:pt>
                <c:pt idx="3803">
                  <c:v>42058</c:v>
                </c:pt>
                <c:pt idx="3804">
                  <c:v>42059</c:v>
                </c:pt>
                <c:pt idx="3805">
                  <c:v>42060</c:v>
                </c:pt>
                <c:pt idx="3806">
                  <c:v>42061</c:v>
                </c:pt>
                <c:pt idx="3807">
                  <c:v>42062</c:v>
                </c:pt>
                <c:pt idx="3808">
                  <c:v>42065</c:v>
                </c:pt>
                <c:pt idx="3809">
                  <c:v>42066</c:v>
                </c:pt>
                <c:pt idx="3810">
                  <c:v>42067</c:v>
                </c:pt>
                <c:pt idx="3811">
                  <c:v>42068</c:v>
                </c:pt>
                <c:pt idx="3812">
                  <c:v>42069</c:v>
                </c:pt>
                <c:pt idx="3813">
                  <c:v>42072</c:v>
                </c:pt>
                <c:pt idx="3814">
                  <c:v>42073</c:v>
                </c:pt>
                <c:pt idx="3815">
                  <c:v>42074</c:v>
                </c:pt>
                <c:pt idx="3816">
                  <c:v>42075</c:v>
                </c:pt>
                <c:pt idx="3817">
                  <c:v>42076</c:v>
                </c:pt>
                <c:pt idx="3818">
                  <c:v>42079</c:v>
                </c:pt>
                <c:pt idx="3819">
                  <c:v>42080</c:v>
                </c:pt>
                <c:pt idx="3820">
                  <c:v>42081</c:v>
                </c:pt>
                <c:pt idx="3821">
                  <c:v>42082</c:v>
                </c:pt>
                <c:pt idx="3822">
                  <c:v>42083</c:v>
                </c:pt>
                <c:pt idx="3823">
                  <c:v>42086</c:v>
                </c:pt>
                <c:pt idx="3824">
                  <c:v>42087</c:v>
                </c:pt>
                <c:pt idx="3825">
                  <c:v>42088</c:v>
                </c:pt>
                <c:pt idx="3826">
                  <c:v>42089</c:v>
                </c:pt>
                <c:pt idx="3827">
                  <c:v>42090</c:v>
                </c:pt>
                <c:pt idx="3828">
                  <c:v>42093</c:v>
                </c:pt>
                <c:pt idx="3829">
                  <c:v>42094</c:v>
                </c:pt>
                <c:pt idx="3830">
                  <c:v>42095</c:v>
                </c:pt>
                <c:pt idx="3831">
                  <c:v>42096</c:v>
                </c:pt>
                <c:pt idx="3832">
                  <c:v>42100</c:v>
                </c:pt>
                <c:pt idx="3833">
                  <c:v>42101</c:v>
                </c:pt>
                <c:pt idx="3834">
                  <c:v>42102</c:v>
                </c:pt>
                <c:pt idx="3835">
                  <c:v>42103</c:v>
                </c:pt>
                <c:pt idx="3836">
                  <c:v>42104</c:v>
                </c:pt>
                <c:pt idx="3837">
                  <c:v>42107</c:v>
                </c:pt>
                <c:pt idx="3838">
                  <c:v>42108</c:v>
                </c:pt>
                <c:pt idx="3839">
                  <c:v>42109</c:v>
                </c:pt>
                <c:pt idx="3840">
                  <c:v>42110</c:v>
                </c:pt>
                <c:pt idx="3841">
                  <c:v>42111</c:v>
                </c:pt>
                <c:pt idx="3842">
                  <c:v>42114</c:v>
                </c:pt>
                <c:pt idx="3843">
                  <c:v>42116</c:v>
                </c:pt>
                <c:pt idx="3844">
                  <c:v>42117</c:v>
                </c:pt>
                <c:pt idx="3845">
                  <c:v>42118</c:v>
                </c:pt>
                <c:pt idx="3846">
                  <c:v>42121</c:v>
                </c:pt>
                <c:pt idx="3847">
                  <c:v>42122</c:v>
                </c:pt>
                <c:pt idx="3848">
                  <c:v>42123</c:v>
                </c:pt>
                <c:pt idx="3849">
                  <c:v>42124</c:v>
                </c:pt>
                <c:pt idx="3850">
                  <c:v>42128</c:v>
                </c:pt>
                <c:pt idx="3851">
                  <c:v>42129</c:v>
                </c:pt>
                <c:pt idx="3852">
                  <c:v>42130</c:v>
                </c:pt>
                <c:pt idx="3853">
                  <c:v>42131</c:v>
                </c:pt>
                <c:pt idx="3854">
                  <c:v>42132</c:v>
                </c:pt>
                <c:pt idx="3855">
                  <c:v>42135</c:v>
                </c:pt>
                <c:pt idx="3856">
                  <c:v>42136</c:v>
                </c:pt>
                <c:pt idx="3857">
                  <c:v>42137</c:v>
                </c:pt>
                <c:pt idx="3858">
                  <c:v>42138</c:v>
                </c:pt>
                <c:pt idx="3859">
                  <c:v>42139</c:v>
                </c:pt>
                <c:pt idx="3860">
                  <c:v>42142</c:v>
                </c:pt>
                <c:pt idx="3861">
                  <c:v>42143</c:v>
                </c:pt>
                <c:pt idx="3862">
                  <c:v>42144</c:v>
                </c:pt>
                <c:pt idx="3863">
                  <c:v>42145</c:v>
                </c:pt>
                <c:pt idx="3864">
                  <c:v>42146</c:v>
                </c:pt>
                <c:pt idx="3865">
                  <c:v>42149</c:v>
                </c:pt>
                <c:pt idx="3866">
                  <c:v>42150</c:v>
                </c:pt>
                <c:pt idx="3867">
                  <c:v>42151</c:v>
                </c:pt>
                <c:pt idx="3868">
                  <c:v>42152</c:v>
                </c:pt>
                <c:pt idx="3869">
                  <c:v>42153</c:v>
                </c:pt>
                <c:pt idx="3870">
                  <c:v>42156</c:v>
                </c:pt>
                <c:pt idx="3871">
                  <c:v>42157</c:v>
                </c:pt>
                <c:pt idx="3872">
                  <c:v>42158</c:v>
                </c:pt>
                <c:pt idx="3873">
                  <c:v>42160</c:v>
                </c:pt>
                <c:pt idx="3874">
                  <c:v>42163</c:v>
                </c:pt>
                <c:pt idx="3875">
                  <c:v>42164</c:v>
                </c:pt>
                <c:pt idx="3876">
                  <c:v>42165</c:v>
                </c:pt>
                <c:pt idx="3877">
                  <c:v>42166</c:v>
                </c:pt>
                <c:pt idx="3878">
                  <c:v>42167</c:v>
                </c:pt>
                <c:pt idx="3879">
                  <c:v>42170</c:v>
                </c:pt>
                <c:pt idx="3880">
                  <c:v>42171</c:v>
                </c:pt>
                <c:pt idx="3881">
                  <c:v>42172</c:v>
                </c:pt>
                <c:pt idx="3882">
                  <c:v>42173</c:v>
                </c:pt>
                <c:pt idx="3883">
                  <c:v>42174</c:v>
                </c:pt>
                <c:pt idx="3884">
                  <c:v>42177</c:v>
                </c:pt>
                <c:pt idx="3885">
                  <c:v>42178</c:v>
                </c:pt>
                <c:pt idx="3886">
                  <c:v>42179</c:v>
                </c:pt>
                <c:pt idx="3887">
                  <c:v>42180</c:v>
                </c:pt>
                <c:pt idx="3888">
                  <c:v>42181</c:v>
                </c:pt>
                <c:pt idx="3889">
                  <c:v>42184</c:v>
                </c:pt>
                <c:pt idx="3890">
                  <c:v>42185</c:v>
                </c:pt>
                <c:pt idx="3891">
                  <c:v>42186</c:v>
                </c:pt>
                <c:pt idx="3892">
                  <c:v>42187</c:v>
                </c:pt>
                <c:pt idx="3893">
                  <c:v>42188</c:v>
                </c:pt>
                <c:pt idx="3894">
                  <c:v>42191</c:v>
                </c:pt>
                <c:pt idx="3895">
                  <c:v>42192</c:v>
                </c:pt>
                <c:pt idx="3896">
                  <c:v>42193</c:v>
                </c:pt>
                <c:pt idx="3897">
                  <c:v>42194</c:v>
                </c:pt>
                <c:pt idx="3898">
                  <c:v>42195</c:v>
                </c:pt>
                <c:pt idx="3899">
                  <c:v>42198</c:v>
                </c:pt>
                <c:pt idx="3900">
                  <c:v>42199</c:v>
                </c:pt>
                <c:pt idx="3901">
                  <c:v>42200</c:v>
                </c:pt>
                <c:pt idx="3902">
                  <c:v>42201</c:v>
                </c:pt>
                <c:pt idx="3903">
                  <c:v>42202</c:v>
                </c:pt>
                <c:pt idx="3904">
                  <c:v>42205</c:v>
                </c:pt>
                <c:pt idx="3905">
                  <c:v>42206</c:v>
                </c:pt>
                <c:pt idx="3906">
                  <c:v>42207</c:v>
                </c:pt>
                <c:pt idx="3907">
                  <c:v>42208</c:v>
                </c:pt>
                <c:pt idx="3908">
                  <c:v>42209</c:v>
                </c:pt>
                <c:pt idx="3909">
                  <c:v>42212</c:v>
                </c:pt>
                <c:pt idx="3910">
                  <c:v>42213</c:v>
                </c:pt>
                <c:pt idx="3911">
                  <c:v>42214</c:v>
                </c:pt>
                <c:pt idx="3912">
                  <c:v>42215</c:v>
                </c:pt>
                <c:pt idx="3913">
                  <c:v>42216</c:v>
                </c:pt>
                <c:pt idx="3914">
                  <c:v>42219</c:v>
                </c:pt>
                <c:pt idx="3915">
                  <c:v>42220</c:v>
                </c:pt>
                <c:pt idx="3916">
                  <c:v>42221</c:v>
                </c:pt>
                <c:pt idx="3917">
                  <c:v>42222</c:v>
                </c:pt>
                <c:pt idx="3918">
                  <c:v>42223</c:v>
                </c:pt>
                <c:pt idx="3919">
                  <c:v>42226</c:v>
                </c:pt>
                <c:pt idx="3920">
                  <c:v>42227</c:v>
                </c:pt>
                <c:pt idx="3921">
                  <c:v>42228</c:v>
                </c:pt>
                <c:pt idx="3922">
                  <c:v>42229</c:v>
                </c:pt>
                <c:pt idx="3923">
                  <c:v>42230</c:v>
                </c:pt>
                <c:pt idx="3924">
                  <c:v>42233</c:v>
                </c:pt>
                <c:pt idx="3925">
                  <c:v>42234</c:v>
                </c:pt>
                <c:pt idx="3926">
                  <c:v>42235</c:v>
                </c:pt>
                <c:pt idx="3927">
                  <c:v>42236</c:v>
                </c:pt>
                <c:pt idx="3928">
                  <c:v>42237</c:v>
                </c:pt>
                <c:pt idx="3929">
                  <c:v>42240</c:v>
                </c:pt>
                <c:pt idx="3930">
                  <c:v>42241</c:v>
                </c:pt>
                <c:pt idx="3931">
                  <c:v>42242</c:v>
                </c:pt>
                <c:pt idx="3932">
                  <c:v>42243</c:v>
                </c:pt>
                <c:pt idx="3933">
                  <c:v>42244</c:v>
                </c:pt>
                <c:pt idx="3934">
                  <c:v>42247</c:v>
                </c:pt>
                <c:pt idx="3935">
                  <c:v>42248</c:v>
                </c:pt>
                <c:pt idx="3936">
                  <c:v>42249</c:v>
                </c:pt>
                <c:pt idx="3937">
                  <c:v>42250</c:v>
                </c:pt>
                <c:pt idx="3938">
                  <c:v>42251</c:v>
                </c:pt>
                <c:pt idx="3939">
                  <c:v>42255</c:v>
                </c:pt>
                <c:pt idx="3940">
                  <c:v>42256</c:v>
                </c:pt>
                <c:pt idx="3941">
                  <c:v>42257</c:v>
                </c:pt>
                <c:pt idx="3942">
                  <c:v>42258</c:v>
                </c:pt>
                <c:pt idx="3943">
                  <c:v>42261</c:v>
                </c:pt>
                <c:pt idx="3944">
                  <c:v>42262</c:v>
                </c:pt>
                <c:pt idx="3945">
                  <c:v>42263</c:v>
                </c:pt>
                <c:pt idx="3946">
                  <c:v>42264</c:v>
                </c:pt>
                <c:pt idx="3947">
                  <c:v>42265</c:v>
                </c:pt>
                <c:pt idx="3948">
                  <c:v>42268</c:v>
                </c:pt>
                <c:pt idx="3949">
                  <c:v>42269</c:v>
                </c:pt>
                <c:pt idx="3950">
                  <c:v>42270</c:v>
                </c:pt>
                <c:pt idx="3951">
                  <c:v>42271</c:v>
                </c:pt>
                <c:pt idx="3952">
                  <c:v>42272</c:v>
                </c:pt>
                <c:pt idx="3953">
                  <c:v>42275</c:v>
                </c:pt>
                <c:pt idx="3954">
                  <c:v>42276</c:v>
                </c:pt>
                <c:pt idx="3955">
                  <c:v>42277</c:v>
                </c:pt>
                <c:pt idx="3956">
                  <c:v>42278</c:v>
                </c:pt>
                <c:pt idx="3957">
                  <c:v>42279</c:v>
                </c:pt>
                <c:pt idx="3958">
                  <c:v>42282</c:v>
                </c:pt>
                <c:pt idx="3959">
                  <c:v>42283</c:v>
                </c:pt>
                <c:pt idx="3960">
                  <c:v>42284</c:v>
                </c:pt>
                <c:pt idx="3961">
                  <c:v>42285</c:v>
                </c:pt>
                <c:pt idx="3962">
                  <c:v>42286</c:v>
                </c:pt>
                <c:pt idx="3963">
                  <c:v>42290</c:v>
                </c:pt>
                <c:pt idx="3964">
                  <c:v>42291</c:v>
                </c:pt>
                <c:pt idx="3965">
                  <c:v>42292</c:v>
                </c:pt>
                <c:pt idx="3966">
                  <c:v>42293</c:v>
                </c:pt>
                <c:pt idx="3967">
                  <c:v>42296</c:v>
                </c:pt>
                <c:pt idx="3968">
                  <c:v>42297</c:v>
                </c:pt>
                <c:pt idx="3969">
                  <c:v>42298</c:v>
                </c:pt>
                <c:pt idx="3970">
                  <c:v>42299</c:v>
                </c:pt>
                <c:pt idx="3971">
                  <c:v>42300</c:v>
                </c:pt>
                <c:pt idx="3972">
                  <c:v>42303</c:v>
                </c:pt>
                <c:pt idx="3973">
                  <c:v>42304</c:v>
                </c:pt>
                <c:pt idx="3974">
                  <c:v>42305</c:v>
                </c:pt>
                <c:pt idx="3975">
                  <c:v>42306</c:v>
                </c:pt>
                <c:pt idx="3976">
                  <c:v>42307</c:v>
                </c:pt>
                <c:pt idx="3977">
                  <c:v>42311</c:v>
                </c:pt>
                <c:pt idx="3978">
                  <c:v>42312</c:v>
                </c:pt>
                <c:pt idx="3979">
                  <c:v>42313</c:v>
                </c:pt>
                <c:pt idx="3980">
                  <c:v>42314</c:v>
                </c:pt>
                <c:pt idx="3981">
                  <c:v>42317</c:v>
                </c:pt>
                <c:pt idx="3982">
                  <c:v>42318</c:v>
                </c:pt>
                <c:pt idx="3983">
                  <c:v>42319</c:v>
                </c:pt>
                <c:pt idx="3984">
                  <c:v>42320</c:v>
                </c:pt>
                <c:pt idx="3985">
                  <c:v>42321</c:v>
                </c:pt>
                <c:pt idx="3986">
                  <c:v>42324</c:v>
                </c:pt>
                <c:pt idx="3987">
                  <c:v>42325</c:v>
                </c:pt>
                <c:pt idx="3988">
                  <c:v>42326</c:v>
                </c:pt>
                <c:pt idx="3989">
                  <c:v>42327</c:v>
                </c:pt>
                <c:pt idx="3990">
                  <c:v>42328</c:v>
                </c:pt>
                <c:pt idx="3991">
                  <c:v>42331</c:v>
                </c:pt>
                <c:pt idx="3992">
                  <c:v>42332</c:v>
                </c:pt>
                <c:pt idx="3993">
                  <c:v>42333</c:v>
                </c:pt>
                <c:pt idx="3994">
                  <c:v>42334</c:v>
                </c:pt>
                <c:pt idx="3995">
                  <c:v>42335</c:v>
                </c:pt>
                <c:pt idx="3996">
                  <c:v>42338</c:v>
                </c:pt>
                <c:pt idx="3997">
                  <c:v>42339</c:v>
                </c:pt>
                <c:pt idx="3998">
                  <c:v>42340</c:v>
                </c:pt>
                <c:pt idx="3999">
                  <c:v>42341</c:v>
                </c:pt>
                <c:pt idx="4000">
                  <c:v>42345</c:v>
                </c:pt>
                <c:pt idx="4001">
                  <c:v>42346</c:v>
                </c:pt>
                <c:pt idx="4002">
                  <c:v>42347</c:v>
                </c:pt>
                <c:pt idx="4003">
                  <c:v>42348</c:v>
                </c:pt>
                <c:pt idx="4004">
                  <c:v>42349</c:v>
                </c:pt>
                <c:pt idx="4005">
                  <c:v>42352</c:v>
                </c:pt>
                <c:pt idx="4006">
                  <c:v>42353</c:v>
                </c:pt>
                <c:pt idx="4007">
                  <c:v>42354</c:v>
                </c:pt>
                <c:pt idx="4008">
                  <c:v>42355</c:v>
                </c:pt>
                <c:pt idx="4009">
                  <c:v>42356</c:v>
                </c:pt>
                <c:pt idx="4010">
                  <c:v>42359</c:v>
                </c:pt>
                <c:pt idx="4011">
                  <c:v>42360</c:v>
                </c:pt>
                <c:pt idx="4012">
                  <c:v>42361</c:v>
                </c:pt>
                <c:pt idx="4013">
                  <c:v>42362</c:v>
                </c:pt>
                <c:pt idx="4014">
                  <c:v>42366</c:v>
                </c:pt>
                <c:pt idx="4015">
                  <c:v>42367</c:v>
                </c:pt>
                <c:pt idx="4016">
                  <c:v>42368</c:v>
                </c:pt>
                <c:pt idx="4017">
                  <c:v>42369</c:v>
                </c:pt>
                <c:pt idx="4018">
                  <c:v>42373</c:v>
                </c:pt>
                <c:pt idx="4019">
                  <c:v>42374</c:v>
                </c:pt>
                <c:pt idx="4020">
                  <c:v>42375</c:v>
                </c:pt>
                <c:pt idx="4021">
                  <c:v>42376</c:v>
                </c:pt>
                <c:pt idx="4022">
                  <c:v>42377</c:v>
                </c:pt>
                <c:pt idx="4023">
                  <c:v>42380</c:v>
                </c:pt>
                <c:pt idx="4024">
                  <c:v>42381</c:v>
                </c:pt>
                <c:pt idx="4025">
                  <c:v>42382</c:v>
                </c:pt>
                <c:pt idx="4026">
                  <c:v>42383</c:v>
                </c:pt>
                <c:pt idx="4027">
                  <c:v>42384</c:v>
                </c:pt>
                <c:pt idx="4028">
                  <c:v>42387</c:v>
                </c:pt>
                <c:pt idx="4029">
                  <c:v>42388</c:v>
                </c:pt>
                <c:pt idx="4030">
                  <c:v>42389</c:v>
                </c:pt>
                <c:pt idx="4031">
                  <c:v>42390</c:v>
                </c:pt>
                <c:pt idx="4032">
                  <c:v>42391</c:v>
                </c:pt>
                <c:pt idx="4033">
                  <c:v>42394</c:v>
                </c:pt>
                <c:pt idx="4034">
                  <c:v>42395</c:v>
                </c:pt>
                <c:pt idx="4035">
                  <c:v>42396</c:v>
                </c:pt>
                <c:pt idx="4036">
                  <c:v>42397</c:v>
                </c:pt>
                <c:pt idx="4037">
                  <c:v>42398</c:v>
                </c:pt>
                <c:pt idx="4038">
                  <c:v>42401</c:v>
                </c:pt>
                <c:pt idx="4039">
                  <c:v>42402</c:v>
                </c:pt>
                <c:pt idx="4040">
                  <c:v>42403</c:v>
                </c:pt>
                <c:pt idx="4041">
                  <c:v>42404</c:v>
                </c:pt>
                <c:pt idx="4042">
                  <c:v>42405</c:v>
                </c:pt>
                <c:pt idx="4043">
                  <c:v>42410</c:v>
                </c:pt>
                <c:pt idx="4044">
                  <c:v>42411</c:v>
                </c:pt>
                <c:pt idx="4045">
                  <c:v>42412</c:v>
                </c:pt>
                <c:pt idx="4046">
                  <c:v>42415</c:v>
                </c:pt>
                <c:pt idx="4047">
                  <c:v>42416</c:v>
                </c:pt>
                <c:pt idx="4048">
                  <c:v>42417</c:v>
                </c:pt>
                <c:pt idx="4049">
                  <c:v>42418</c:v>
                </c:pt>
                <c:pt idx="4050">
                  <c:v>42419</c:v>
                </c:pt>
                <c:pt idx="4051">
                  <c:v>42422</c:v>
                </c:pt>
                <c:pt idx="4052">
                  <c:v>42423</c:v>
                </c:pt>
                <c:pt idx="4053">
                  <c:v>42424</c:v>
                </c:pt>
                <c:pt idx="4054">
                  <c:v>42425</c:v>
                </c:pt>
                <c:pt idx="4055">
                  <c:v>42426</c:v>
                </c:pt>
                <c:pt idx="4056">
                  <c:v>42429</c:v>
                </c:pt>
                <c:pt idx="4057">
                  <c:v>42430</c:v>
                </c:pt>
                <c:pt idx="4058">
                  <c:v>42431</c:v>
                </c:pt>
                <c:pt idx="4059">
                  <c:v>42432</c:v>
                </c:pt>
                <c:pt idx="4060">
                  <c:v>42433</c:v>
                </c:pt>
                <c:pt idx="4061">
                  <c:v>42436</c:v>
                </c:pt>
                <c:pt idx="4062">
                  <c:v>42437</c:v>
                </c:pt>
                <c:pt idx="4063">
                  <c:v>42438</c:v>
                </c:pt>
                <c:pt idx="4064">
                  <c:v>42439</c:v>
                </c:pt>
                <c:pt idx="4065">
                  <c:v>42440</c:v>
                </c:pt>
                <c:pt idx="4066">
                  <c:v>42443</c:v>
                </c:pt>
                <c:pt idx="4067">
                  <c:v>42444</c:v>
                </c:pt>
                <c:pt idx="4068">
                  <c:v>42445</c:v>
                </c:pt>
                <c:pt idx="4069">
                  <c:v>42446</c:v>
                </c:pt>
                <c:pt idx="4070">
                  <c:v>42447</c:v>
                </c:pt>
                <c:pt idx="4071">
                  <c:v>42450</c:v>
                </c:pt>
                <c:pt idx="4072">
                  <c:v>42451</c:v>
                </c:pt>
                <c:pt idx="4073">
                  <c:v>42452</c:v>
                </c:pt>
                <c:pt idx="4074">
                  <c:v>42453</c:v>
                </c:pt>
                <c:pt idx="4075">
                  <c:v>42457</c:v>
                </c:pt>
                <c:pt idx="4076">
                  <c:v>42458</c:v>
                </c:pt>
                <c:pt idx="4077">
                  <c:v>42459</c:v>
                </c:pt>
                <c:pt idx="4078">
                  <c:v>42460</c:v>
                </c:pt>
                <c:pt idx="4079">
                  <c:v>42461</c:v>
                </c:pt>
                <c:pt idx="4080">
                  <c:v>42464</c:v>
                </c:pt>
                <c:pt idx="4081">
                  <c:v>42465</c:v>
                </c:pt>
                <c:pt idx="4082">
                  <c:v>42466</c:v>
                </c:pt>
                <c:pt idx="4083">
                  <c:v>42467</c:v>
                </c:pt>
                <c:pt idx="4084">
                  <c:v>42468</c:v>
                </c:pt>
                <c:pt idx="4085">
                  <c:v>42471</c:v>
                </c:pt>
                <c:pt idx="4086">
                  <c:v>42472</c:v>
                </c:pt>
                <c:pt idx="4087">
                  <c:v>42473</c:v>
                </c:pt>
                <c:pt idx="4088">
                  <c:v>42474</c:v>
                </c:pt>
                <c:pt idx="4089">
                  <c:v>42475</c:v>
                </c:pt>
                <c:pt idx="4090">
                  <c:v>42478</c:v>
                </c:pt>
                <c:pt idx="4091">
                  <c:v>42479</c:v>
                </c:pt>
                <c:pt idx="4092">
                  <c:v>42480</c:v>
                </c:pt>
                <c:pt idx="4093">
                  <c:v>42482</c:v>
                </c:pt>
                <c:pt idx="4094">
                  <c:v>42485</c:v>
                </c:pt>
                <c:pt idx="4095">
                  <c:v>42486</c:v>
                </c:pt>
                <c:pt idx="4096">
                  <c:v>42487</c:v>
                </c:pt>
                <c:pt idx="4097">
                  <c:v>42488</c:v>
                </c:pt>
                <c:pt idx="4098">
                  <c:v>42489</c:v>
                </c:pt>
                <c:pt idx="4099">
                  <c:v>42492</c:v>
                </c:pt>
                <c:pt idx="4100">
                  <c:v>42493</c:v>
                </c:pt>
                <c:pt idx="4101">
                  <c:v>42494</c:v>
                </c:pt>
                <c:pt idx="4102">
                  <c:v>42495</c:v>
                </c:pt>
                <c:pt idx="4103">
                  <c:v>42496</c:v>
                </c:pt>
                <c:pt idx="4104">
                  <c:v>42499</c:v>
                </c:pt>
                <c:pt idx="4105">
                  <c:v>42500</c:v>
                </c:pt>
                <c:pt idx="4106">
                  <c:v>42501</c:v>
                </c:pt>
                <c:pt idx="4107">
                  <c:v>42502</c:v>
                </c:pt>
                <c:pt idx="4108">
                  <c:v>42503</c:v>
                </c:pt>
                <c:pt idx="4109">
                  <c:v>42506</c:v>
                </c:pt>
                <c:pt idx="4110">
                  <c:v>42507</c:v>
                </c:pt>
                <c:pt idx="4111">
                  <c:v>42508</c:v>
                </c:pt>
                <c:pt idx="4112">
                  <c:v>42509</c:v>
                </c:pt>
                <c:pt idx="4113">
                  <c:v>42510</c:v>
                </c:pt>
                <c:pt idx="4114">
                  <c:v>42513</c:v>
                </c:pt>
                <c:pt idx="4115">
                  <c:v>42514</c:v>
                </c:pt>
                <c:pt idx="4116">
                  <c:v>42515</c:v>
                </c:pt>
                <c:pt idx="4117">
                  <c:v>42517</c:v>
                </c:pt>
                <c:pt idx="4118">
                  <c:v>42520</c:v>
                </c:pt>
                <c:pt idx="4119">
                  <c:v>42521</c:v>
                </c:pt>
                <c:pt idx="4120">
                  <c:v>42522</c:v>
                </c:pt>
                <c:pt idx="4121">
                  <c:v>42523</c:v>
                </c:pt>
                <c:pt idx="4122">
                  <c:v>42524</c:v>
                </c:pt>
                <c:pt idx="4123">
                  <c:v>42527</c:v>
                </c:pt>
                <c:pt idx="4124">
                  <c:v>42528</c:v>
                </c:pt>
                <c:pt idx="4125">
                  <c:v>42529</c:v>
                </c:pt>
                <c:pt idx="4126">
                  <c:v>42530</c:v>
                </c:pt>
                <c:pt idx="4127">
                  <c:v>42531</c:v>
                </c:pt>
                <c:pt idx="4128">
                  <c:v>42534</c:v>
                </c:pt>
                <c:pt idx="4129">
                  <c:v>42535</c:v>
                </c:pt>
                <c:pt idx="4130">
                  <c:v>42536</c:v>
                </c:pt>
                <c:pt idx="4131">
                  <c:v>42537</c:v>
                </c:pt>
                <c:pt idx="4132">
                  <c:v>42538</c:v>
                </c:pt>
                <c:pt idx="4133">
                  <c:v>42541</c:v>
                </c:pt>
                <c:pt idx="4134">
                  <c:v>42542</c:v>
                </c:pt>
                <c:pt idx="4135">
                  <c:v>42543</c:v>
                </c:pt>
                <c:pt idx="4136">
                  <c:v>42544</c:v>
                </c:pt>
                <c:pt idx="4137">
                  <c:v>42545</c:v>
                </c:pt>
                <c:pt idx="4138">
                  <c:v>42548</c:v>
                </c:pt>
                <c:pt idx="4139">
                  <c:v>42549</c:v>
                </c:pt>
                <c:pt idx="4140">
                  <c:v>42550</c:v>
                </c:pt>
                <c:pt idx="4141">
                  <c:v>42551</c:v>
                </c:pt>
                <c:pt idx="4142">
                  <c:v>42552</c:v>
                </c:pt>
                <c:pt idx="4143">
                  <c:v>42555</c:v>
                </c:pt>
                <c:pt idx="4144">
                  <c:v>42556</c:v>
                </c:pt>
                <c:pt idx="4145">
                  <c:v>42557</c:v>
                </c:pt>
                <c:pt idx="4146">
                  <c:v>42558</c:v>
                </c:pt>
                <c:pt idx="4147">
                  <c:v>42559</c:v>
                </c:pt>
                <c:pt idx="4148">
                  <c:v>42562</c:v>
                </c:pt>
                <c:pt idx="4149">
                  <c:v>42563</c:v>
                </c:pt>
                <c:pt idx="4150">
                  <c:v>42564</c:v>
                </c:pt>
                <c:pt idx="4151">
                  <c:v>42565</c:v>
                </c:pt>
                <c:pt idx="4152">
                  <c:v>42566</c:v>
                </c:pt>
                <c:pt idx="4153">
                  <c:v>42569</c:v>
                </c:pt>
                <c:pt idx="4154">
                  <c:v>42570</c:v>
                </c:pt>
                <c:pt idx="4155">
                  <c:v>42571</c:v>
                </c:pt>
                <c:pt idx="4156">
                  <c:v>42572</c:v>
                </c:pt>
                <c:pt idx="4157">
                  <c:v>42573</c:v>
                </c:pt>
                <c:pt idx="4158">
                  <c:v>42576</c:v>
                </c:pt>
                <c:pt idx="4159">
                  <c:v>42577</c:v>
                </c:pt>
                <c:pt idx="4160">
                  <c:v>42578</c:v>
                </c:pt>
                <c:pt idx="4161">
                  <c:v>42579</c:v>
                </c:pt>
                <c:pt idx="4162">
                  <c:v>42580</c:v>
                </c:pt>
                <c:pt idx="4163">
                  <c:v>42583</c:v>
                </c:pt>
                <c:pt idx="4164">
                  <c:v>42584</c:v>
                </c:pt>
                <c:pt idx="4165">
                  <c:v>42585</c:v>
                </c:pt>
                <c:pt idx="4166">
                  <c:v>42586</c:v>
                </c:pt>
                <c:pt idx="4167">
                  <c:v>42587</c:v>
                </c:pt>
                <c:pt idx="4168">
                  <c:v>42590</c:v>
                </c:pt>
                <c:pt idx="4169">
                  <c:v>42591</c:v>
                </c:pt>
                <c:pt idx="4170">
                  <c:v>42592</c:v>
                </c:pt>
                <c:pt idx="4171">
                  <c:v>42593</c:v>
                </c:pt>
                <c:pt idx="4172">
                  <c:v>42594</c:v>
                </c:pt>
                <c:pt idx="4173">
                  <c:v>42597</c:v>
                </c:pt>
                <c:pt idx="4174">
                  <c:v>42598</c:v>
                </c:pt>
                <c:pt idx="4175">
                  <c:v>42599</c:v>
                </c:pt>
                <c:pt idx="4176">
                  <c:v>42600</c:v>
                </c:pt>
                <c:pt idx="4177">
                  <c:v>42601</c:v>
                </c:pt>
                <c:pt idx="4178">
                  <c:v>42604</c:v>
                </c:pt>
                <c:pt idx="4179">
                  <c:v>42605</c:v>
                </c:pt>
                <c:pt idx="4180">
                  <c:v>42606</c:v>
                </c:pt>
                <c:pt idx="4181">
                  <c:v>42607</c:v>
                </c:pt>
                <c:pt idx="4182">
                  <c:v>42608</c:v>
                </c:pt>
                <c:pt idx="4183">
                  <c:v>42611</c:v>
                </c:pt>
                <c:pt idx="4184">
                  <c:v>42612</c:v>
                </c:pt>
                <c:pt idx="4185">
                  <c:v>42613</c:v>
                </c:pt>
                <c:pt idx="4186">
                  <c:v>42614</c:v>
                </c:pt>
                <c:pt idx="4187">
                  <c:v>42615</c:v>
                </c:pt>
                <c:pt idx="4188">
                  <c:v>42618</c:v>
                </c:pt>
                <c:pt idx="4189">
                  <c:v>42619</c:v>
                </c:pt>
                <c:pt idx="4190">
                  <c:v>42621</c:v>
                </c:pt>
                <c:pt idx="4191">
                  <c:v>42622</c:v>
                </c:pt>
                <c:pt idx="4192">
                  <c:v>42625</c:v>
                </c:pt>
                <c:pt idx="4193">
                  <c:v>42626</c:v>
                </c:pt>
                <c:pt idx="4194">
                  <c:v>42627</c:v>
                </c:pt>
                <c:pt idx="4195">
                  <c:v>42628</c:v>
                </c:pt>
                <c:pt idx="4196">
                  <c:v>42629</c:v>
                </c:pt>
                <c:pt idx="4197">
                  <c:v>42632</c:v>
                </c:pt>
                <c:pt idx="4198">
                  <c:v>42633</c:v>
                </c:pt>
                <c:pt idx="4199">
                  <c:v>42634</c:v>
                </c:pt>
                <c:pt idx="4200">
                  <c:v>42635</c:v>
                </c:pt>
                <c:pt idx="4201">
                  <c:v>42636</c:v>
                </c:pt>
                <c:pt idx="4202">
                  <c:v>42639</c:v>
                </c:pt>
                <c:pt idx="4203">
                  <c:v>42640</c:v>
                </c:pt>
                <c:pt idx="4204">
                  <c:v>42641</c:v>
                </c:pt>
                <c:pt idx="4205">
                  <c:v>42642</c:v>
                </c:pt>
                <c:pt idx="4206">
                  <c:v>42643</c:v>
                </c:pt>
                <c:pt idx="4207">
                  <c:v>42646</c:v>
                </c:pt>
                <c:pt idx="4208">
                  <c:v>42647</c:v>
                </c:pt>
                <c:pt idx="4209">
                  <c:v>42648</c:v>
                </c:pt>
                <c:pt idx="4210">
                  <c:v>42649</c:v>
                </c:pt>
                <c:pt idx="4211">
                  <c:v>42650</c:v>
                </c:pt>
                <c:pt idx="4212">
                  <c:v>42653</c:v>
                </c:pt>
                <c:pt idx="4213">
                  <c:v>42654</c:v>
                </c:pt>
                <c:pt idx="4214">
                  <c:v>42656</c:v>
                </c:pt>
                <c:pt idx="4215">
                  <c:v>42657</c:v>
                </c:pt>
                <c:pt idx="4216">
                  <c:v>42660</c:v>
                </c:pt>
                <c:pt idx="4217">
                  <c:v>42661</c:v>
                </c:pt>
                <c:pt idx="4218">
                  <c:v>42662</c:v>
                </c:pt>
                <c:pt idx="4219">
                  <c:v>42663</c:v>
                </c:pt>
                <c:pt idx="4220">
                  <c:v>42664</c:v>
                </c:pt>
                <c:pt idx="4221">
                  <c:v>42667</c:v>
                </c:pt>
                <c:pt idx="4222">
                  <c:v>42668</c:v>
                </c:pt>
                <c:pt idx="4223">
                  <c:v>42669</c:v>
                </c:pt>
                <c:pt idx="4224">
                  <c:v>42670</c:v>
                </c:pt>
                <c:pt idx="4225">
                  <c:v>42671</c:v>
                </c:pt>
                <c:pt idx="4226">
                  <c:v>42674</c:v>
                </c:pt>
                <c:pt idx="4227">
                  <c:v>42675</c:v>
                </c:pt>
                <c:pt idx="4228">
                  <c:v>42677</c:v>
                </c:pt>
                <c:pt idx="4229">
                  <c:v>42678</c:v>
                </c:pt>
                <c:pt idx="4230">
                  <c:v>42681</c:v>
                </c:pt>
                <c:pt idx="4231">
                  <c:v>42682</c:v>
                </c:pt>
                <c:pt idx="4232">
                  <c:v>42683</c:v>
                </c:pt>
                <c:pt idx="4233">
                  <c:v>42684</c:v>
                </c:pt>
                <c:pt idx="4234">
                  <c:v>42685</c:v>
                </c:pt>
                <c:pt idx="4235">
                  <c:v>42688</c:v>
                </c:pt>
                <c:pt idx="4236">
                  <c:v>42690</c:v>
                </c:pt>
                <c:pt idx="4237">
                  <c:v>42691</c:v>
                </c:pt>
                <c:pt idx="4238">
                  <c:v>42692</c:v>
                </c:pt>
                <c:pt idx="4239">
                  <c:v>42695</c:v>
                </c:pt>
                <c:pt idx="4240">
                  <c:v>42696</c:v>
                </c:pt>
                <c:pt idx="4241">
                  <c:v>42697</c:v>
                </c:pt>
                <c:pt idx="4242">
                  <c:v>42698</c:v>
                </c:pt>
                <c:pt idx="4243">
                  <c:v>42699</c:v>
                </c:pt>
                <c:pt idx="4244">
                  <c:v>42702</c:v>
                </c:pt>
                <c:pt idx="4245">
                  <c:v>42703</c:v>
                </c:pt>
                <c:pt idx="4246">
                  <c:v>42704</c:v>
                </c:pt>
                <c:pt idx="4247">
                  <c:v>42705</c:v>
                </c:pt>
                <c:pt idx="4248">
                  <c:v>42706</c:v>
                </c:pt>
                <c:pt idx="4249">
                  <c:v>42709</c:v>
                </c:pt>
                <c:pt idx="4250">
                  <c:v>42710</c:v>
                </c:pt>
                <c:pt idx="4251">
                  <c:v>42711</c:v>
                </c:pt>
                <c:pt idx="4252">
                  <c:v>42712</c:v>
                </c:pt>
                <c:pt idx="4253">
                  <c:v>42713</c:v>
                </c:pt>
                <c:pt idx="4254">
                  <c:v>42716</c:v>
                </c:pt>
                <c:pt idx="4255">
                  <c:v>42717</c:v>
                </c:pt>
                <c:pt idx="4256">
                  <c:v>42718</c:v>
                </c:pt>
                <c:pt idx="4257">
                  <c:v>42719</c:v>
                </c:pt>
                <c:pt idx="4258">
                  <c:v>42720</c:v>
                </c:pt>
                <c:pt idx="4259">
                  <c:v>42723</c:v>
                </c:pt>
                <c:pt idx="4260">
                  <c:v>42724</c:v>
                </c:pt>
                <c:pt idx="4261">
                  <c:v>42725</c:v>
                </c:pt>
                <c:pt idx="4262">
                  <c:v>42726</c:v>
                </c:pt>
                <c:pt idx="4263">
                  <c:v>42727</c:v>
                </c:pt>
                <c:pt idx="4264">
                  <c:v>42730</c:v>
                </c:pt>
                <c:pt idx="4265">
                  <c:v>42731</c:v>
                </c:pt>
                <c:pt idx="4266">
                  <c:v>42732</c:v>
                </c:pt>
                <c:pt idx="4267">
                  <c:v>42733</c:v>
                </c:pt>
                <c:pt idx="4268">
                  <c:v>42734</c:v>
                </c:pt>
                <c:pt idx="4269">
                  <c:v>42737</c:v>
                </c:pt>
                <c:pt idx="4270">
                  <c:v>42738</c:v>
                </c:pt>
                <c:pt idx="4271">
                  <c:v>42739</c:v>
                </c:pt>
                <c:pt idx="4272">
                  <c:v>42740</c:v>
                </c:pt>
                <c:pt idx="4273">
                  <c:v>42741</c:v>
                </c:pt>
                <c:pt idx="4274">
                  <c:v>42744</c:v>
                </c:pt>
                <c:pt idx="4275">
                  <c:v>42745</c:v>
                </c:pt>
                <c:pt idx="4276">
                  <c:v>42746</c:v>
                </c:pt>
                <c:pt idx="4277">
                  <c:v>42747</c:v>
                </c:pt>
                <c:pt idx="4278">
                  <c:v>42748</c:v>
                </c:pt>
                <c:pt idx="4279">
                  <c:v>42751</c:v>
                </c:pt>
                <c:pt idx="4280">
                  <c:v>42752</c:v>
                </c:pt>
                <c:pt idx="4281">
                  <c:v>42753</c:v>
                </c:pt>
                <c:pt idx="4282">
                  <c:v>42754</c:v>
                </c:pt>
                <c:pt idx="4283">
                  <c:v>42755</c:v>
                </c:pt>
                <c:pt idx="4284">
                  <c:v>42758</c:v>
                </c:pt>
                <c:pt idx="4285">
                  <c:v>42759</c:v>
                </c:pt>
                <c:pt idx="4286">
                  <c:v>42760</c:v>
                </c:pt>
                <c:pt idx="4287">
                  <c:v>42761</c:v>
                </c:pt>
                <c:pt idx="4288">
                  <c:v>42762</c:v>
                </c:pt>
                <c:pt idx="4289">
                  <c:v>42765</c:v>
                </c:pt>
                <c:pt idx="4290">
                  <c:v>42766</c:v>
                </c:pt>
                <c:pt idx="4291">
                  <c:v>42767</c:v>
                </c:pt>
                <c:pt idx="4292">
                  <c:v>42768</c:v>
                </c:pt>
                <c:pt idx="4293">
                  <c:v>42769</c:v>
                </c:pt>
              </c:numCache>
            </c:numRef>
          </c:cat>
          <c:val>
            <c:numRef>
              <c:f>Plan1!$C$2:$C$4295</c:f>
              <c:numCache>
                <c:formatCode>General</c:formatCode>
                <c:ptCount val="4294"/>
                <c:pt idx="2257">
                  <c:v>9.4177099999999999E-4</c:v>
                </c:pt>
                <c:pt idx="2258">
                  <c:v>9.7061800000000002E-4</c:v>
                </c:pt>
                <c:pt idx="2259">
                  <c:v>9.7153400000000003E-4</c:v>
                </c:pt>
                <c:pt idx="2260">
                  <c:v>9.7245000000000003E-4</c:v>
                </c:pt>
                <c:pt idx="2261">
                  <c:v>9.7336799999999995E-4</c:v>
                </c:pt>
                <c:pt idx="2262">
                  <c:v>9.7428599999999999E-4</c:v>
                </c:pt>
                <c:pt idx="2263">
                  <c:v>9.7520500000000004E-4</c:v>
                </c:pt>
                <c:pt idx="2264">
                  <c:v>9.76125E-4</c:v>
                </c:pt>
                <c:pt idx="2265">
                  <c:v>9.7704600000000008E-4</c:v>
                </c:pt>
                <c:pt idx="2266">
                  <c:v>9.7796699999999994E-4</c:v>
                </c:pt>
                <c:pt idx="2267">
                  <c:v>9.7889000000000006E-4</c:v>
                </c:pt>
                <c:pt idx="2268">
                  <c:v>9.7981299999999995E-4</c:v>
                </c:pt>
                <c:pt idx="2269">
                  <c:v>9.8073699999999997E-4</c:v>
                </c:pt>
                <c:pt idx="2270">
                  <c:v>9.8166300000000002E-4</c:v>
                </c:pt>
                <c:pt idx="2271">
                  <c:v>9.8258900000000008E-4</c:v>
                </c:pt>
                <c:pt idx="2272">
                  <c:v>9.8351499999999991E-4</c:v>
                </c:pt>
                <c:pt idx="2273">
                  <c:v>9.8444299999999999E-4</c:v>
                </c:pt>
                <c:pt idx="2274">
                  <c:v>9.8537199999999998E-4</c:v>
                </c:pt>
                <c:pt idx="2275">
                  <c:v>9.8630099999999997E-4</c:v>
                </c:pt>
                <c:pt idx="2276">
                  <c:v>9.87232E-4</c:v>
                </c:pt>
                <c:pt idx="2277">
                  <c:v>9.8816300000000002E-4</c:v>
                </c:pt>
                <c:pt idx="2278">
                  <c:v>9.8909499999999995E-4</c:v>
                </c:pt>
                <c:pt idx="2279">
                  <c:v>9.90028E-4</c:v>
                </c:pt>
                <c:pt idx="2280">
                  <c:v>9.9096199999999996E-4</c:v>
                </c:pt>
                <c:pt idx="2281">
                  <c:v>9.9189700000000005E-4</c:v>
                </c:pt>
                <c:pt idx="2282">
                  <c:v>9.9283199999999992E-4</c:v>
                </c:pt>
                <c:pt idx="2283">
                  <c:v>9.9376900000000003E-4</c:v>
                </c:pt>
                <c:pt idx="2284">
                  <c:v>9.9470599999999993E-4</c:v>
                </c:pt>
                <c:pt idx="2285">
                  <c:v>9.9564500000000008E-4</c:v>
                </c:pt>
                <c:pt idx="2286">
                  <c:v>9.9658400000000001E-4</c:v>
                </c:pt>
                <c:pt idx="2287">
                  <c:v>9.9752400000000007E-4</c:v>
                </c:pt>
                <c:pt idx="2288">
                  <c:v>9.9846500000000003E-4</c:v>
                </c:pt>
                <c:pt idx="2289">
                  <c:v>9.994069999999999E-4</c:v>
                </c:pt>
                <c:pt idx="2290">
                  <c:v>1.000349E-3</c:v>
                </c:pt>
                <c:pt idx="2291">
                  <c:v>1.0012930000000001E-3</c:v>
                </c:pt>
                <c:pt idx="2292">
                  <c:v>1.0022379999999999E-3</c:v>
                </c:pt>
                <c:pt idx="2293">
                  <c:v>1.0041290000000001E-3</c:v>
                </c:pt>
                <c:pt idx="2294">
                  <c:v>1.0041290000000001E-3</c:v>
                </c:pt>
                <c:pt idx="2295">
                  <c:v>1.0050759999999999E-3</c:v>
                </c:pt>
                <c:pt idx="2296">
                  <c:v>1.006025E-3</c:v>
                </c:pt>
                <c:pt idx="2297">
                  <c:v>1.0069740000000001E-3</c:v>
                </c:pt>
                <c:pt idx="2298">
                  <c:v>1.007923E-3</c:v>
                </c:pt>
                <c:pt idx="2299">
                  <c:v>1.0088740000000001E-3</c:v>
                </c:pt>
                <c:pt idx="2300">
                  <c:v>1.0098259999999999E-3</c:v>
                </c:pt>
                <c:pt idx="2301">
                  <c:v>1.0107779999999999E-3</c:v>
                </c:pt>
                <c:pt idx="2302">
                  <c:v>1.011732E-3</c:v>
                </c:pt>
                <c:pt idx="2303">
                  <c:v>1.0126860000000001E-3</c:v>
                </c:pt>
                <c:pt idx="2304">
                  <c:v>1.013641E-3</c:v>
                </c:pt>
                <c:pt idx="2305">
                  <c:v>1.014598E-3</c:v>
                </c:pt>
                <c:pt idx="2306">
                  <c:v>1.015555E-3</c:v>
                </c:pt>
                <c:pt idx="2307">
                  <c:v>1.0165129999999999E-3</c:v>
                </c:pt>
                <c:pt idx="2308">
                  <c:v>1.017472E-3</c:v>
                </c:pt>
                <c:pt idx="2309">
                  <c:v>1.018431E-3</c:v>
                </c:pt>
                <c:pt idx="2310">
                  <c:v>1.019392E-3</c:v>
                </c:pt>
                <c:pt idx="2311">
                  <c:v>1.020354E-3</c:v>
                </c:pt>
                <c:pt idx="2312">
                  <c:v>1.021316E-3</c:v>
                </c:pt>
                <c:pt idx="2313">
                  <c:v>1.0222790000000001E-3</c:v>
                </c:pt>
                <c:pt idx="2314">
                  <c:v>1.023244E-3</c:v>
                </c:pt>
                <c:pt idx="2315">
                  <c:v>1.0242090000000001E-3</c:v>
                </c:pt>
                <c:pt idx="2316">
                  <c:v>1.0251749999999999E-3</c:v>
                </c:pt>
                <c:pt idx="2317">
                  <c:v>1.0261420000000001E-3</c:v>
                </c:pt>
                <c:pt idx="2318">
                  <c:v>1.0271099999999999E-3</c:v>
                </c:pt>
                <c:pt idx="2319">
                  <c:v>1.0280790000000001E-3</c:v>
                </c:pt>
                <c:pt idx="2320">
                  <c:v>1.029049E-3</c:v>
                </c:pt>
                <c:pt idx="2321">
                  <c:v>1.03002E-3</c:v>
                </c:pt>
                <c:pt idx="2322">
                  <c:v>1.030991E-3</c:v>
                </c:pt>
                <c:pt idx="2323">
                  <c:v>1.031964E-3</c:v>
                </c:pt>
                <c:pt idx="2324">
                  <c:v>1.032937E-3</c:v>
                </c:pt>
                <c:pt idx="2325">
                  <c:v>1.033911E-3</c:v>
                </c:pt>
                <c:pt idx="2326">
                  <c:v>1.034887E-3</c:v>
                </c:pt>
                <c:pt idx="2327">
                  <c:v>1.0358629999999999E-3</c:v>
                </c:pt>
                <c:pt idx="2328">
                  <c:v>1.03684E-3</c:v>
                </c:pt>
                <c:pt idx="2329">
                  <c:v>1.037818E-3</c:v>
                </c:pt>
                <c:pt idx="2330">
                  <c:v>1.0387969999999999E-3</c:v>
                </c:pt>
                <c:pt idx="2331">
                  <c:v>1.039777E-3</c:v>
                </c:pt>
                <c:pt idx="2332">
                  <c:v>1.0407579999999999E-3</c:v>
                </c:pt>
                <c:pt idx="2333">
                  <c:v>1.04174E-3</c:v>
                </c:pt>
                <c:pt idx="2334">
                  <c:v>1.042722E-3</c:v>
                </c:pt>
                <c:pt idx="2335">
                  <c:v>1.0437059999999999E-3</c:v>
                </c:pt>
                <c:pt idx="2336">
                  <c:v>1.04469E-3</c:v>
                </c:pt>
                <c:pt idx="2337">
                  <c:v>1.0456759999999999E-3</c:v>
                </c:pt>
                <c:pt idx="2338">
                  <c:v>1.0466620000000001E-3</c:v>
                </c:pt>
                <c:pt idx="2339">
                  <c:v>1.0476490000000001E-3</c:v>
                </c:pt>
                <c:pt idx="2340">
                  <c:v>1.048638E-3</c:v>
                </c:pt>
                <c:pt idx="2341">
                  <c:v>1.049627E-3</c:v>
                </c:pt>
                <c:pt idx="2342">
                  <c:v>1.050617E-3</c:v>
                </c:pt>
                <c:pt idx="2343">
                  <c:v>1.0516080000000001E-3</c:v>
                </c:pt>
                <c:pt idx="2344">
                  <c:v>1.0526000000000001E-3</c:v>
                </c:pt>
                <c:pt idx="2345">
                  <c:v>1.053593E-3</c:v>
                </c:pt>
                <c:pt idx="2346">
                  <c:v>1.0545870000000001E-3</c:v>
                </c:pt>
                <c:pt idx="2347">
                  <c:v>1.055582E-3</c:v>
                </c:pt>
                <c:pt idx="2348">
                  <c:v>1.056577E-3</c:v>
                </c:pt>
                <c:pt idx="2349">
                  <c:v>1.0575739999999999E-3</c:v>
                </c:pt>
                <c:pt idx="2350">
                  <c:v>1.058572E-3</c:v>
                </c:pt>
                <c:pt idx="2351">
                  <c:v>1.0595699999999999E-3</c:v>
                </c:pt>
                <c:pt idx="2352">
                  <c:v>1.06057E-3</c:v>
                </c:pt>
                <c:pt idx="2353">
                  <c:v>1.06157E-3</c:v>
                </c:pt>
                <c:pt idx="2354">
                  <c:v>1.062571E-3</c:v>
                </c:pt>
                <c:pt idx="2355">
                  <c:v>1.0635740000000001E-3</c:v>
                </c:pt>
                <c:pt idx="2356">
                  <c:v>1.0645769999999999E-3</c:v>
                </c:pt>
                <c:pt idx="2357">
                  <c:v>1.0655809999999999E-3</c:v>
                </c:pt>
                <c:pt idx="2358">
                  <c:v>1.066586E-3</c:v>
                </c:pt>
                <c:pt idx="2359">
                  <c:v>1.067592E-3</c:v>
                </c:pt>
                <c:pt idx="2360">
                  <c:v>1.0686000000000001E-3</c:v>
                </c:pt>
                <c:pt idx="2361">
                  <c:v>1.0696080000000001E-3</c:v>
                </c:pt>
                <c:pt idx="2362">
                  <c:v>1.0706159999999999E-3</c:v>
                </c:pt>
                <c:pt idx="2363">
                  <c:v>1.071626E-3</c:v>
                </c:pt>
                <c:pt idx="2364">
                  <c:v>1.072637E-3</c:v>
                </c:pt>
                <c:pt idx="2365">
                  <c:v>1.0736490000000001E-3</c:v>
                </c:pt>
                <c:pt idx="2366">
                  <c:v>1.0746620000000001E-3</c:v>
                </c:pt>
                <c:pt idx="2367">
                  <c:v>1.075676E-3</c:v>
                </c:pt>
                <c:pt idx="2368">
                  <c:v>1.0766899999999999E-3</c:v>
                </c:pt>
                <c:pt idx="2369">
                  <c:v>1.0777060000000001E-3</c:v>
                </c:pt>
                <c:pt idx="2370">
                  <c:v>1.0787220000000001E-3</c:v>
                </c:pt>
                <c:pt idx="2371">
                  <c:v>1.07974E-3</c:v>
                </c:pt>
                <c:pt idx="2372">
                  <c:v>1.081778E-3</c:v>
                </c:pt>
                <c:pt idx="2373">
                  <c:v>1.0827980000000001E-3</c:v>
                </c:pt>
                <c:pt idx="2374">
                  <c:v>1.0838200000000001E-3</c:v>
                </c:pt>
                <c:pt idx="2375">
                  <c:v>1.0848419999999999E-3</c:v>
                </c:pt>
                <c:pt idx="2376">
                  <c:v>1.085866E-3</c:v>
                </c:pt>
                <c:pt idx="2377">
                  <c:v>1.0868900000000001E-3</c:v>
                </c:pt>
                <c:pt idx="2378">
                  <c:v>1.0879150000000001E-3</c:v>
                </c:pt>
                <c:pt idx="2379">
                  <c:v>1.088941E-3</c:v>
                </c:pt>
                <c:pt idx="2380">
                  <c:v>1.0899690000000001E-3</c:v>
                </c:pt>
                <c:pt idx="2381">
                  <c:v>1.090997E-3</c:v>
                </c:pt>
                <c:pt idx="2382">
                  <c:v>1.0920260000000001E-3</c:v>
                </c:pt>
                <c:pt idx="2383">
                  <c:v>1.093056E-3</c:v>
                </c:pt>
                <c:pt idx="2384">
                  <c:v>1.0940870000000001E-3</c:v>
                </c:pt>
                <c:pt idx="2385">
                  <c:v>1.0951190000000001E-3</c:v>
                </c:pt>
                <c:pt idx="2386">
                  <c:v>1.096152E-3</c:v>
                </c:pt>
                <c:pt idx="2387">
                  <c:v>1.097186E-3</c:v>
                </c:pt>
                <c:pt idx="2388">
                  <c:v>1.0982209999999999E-3</c:v>
                </c:pt>
                <c:pt idx="2389">
                  <c:v>1.099257E-3</c:v>
                </c:pt>
                <c:pt idx="2390">
                  <c:v>1.1002939999999999E-3</c:v>
                </c:pt>
                <c:pt idx="2391">
                  <c:v>1.101332E-3</c:v>
                </c:pt>
                <c:pt idx="2392">
                  <c:v>1.102371E-3</c:v>
                </c:pt>
                <c:pt idx="2393">
                  <c:v>1.1034110000000001E-3</c:v>
                </c:pt>
                <c:pt idx="2394">
                  <c:v>1.104451E-3</c:v>
                </c:pt>
                <c:pt idx="2395">
                  <c:v>1.1054929999999999E-3</c:v>
                </c:pt>
                <c:pt idx="2396">
                  <c:v>1.106536E-3</c:v>
                </c:pt>
                <c:pt idx="2397">
                  <c:v>1.1075799999999999E-3</c:v>
                </c:pt>
                <c:pt idx="2398">
                  <c:v>1.108625E-3</c:v>
                </c:pt>
                <c:pt idx="2399">
                  <c:v>1.1096700000000001E-3</c:v>
                </c:pt>
                <c:pt idx="2400">
                  <c:v>1.110717E-3</c:v>
                </c:pt>
                <c:pt idx="2401">
                  <c:v>1.111765E-3</c:v>
                </c:pt>
                <c:pt idx="2402">
                  <c:v>1.1128139999999999E-3</c:v>
                </c:pt>
                <c:pt idx="2403">
                  <c:v>1.1138630000000001E-3</c:v>
                </c:pt>
                <c:pt idx="2404">
                  <c:v>1.1149140000000001E-3</c:v>
                </c:pt>
                <c:pt idx="2405">
                  <c:v>1.1159659999999999E-3</c:v>
                </c:pt>
                <c:pt idx="2406">
                  <c:v>1.117018E-3</c:v>
                </c:pt>
                <c:pt idx="2407">
                  <c:v>1.1180719999999999E-3</c:v>
                </c:pt>
                <c:pt idx="2408">
                  <c:v>1.1191269999999999E-3</c:v>
                </c:pt>
                <c:pt idx="2409">
                  <c:v>1.1201819999999999E-3</c:v>
                </c:pt>
                <c:pt idx="2410">
                  <c:v>1.121239E-3</c:v>
                </c:pt>
                <c:pt idx="2411">
                  <c:v>1.122297E-3</c:v>
                </c:pt>
                <c:pt idx="2412">
                  <c:v>1.1233549999999999E-3</c:v>
                </c:pt>
                <c:pt idx="2413">
                  <c:v>1.1244149999999999E-3</c:v>
                </c:pt>
                <c:pt idx="2414">
                  <c:v>1.125476E-3</c:v>
                </c:pt>
                <c:pt idx="2415">
                  <c:v>1.1265369999999999E-3</c:v>
                </c:pt>
                <c:pt idx="2416">
                  <c:v>9.4177099999999999E-4</c:v>
                </c:pt>
                <c:pt idx="2449">
                  <c:v>2.2330464800000002E-2</c:v>
                </c:pt>
                <c:pt idx="2450">
                  <c:v>2.23407339E-2</c:v>
                </c:pt>
                <c:pt idx="2451">
                  <c:v>2.2371569399999999E-2</c:v>
                </c:pt>
                <c:pt idx="2452">
                  <c:v>2.23818574E-2</c:v>
                </c:pt>
                <c:pt idx="2453">
                  <c:v>2.2392150100000001E-2</c:v>
                </c:pt>
                <c:pt idx="2454">
                  <c:v>2.2402447499999999E-2</c:v>
                </c:pt>
                <c:pt idx="2455">
                  <c:v>2.2412749699999998E-2</c:v>
                </c:pt>
                <c:pt idx="2456">
                  <c:v>2.2454005799999999E-2</c:v>
                </c:pt>
                <c:pt idx="2457">
                  <c:v>2.2464331600000002E-2</c:v>
                </c:pt>
                <c:pt idx="2458">
                  <c:v>2.24746623E-2</c:v>
                </c:pt>
                <c:pt idx="2459">
                  <c:v>2.2484997699999999E-2</c:v>
                </c:pt>
                <c:pt idx="2460">
                  <c:v>2.2516032300000002E-2</c:v>
                </c:pt>
                <c:pt idx="2461">
                  <c:v>2.2526386699999998E-2</c:v>
                </c:pt>
                <c:pt idx="2462">
                  <c:v>2.2536745899999999E-2</c:v>
                </c:pt>
                <c:pt idx="2463">
                  <c:v>2.2547109799999999E-2</c:v>
                </c:pt>
                <c:pt idx="2464">
                  <c:v>2.2557478499999999E-2</c:v>
                </c:pt>
                <c:pt idx="2465">
                  <c:v>2.25886132E-2</c:v>
                </c:pt>
                <c:pt idx="2466">
                  <c:v>2.2599001000000001E-2</c:v>
                </c:pt>
                <c:pt idx="2467">
                  <c:v>2.2609393500000002E-2</c:v>
                </c:pt>
                <c:pt idx="2468">
                  <c:v>2.2614123109999999E-2</c:v>
                </c:pt>
                <c:pt idx="2469">
                  <c:v>2.2624327100000001E-2</c:v>
                </c:pt>
                <c:pt idx="2470">
                  <c:v>2.266518922E-2</c:v>
                </c:pt>
                <c:pt idx="2471">
                  <c:v>2.2675416260000001E-2</c:v>
                </c:pt>
                <c:pt idx="2472">
                  <c:v>2.268564793E-2</c:v>
                </c:pt>
                <c:pt idx="2473">
                  <c:v>2.2695884199999999E-2</c:v>
                </c:pt>
                <c:pt idx="2474">
                  <c:v>2.2726620770000001E-2</c:v>
                </c:pt>
                <c:pt idx="2475">
                  <c:v>2.2736875559999998E-2</c:v>
                </c:pt>
                <c:pt idx="2476">
                  <c:v>2.274713494E-2</c:v>
                </c:pt>
                <c:pt idx="2477">
                  <c:v>2.2757398969999999E-2</c:v>
                </c:pt>
                <c:pt idx="2478">
                  <c:v>2.2767667639999999E-2</c:v>
                </c:pt>
                <c:pt idx="2479">
                  <c:v>2.2798501410000001E-2</c:v>
                </c:pt>
                <c:pt idx="2480">
                  <c:v>2.280878863E-2</c:v>
                </c:pt>
                <c:pt idx="2481">
                  <c:v>2.281908044E-2</c:v>
                </c:pt>
                <c:pt idx="2482">
                  <c:v>2.2829376960000002E-2</c:v>
                </c:pt>
                <c:pt idx="2483">
                  <c:v>2.2839678089999999E-2</c:v>
                </c:pt>
                <c:pt idx="2484">
                  <c:v>2.2870609399999998E-2</c:v>
                </c:pt>
                <c:pt idx="2485">
                  <c:v>2.2880929139999999E-2</c:v>
                </c:pt>
                <c:pt idx="2486">
                  <c:v>2.2891253530000003E-2</c:v>
                </c:pt>
                <c:pt idx="2487">
                  <c:v>2.2901582600000001E-2</c:v>
                </c:pt>
                <c:pt idx="2488">
                  <c:v>2.291191632E-2</c:v>
                </c:pt>
                <c:pt idx="2489">
                  <c:v>2.2942945449999998E-2</c:v>
                </c:pt>
                <c:pt idx="2490">
                  <c:v>2.2953297829999997E-2</c:v>
                </c:pt>
                <c:pt idx="2491">
                  <c:v>2.2963654899999998E-2</c:v>
                </c:pt>
                <c:pt idx="2492">
                  <c:v>2.297401659E-2</c:v>
                </c:pt>
                <c:pt idx="2493">
                  <c:v>2.2984383019999999E-2</c:v>
                </c:pt>
                <c:pt idx="2494">
                  <c:v>2.30155103E-2</c:v>
                </c:pt>
                <c:pt idx="2495">
                  <c:v>2.3025895420000001E-2</c:v>
                </c:pt>
                <c:pt idx="2496">
                  <c:v>2.303628521E-2</c:v>
                </c:pt>
                <c:pt idx="2497">
                  <c:v>2.304667971E-2</c:v>
                </c:pt>
                <c:pt idx="2498">
                  <c:v>2.30570789E-2</c:v>
                </c:pt>
                <c:pt idx="2499">
                  <c:v>2.3088304630000001E-2</c:v>
                </c:pt>
                <c:pt idx="2500">
                  <c:v>2.3098722610000001E-2</c:v>
                </c:pt>
                <c:pt idx="2501">
                  <c:v>2.310914528E-2</c:v>
                </c:pt>
                <c:pt idx="2502">
                  <c:v>2.3119572660000001E-2</c:v>
                </c:pt>
                <c:pt idx="2503">
                  <c:v>2.3130004739999998E-2</c:v>
                </c:pt>
                <c:pt idx="2504">
                  <c:v>2.3161329239999997E-2</c:v>
                </c:pt>
                <c:pt idx="2505">
                  <c:v>2.3171780149999998E-2</c:v>
                </c:pt>
                <c:pt idx="2506">
                  <c:v>2.3182235789999998E-2</c:v>
                </c:pt>
                <c:pt idx="2507">
                  <c:v>2.3192696149999997E-2</c:v>
                </c:pt>
                <c:pt idx="2508">
                  <c:v>2.3234584789999999E-2</c:v>
                </c:pt>
                <c:pt idx="2509">
                  <c:v>2.3245068769999998E-2</c:v>
                </c:pt>
                <c:pt idx="2510">
                  <c:v>2.3255557489999999E-2</c:v>
                </c:pt>
                <c:pt idx="2511">
                  <c:v>2.3266050920000003E-2</c:v>
                </c:pt>
                <c:pt idx="2512">
                  <c:v>2.3308072059999997E-2</c:v>
                </c:pt>
                <c:pt idx="2513">
                  <c:v>2.3318589190000003E-2</c:v>
                </c:pt>
                <c:pt idx="2514">
                  <c:v>2.3329111070000002E-2</c:v>
                </c:pt>
                <c:pt idx="2515">
                  <c:v>2.333963771E-2</c:v>
                </c:pt>
                <c:pt idx="2516">
                  <c:v>2.3350169090000001E-2</c:v>
                </c:pt>
                <c:pt idx="2517">
                  <c:v>2.3381791739999998E-2</c:v>
                </c:pt>
                <c:pt idx="2518">
                  <c:v>2.339234213E-2</c:v>
                </c:pt>
                <c:pt idx="2519">
                  <c:v>2.3402897299999999E-2</c:v>
                </c:pt>
                <c:pt idx="2520">
                  <c:v>2.3413457219999999E-2</c:v>
                </c:pt>
                <c:pt idx="2521">
                  <c:v>2.3424021920000003E-2</c:v>
                </c:pt>
                <c:pt idx="2522">
                  <c:v>2.3455744590000001E-2</c:v>
                </c:pt>
                <c:pt idx="2523">
                  <c:v>2.3466328379999998E-2</c:v>
                </c:pt>
                <c:pt idx="2524">
                  <c:v>2.3476916899999999E-2</c:v>
                </c:pt>
                <c:pt idx="2525">
                  <c:v>2.3487510230000001E-2</c:v>
                </c:pt>
                <c:pt idx="2526">
                  <c:v>2.3498108340000001E-2</c:v>
                </c:pt>
                <c:pt idx="2527">
                  <c:v>2.352993137E-2</c:v>
                </c:pt>
                <c:pt idx="2528">
                  <c:v>2.3540548600000002E-2</c:v>
                </c:pt>
                <c:pt idx="2529">
                  <c:v>2.3551170649999998E-2</c:v>
                </c:pt>
                <c:pt idx="2530">
                  <c:v>2.3561797449999998E-2</c:v>
                </c:pt>
                <c:pt idx="2531">
                  <c:v>2.3572429070000001E-2</c:v>
                </c:pt>
                <c:pt idx="2532">
                  <c:v>2.3604352760000002E-2</c:v>
                </c:pt>
                <c:pt idx="2533">
                  <c:v>2.3615003579999998E-2</c:v>
                </c:pt>
                <c:pt idx="2534">
                  <c:v>2.362565921E-2</c:v>
                </c:pt>
                <c:pt idx="2535">
                  <c:v>2.363631964E-2</c:v>
                </c:pt>
                <c:pt idx="2536">
                  <c:v>2.3646984899999998E-2</c:v>
                </c:pt>
                <c:pt idx="2537">
                  <c:v>2.367900954E-2</c:v>
                </c:pt>
                <c:pt idx="2538">
                  <c:v>2.368969407E-2</c:v>
                </c:pt>
                <c:pt idx="2539">
                  <c:v>2.3700383379999999E-2</c:v>
                </c:pt>
                <c:pt idx="2540">
                  <c:v>2.3711077559999998E-2</c:v>
                </c:pt>
                <c:pt idx="2541">
                  <c:v>2.3721776519999998E-2</c:v>
                </c:pt>
                <c:pt idx="2542">
                  <c:v>2.377534391E-2</c:v>
                </c:pt>
                <c:pt idx="2543">
                  <c:v>2.3786071899999997E-2</c:v>
                </c:pt>
                <c:pt idx="2544">
                  <c:v>2.3796804710000001E-2</c:v>
                </c:pt>
                <c:pt idx="2545">
                  <c:v>2.3829032230000002E-2</c:v>
                </c:pt>
                <c:pt idx="2546">
                  <c:v>2.3839784449999998E-2</c:v>
                </c:pt>
                <c:pt idx="2547">
                  <c:v>2.385054151E-2</c:v>
                </c:pt>
                <c:pt idx="2548">
                  <c:v>2.3861303430000001E-2</c:v>
                </c:pt>
                <c:pt idx="2549">
                  <c:v>2.3872070210000002E-2</c:v>
                </c:pt>
                <c:pt idx="2550">
                  <c:v>2.3904399680000001E-2</c:v>
                </c:pt>
                <c:pt idx="2551">
                  <c:v>2.3915185870000001E-2</c:v>
                </c:pt>
                <c:pt idx="2552">
                  <c:v>2.392597695E-2</c:v>
                </c:pt>
                <c:pt idx="2553">
                  <c:v>2.3936772910000001E-2</c:v>
                </c:pt>
                <c:pt idx="2554">
                  <c:v>2.3947573739999999E-2</c:v>
                </c:pt>
                <c:pt idx="2555">
                  <c:v>2.3980005460000002E-2</c:v>
                </c:pt>
                <c:pt idx="2556">
                  <c:v>2.3990825809999998E-2</c:v>
                </c:pt>
                <c:pt idx="2557">
                  <c:v>2.4001650999999999E-2</c:v>
                </c:pt>
                <c:pt idx="2558">
                  <c:v>2.4012481110000001E-2</c:v>
                </c:pt>
                <c:pt idx="2559">
                  <c:v>2.402331609E-2</c:v>
                </c:pt>
                <c:pt idx="2560">
                  <c:v>2.405585038E-2</c:v>
                </c:pt>
                <c:pt idx="2561">
                  <c:v>2.4066704929999998E-2</c:v>
                </c:pt>
                <c:pt idx="2562">
                  <c:v>2.4077564379999999E-2</c:v>
                </c:pt>
                <c:pt idx="2563">
                  <c:v>2.408842873E-2</c:v>
                </c:pt>
                <c:pt idx="2564">
                  <c:v>2.4099298000000002E-2</c:v>
                </c:pt>
                <c:pt idx="2565">
                  <c:v>2.4131935190000002E-2</c:v>
                </c:pt>
                <c:pt idx="2566">
                  <c:v>2.414282408E-2</c:v>
                </c:pt>
                <c:pt idx="2567">
                  <c:v>2.4153717889999999E-2</c:v>
                </c:pt>
                <c:pt idx="2568">
                  <c:v>2.4164616600000001E-2</c:v>
                </c:pt>
                <c:pt idx="2569">
                  <c:v>2.417552022E-2</c:v>
                </c:pt>
                <c:pt idx="2570">
                  <c:v>2.4208260670000002E-2</c:v>
                </c:pt>
                <c:pt idx="2571">
                  <c:v>2.421918398E-2</c:v>
                </c:pt>
                <c:pt idx="2572">
                  <c:v>2.4230112239999997E-2</c:v>
                </c:pt>
                <c:pt idx="2573">
                  <c:v>2.424104543E-2</c:v>
                </c:pt>
                <c:pt idx="2574">
                  <c:v>2.428482752E-2</c:v>
                </c:pt>
                <c:pt idx="2575">
                  <c:v>2.429578542E-2</c:v>
                </c:pt>
                <c:pt idx="2576">
                  <c:v>2.4306748199999999E-2</c:v>
                </c:pt>
                <c:pt idx="2577">
                  <c:v>2.4317715980000001E-2</c:v>
                </c:pt>
                <c:pt idx="2578">
                  <c:v>2.43286887E-2</c:v>
                </c:pt>
                <c:pt idx="2579">
                  <c:v>2.4361636549999999E-2</c:v>
                </c:pt>
                <c:pt idx="2580">
                  <c:v>2.4372629109999999E-2</c:v>
                </c:pt>
                <c:pt idx="2581">
                  <c:v>2.4383626589999999E-2</c:v>
                </c:pt>
                <c:pt idx="2582">
                  <c:v>2.439462903E-2</c:v>
                </c:pt>
                <c:pt idx="2583">
                  <c:v>2.4405636460000001E-2</c:v>
                </c:pt>
                <c:pt idx="2584">
                  <c:v>2.443868855E-2</c:v>
                </c:pt>
                <c:pt idx="2585">
                  <c:v>2.444971584E-2</c:v>
                </c:pt>
                <c:pt idx="2586">
                  <c:v>2.447178538E-2</c:v>
                </c:pt>
                <c:pt idx="2587">
                  <c:v>2.4482827610000001E-2</c:v>
                </c:pt>
                <c:pt idx="2588">
                  <c:v>2.4515984229999999E-2</c:v>
                </c:pt>
                <c:pt idx="2589">
                  <c:v>2.4527046390000001E-2</c:v>
                </c:pt>
                <c:pt idx="2590">
                  <c:v>2.4538113569999999E-2</c:v>
                </c:pt>
                <c:pt idx="2591">
                  <c:v>2.4549185729999999E-2</c:v>
                </c:pt>
                <c:pt idx="2592">
                  <c:v>2.456026289E-2</c:v>
                </c:pt>
                <c:pt idx="2593">
                  <c:v>2.4593524370000001E-2</c:v>
                </c:pt>
                <c:pt idx="2594">
                  <c:v>2.4604621559999998E-2</c:v>
                </c:pt>
                <c:pt idx="2595">
                  <c:v>2.4615723710000002E-2</c:v>
                </c:pt>
                <c:pt idx="2596">
                  <c:v>2.4626830910000001E-2</c:v>
                </c:pt>
                <c:pt idx="2597">
                  <c:v>2.46379431E-2</c:v>
                </c:pt>
                <c:pt idx="2598">
                  <c:v>2.4671309789999998E-2</c:v>
                </c:pt>
                <c:pt idx="2599">
                  <c:v>2.468244206E-2</c:v>
                </c:pt>
                <c:pt idx="2600">
                  <c:v>2.4693579350000001E-2</c:v>
                </c:pt>
                <c:pt idx="2601">
                  <c:v>2.4704721649999997E-2</c:v>
                </c:pt>
                <c:pt idx="2602">
                  <c:v>2.4715868989999997E-2</c:v>
                </c:pt>
                <c:pt idx="2603">
                  <c:v>2.4749341229999999E-2</c:v>
                </c:pt>
                <c:pt idx="2604">
                  <c:v>2.476050871E-2</c:v>
                </c:pt>
                <c:pt idx="2605">
                  <c:v>2.4771681219999998E-2</c:v>
                </c:pt>
                <c:pt idx="2606">
                  <c:v>2.4782858760000002E-2</c:v>
                </c:pt>
                <c:pt idx="2607">
                  <c:v>2.4794041350000001E-2</c:v>
                </c:pt>
                <c:pt idx="2608">
                  <c:v>2.482761944E-2</c:v>
                </c:pt>
                <c:pt idx="2609">
                  <c:v>2.4838822230000002E-2</c:v>
                </c:pt>
                <c:pt idx="2610">
                  <c:v>2.4850030089999999E-2</c:v>
                </c:pt>
                <c:pt idx="2611">
                  <c:v>2.4861243010000002E-2</c:v>
                </c:pt>
                <c:pt idx="2612">
                  <c:v>2.4872460989999998E-2</c:v>
                </c:pt>
                <c:pt idx="2613">
                  <c:v>2.4906145260000002E-2</c:v>
                </c:pt>
                <c:pt idx="2614">
                  <c:v>2.4917383500000001E-2</c:v>
                </c:pt>
                <c:pt idx="2615">
                  <c:v>2.4928626799999999E-2</c:v>
                </c:pt>
                <c:pt idx="2616">
                  <c:v>2.495112863E-2</c:v>
                </c:pt>
                <c:pt idx="2617">
                  <c:v>2.4984919460000001E-2</c:v>
                </c:pt>
                <c:pt idx="2618">
                  <c:v>2.4996193219999997E-2</c:v>
                </c:pt>
                <c:pt idx="2619">
                  <c:v>2.5007472100000001E-2</c:v>
                </c:pt>
                <c:pt idx="2620">
                  <c:v>2.501875605E-2</c:v>
                </c:pt>
                <c:pt idx="2621">
                  <c:v>2.5030045090000001E-2</c:v>
                </c:pt>
                <c:pt idx="2622">
                  <c:v>2.5063942799999999E-2</c:v>
                </c:pt>
                <c:pt idx="2623">
                  <c:v>2.5075252230000001E-2</c:v>
                </c:pt>
                <c:pt idx="2624">
                  <c:v>2.5086566760000002E-2</c:v>
                </c:pt>
                <c:pt idx="2625">
                  <c:v>2.5097886390000001E-2</c:v>
                </c:pt>
                <c:pt idx="2626">
                  <c:v>2.5109211149999998E-2</c:v>
                </c:pt>
                <c:pt idx="2627">
                  <c:v>2.5143216079999999E-2</c:v>
                </c:pt>
                <c:pt idx="2628">
                  <c:v>2.5154561289999999E-2</c:v>
                </c:pt>
                <c:pt idx="2629">
                  <c:v>2.5165911620000002E-2</c:v>
                </c:pt>
                <c:pt idx="2630">
                  <c:v>2.517726704E-2</c:v>
                </c:pt>
                <c:pt idx="2631">
                  <c:v>2.5188627620000001E-2</c:v>
                </c:pt>
                <c:pt idx="2632">
                  <c:v>2.5222740090000001E-2</c:v>
                </c:pt>
                <c:pt idx="2633">
                  <c:v>2.5234121160000001E-2</c:v>
                </c:pt>
                <c:pt idx="2634">
                  <c:v>2.5245507399999999E-2</c:v>
                </c:pt>
                <c:pt idx="2635">
                  <c:v>2.2733719289999999E-2</c:v>
                </c:pt>
                <c:pt idx="2636">
                  <c:v>2.2743986440000002E-2</c:v>
                </c:pt>
                <c:pt idx="2637">
                  <c:v>2.277481571E-2</c:v>
                </c:pt>
                <c:pt idx="2638">
                  <c:v>2.2785101420000002E-2</c:v>
                </c:pt>
                <c:pt idx="2639">
                  <c:v>2.2795391750000001E-2</c:v>
                </c:pt>
                <c:pt idx="2640">
                  <c:v>2.2805686750000002E-2</c:v>
                </c:pt>
                <c:pt idx="2641">
                  <c:v>2.2815986420000003E-2</c:v>
                </c:pt>
                <c:pt idx="2642">
                  <c:v>2.2846913269999998E-2</c:v>
                </c:pt>
                <c:pt idx="2643">
                  <c:v>2.2857231530000001E-2</c:v>
                </c:pt>
                <c:pt idx="2644">
                  <c:v>2.2867554460000002E-2</c:v>
                </c:pt>
                <c:pt idx="2645">
                  <c:v>2.2877882049999999E-2</c:v>
                </c:pt>
                <c:pt idx="2646">
                  <c:v>2.2888214309999998E-2</c:v>
                </c:pt>
                <c:pt idx="2647">
                  <c:v>2.2919239079999997E-2</c:v>
                </c:pt>
                <c:pt idx="2648">
                  <c:v>2.2929590010000001E-2</c:v>
                </c:pt>
                <c:pt idx="2649">
                  <c:v>2.293994563E-2</c:v>
                </c:pt>
                <c:pt idx="2650">
                  <c:v>2.2950305899999999E-2</c:v>
                </c:pt>
                <c:pt idx="2651">
                  <c:v>2.2960670829999998E-2</c:v>
                </c:pt>
                <c:pt idx="2652">
                  <c:v>2.2991793829999999E-2</c:v>
                </c:pt>
                <c:pt idx="2653">
                  <c:v>2.3002177539999998E-2</c:v>
                </c:pt>
                <c:pt idx="2654">
                  <c:v>2.3012565920000002E-2</c:v>
                </c:pt>
                <c:pt idx="2655">
                  <c:v>2.302295901E-2</c:v>
                </c:pt>
                <c:pt idx="2656">
                  <c:v>2.303335678E-2</c:v>
                </c:pt>
                <c:pt idx="2657">
                  <c:v>2.3064578280000001E-2</c:v>
                </c:pt>
                <c:pt idx="2658">
                  <c:v>2.8179436379999999E-2</c:v>
                </c:pt>
                <c:pt idx="2659">
                  <c:v>2.5627044769999999E-2</c:v>
                </c:pt>
                <c:pt idx="2660">
                  <c:v>2.5638033899999999E-2</c:v>
                </c:pt>
                <c:pt idx="2661">
                  <c:v>2.5649027750000001E-2</c:v>
                </c:pt>
                <c:pt idx="2662">
                  <c:v>2.5682037710000001E-2</c:v>
                </c:pt>
                <c:pt idx="2663">
                  <c:v>2.5693050500000002E-2</c:v>
                </c:pt>
                <c:pt idx="2664">
                  <c:v>2.5704068019999998E-2</c:v>
                </c:pt>
                <c:pt idx="2665">
                  <c:v>2.5715090280000002E-2</c:v>
                </c:pt>
                <c:pt idx="2666">
                  <c:v>2.57261173E-2</c:v>
                </c:pt>
                <c:pt idx="2667">
                  <c:v>2.5759226749999999E-2</c:v>
                </c:pt>
                <c:pt idx="2668">
                  <c:v>2.5770272719999997E-2</c:v>
                </c:pt>
                <c:pt idx="2669">
                  <c:v>2.5781323450000001E-2</c:v>
                </c:pt>
                <c:pt idx="2670">
                  <c:v>2.579237895E-2</c:v>
                </c:pt>
                <c:pt idx="2671">
                  <c:v>2.580343916E-2</c:v>
                </c:pt>
                <c:pt idx="2672">
                  <c:v>2.583664842E-2</c:v>
                </c:pt>
                <c:pt idx="2673">
                  <c:v>2.5847727710000001E-2</c:v>
                </c:pt>
                <c:pt idx="2674">
                  <c:v>2.5858811760000003E-2</c:v>
                </c:pt>
                <c:pt idx="2675">
                  <c:v>2.5869900559999999E-2</c:v>
                </c:pt>
                <c:pt idx="2676">
                  <c:v>2.5880994149999999E-2</c:v>
                </c:pt>
                <c:pt idx="2677">
                  <c:v>2.5914303480000001E-2</c:v>
                </c:pt>
                <c:pt idx="2678">
                  <c:v>2.5925416180000001E-2</c:v>
                </c:pt>
                <c:pt idx="2679">
                  <c:v>2.5936533640000002E-2</c:v>
                </c:pt>
                <c:pt idx="2680">
                  <c:v>2.5947655870000003E-2</c:v>
                </c:pt>
                <c:pt idx="2681">
                  <c:v>2.595878289E-2</c:v>
                </c:pt>
                <c:pt idx="2682">
                  <c:v>2.5992192649999999E-2</c:v>
                </c:pt>
                <c:pt idx="2683">
                  <c:v>2.6014489789999998E-2</c:v>
                </c:pt>
                <c:pt idx="2684">
                  <c:v>2.6025645559999998E-2</c:v>
                </c:pt>
                <c:pt idx="2685">
                  <c:v>2.6036806120000002E-2</c:v>
                </c:pt>
                <c:pt idx="2686">
                  <c:v>2.6070316609999998E-2</c:v>
                </c:pt>
                <c:pt idx="2687">
                  <c:v>2.6081496370000002E-2</c:v>
                </c:pt>
                <c:pt idx="2688">
                  <c:v>2.6092680980000001E-2</c:v>
                </c:pt>
                <c:pt idx="2689">
                  <c:v>2.6103870370000001E-2</c:v>
                </c:pt>
                <c:pt idx="2690">
                  <c:v>4.3423380470000002E-2</c:v>
                </c:pt>
                <c:pt idx="2691">
                  <c:v>4.3474762729999998E-2</c:v>
                </c:pt>
                <c:pt idx="2692">
                  <c:v>4.3494310950000004E-2</c:v>
                </c:pt>
                <c:pt idx="2693">
                  <c:v>4.3513868170000004E-2</c:v>
                </c:pt>
                <c:pt idx="2694">
                  <c:v>4.3533434340000003E-2</c:v>
                </c:pt>
                <c:pt idx="2695">
                  <c:v>4.355301281E-2</c:v>
                </c:pt>
                <c:pt idx="2696">
                  <c:v>4.3604552009999999E-2</c:v>
                </c:pt>
                <c:pt idx="2697">
                  <c:v>4.3624162250000001E-2</c:v>
                </c:pt>
                <c:pt idx="2698">
                  <c:v>4.3643777959999998E-2</c:v>
                </c:pt>
                <c:pt idx="2699">
                  <c:v>4.3663396260000001E-2</c:v>
                </c:pt>
                <c:pt idx="2700">
                  <c:v>4.3683026850000001E-2</c:v>
                </c:pt>
                <c:pt idx="2701">
                  <c:v>4.3734723750000003E-2</c:v>
                </c:pt>
                <c:pt idx="2702">
                  <c:v>4.3754395759999995E-2</c:v>
                </c:pt>
                <c:pt idx="2703">
                  <c:v>4.3774076869999998E-2</c:v>
                </c:pt>
                <c:pt idx="2704">
                  <c:v>4.3793767070000003E-2</c:v>
                </c:pt>
                <c:pt idx="2705">
                  <c:v>4.3813466229999994E-2</c:v>
                </c:pt>
                <c:pt idx="2706">
                  <c:v>4.3865317960000004E-2</c:v>
                </c:pt>
                <c:pt idx="2707">
                  <c:v>4.3901137890000004E-2</c:v>
                </c:pt>
                <c:pt idx="2708">
                  <c:v>4.3920884960000003E-2</c:v>
                </c:pt>
                <c:pt idx="2709">
                  <c:v>4.394063753E-2</c:v>
                </c:pt>
                <c:pt idx="2710">
                  <c:v>4.3992642369999994E-2</c:v>
                </c:pt>
                <c:pt idx="2711">
                  <c:v>4.4012430380000002E-2</c:v>
                </c:pt>
                <c:pt idx="2712">
                  <c:v>4.4032227439999995E-2</c:v>
                </c:pt>
                <c:pt idx="2713">
                  <c:v>4.4052033549999994E-2</c:v>
                </c:pt>
                <c:pt idx="2714">
                  <c:v>4.4071848720000001E-2</c:v>
                </c:pt>
                <c:pt idx="2715">
                  <c:v>4.4124009369999995E-2</c:v>
                </c:pt>
                <c:pt idx="2716">
                  <c:v>4.4143856580000002E-2</c:v>
                </c:pt>
                <c:pt idx="2717">
                  <c:v>4.4163713E-2</c:v>
                </c:pt>
                <c:pt idx="2718">
                  <c:v>4.4183578439999996E-2</c:v>
                </c:pt>
                <c:pt idx="2719">
                  <c:v>4.4203452999999997E-2</c:v>
                </c:pt>
                <c:pt idx="2720">
                  <c:v>4.4255769770000002E-2</c:v>
                </c:pt>
                <c:pt idx="2721">
                  <c:v>4.4291910149999995E-2</c:v>
                </c:pt>
                <c:pt idx="2722">
                  <c:v>4.4311833109999997E-2</c:v>
                </c:pt>
                <c:pt idx="2723">
                  <c:v>4.4331765119999998E-2</c:v>
                </c:pt>
                <c:pt idx="2724">
                  <c:v>4.4384236229999999E-2</c:v>
                </c:pt>
                <c:pt idx="2725">
                  <c:v>4.4404200460000001E-2</c:v>
                </c:pt>
                <c:pt idx="2726">
                  <c:v>4.4424173679999998E-2</c:v>
                </c:pt>
                <c:pt idx="2727">
                  <c:v>4.4444152840000001E-2</c:v>
                </c:pt>
                <c:pt idx="2728">
                  <c:v>4.446414127E-2</c:v>
                </c:pt>
                <c:pt idx="2729">
                  <c:v>4.4533093840000003E-2</c:v>
                </c:pt>
                <c:pt idx="2730">
                  <c:v>4.4553124780000002E-2</c:v>
                </c:pt>
                <c:pt idx="2731">
                  <c:v>4.4573164899999997E-2</c:v>
                </c:pt>
                <c:pt idx="2732">
                  <c:v>4.4593214290000002E-2</c:v>
                </c:pt>
                <c:pt idx="2733">
                  <c:v>4.4645998030000002E-2</c:v>
                </c:pt>
                <c:pt idx="2734">
                  <c:v>4.4666079799999994E-2</c:v>
                </c:pt>
                <c:pt idx="2735">
                  <c:v>4.4686170829999997E-2</c:v>
                </c:pt>
                <c:pt idx="2736">
                  <c:v>4.4706270979999997E-2</c:v>
                </c:pt>
                <c:pt idx="2737">
                  <c:v>4.4726380479999994E-2</c:v>
                </c:pt>
                <c:pt idx="2738">
                  <c:v>4.4779322240000002E-2</c:v>
                </c:pt>
                <c:pt idx="2739">
                  <c:v>4.4799464079999997E-2</c:v>
                </c:pt>
                <c:pt idx="2740">
                  <c:v>4.4819615299999997E-2</c:v>
                </c:pt>
                <c:pt idx="2741">
                  <c:v>4.4839775979999996E-2</c:v>
                </c:pt>
                <c:pt idx="2742">
                  <c:v>4.4859945619999994E-2</c:v>
                </c:pt>
                <c:pt idx="2743">
                  <c:v>4.491304594E-2</c:v>
                </c:pt>
                <c:pt idx="2744">
                  <c:v>4.4933248259999996E-2</c:v>
                </c:pt>
                <c:pt idx="2745">
                  <c:v>4.4953459810000006E-2</c:v>
                </c:pt>
                <c:pt idx="2746">
                  <c:v>4.4973680680000003E-2</c:v>
                </c:pt>
                <c:pt idx="2747">
                  <c:v>4.4993910880000001E-2</c:v>
                </c:pt>
                <c:pt idx="2748">
                  <c:v>4.5047173650000001E-2</c:v>
                </c:pt>
                <c:pt idx="2749">
                  <c:v>4.506743647E-2</c:v>
                </c:pt>
                <c:pt idx="2750">
                  <c:v>4.5087708659999996E-2</c:v>
                </c:pt>
                <c:pt idx="2751">
                  <c:v>4.5107990180000002E-2</c:v>
                </c:pt>
                <c:pt idx="2752">
                  <c:v>4.5128281040000003E-2</c:v>
                </c:pt>
                <c:pt idx="2753">
                  <c:v>4.5181699729999997E-2</c:v>
                </c:pt>
                <c:pt idx="2754">
                  <c:v>4.5202023530000003E-2</c:v>
                </c:pt>
                <c:pt idx="2755">
                  <c:v>4.5222356310000003E-2</c:v>
                </c:pt>
                <c:pt idx="2756">
                  <c:v>0.1565006806</c:v>
                </c:pt>
                <c:pt idx="2757">
                  <c:v>0.15656970063</c:v>
                </c:pt>
                <c:pt idx="2758">
                  <c:v>0.15667196986000001</c:v>
                </c:pt>
                <c:pt idx="2759">
                  <c:v>0.15674106677000002</c:v>
                </c:pt>
                <c:pt idx="2760">
                  <c:v>0.15681019285</c:v>
                </c:pt>
                <c:pt idx="2761">
                  <c:v>0.15687935029</c:v>
                </c:pt>
                <c:pt idx="2762">
                  <c:v>0.15694853690999999</c:v>
                </c:pt>
                <c:pt idx="2763">
                  <c:v>0.15705107215</c:v>
                </c:pt>
                <c:pt idx="2764">
                  <c:v>0.15712033581000001</c:v>
                </c:pt>
                <c:pt idx="2765">
                  <c:v>0.15718963093999999</c:v>
                </c:pt>
                <c:pt idx="2766">
                  <c:v>0.15725895508000001</c:v>
                </c:pt>
                <c:pt idx="2767">
                  <c:v>0.15732831068</c:v>
                </c:pt>
                <c:pt idx="2768">
                  <c:v>0.15743111463000001</c:v>
                </c:pt>
                <c:pt idx="2769">
                  <c:v>0.15750054502999999</c:v>
                </c:pt>
                <c:pt idx="2770">
                  <c:v>0.15757000928000001</c:v>
                </c:pt>
                <c:pt idx="2771">
                  <c:v>0.15763950261000001</c:v>
                </c:pt>
                <c:pt idx="2772">
                  <c:v>0.15770902527</c:v>
                </c:pt>
                <c:pt idx="2773">
                  <c:v>0.15781209847</c:v>
                </c:pt>
                <c:pt idx="2774">
                  <c:v>0.15788169827000001</c:v>
                </c:pt>
                <c:pt idx="2775">
                  <c:v>0.15795132928</c:v>
                </c:pt>
                <c:pt idx="2776">
                  <c:v>0.15802098995</c:v>
                </c:pt>
                <c:pt idx="2777">
                  <c:v>0.15809304281</c:v>
                </c:pt>
                <c:pt idx="2778">
                  <c:v>0.15819874671</c:v>
                </c:pt>
                <c:pt idx="2779">
                  <c:v>0.15827087969</c:v>
                </c:pt>
                <c:pt idx="2780">
                  <c:v>0.15834304413</c:v>
                </c:pt>
                <c:pt idx="2781">
                  <c:v>0.15841524463999998</c:v>
                </c:pt>
                <c:pt idx="2782">
                  <c:v>0.15848747702000002</c:v>
                </c:pt>
                <c:pt idx="2783">
                  <c:v>0.15859346103999999</c:v>
                </c:pt>
                <c:pt idx="2784">
                  <c:v>0.15866577328999998</c:v>
                </c:pt>
                <c:pt idx="2785">
                  <c:v>0.15873811955</c:v>
                </c:pt>
                <c:pt idx="2786">
                  <c:v>0.15881049958000001</c:v>
                </c:pt>
                <c:pt idx="2787">
                  <c:v>0.15888291359000001</c:v>
                </c:pt>
                <c:pt idx="2788">
                  <c:v>0.15898917836000001</c:v>
                </c:pt>
                <c:pt idx="2789">
                  <c:v>0.15906167254</c:v>
                </c:pt>
                <c:pt idx="2790">
                  <c:v>0.15913420049999999</c:v>
                </c:pt>
                <c:pt idx="2791">
                  <c:v>0.15920676047999999</c:v>
                </c:pt>
                <c:pt idx="2792">
                  <c:v>0.15927940154</c:v>
                </c:pt>
                <c:pt idx="2793">
                  <c:v>0.18489912627000002</c:v>
                </c:pt>
                <c:pt idx="2794">
                  <c:v>0.18498490894</c:v>
                </c:pt>
                <c:pt idx="2795">
                  <c:v>0.18507073019999998</c:v>
                </c:pt>
                <c:pt idx="2796">
                  <c:v>0.21070027728000001</c:v>
                </c:pt>
                <c:pt idx="2797">
                  <c:v>0.21079882662000002</c:v>
                </c:pt>
                <c:pt idx="2798">
                  <c:v>0.21093151302000002</c:v>
                </c:pt>
                <c:pt idx="2799">
                  <c:v>0.21103023797999998</c:v>
                </c:pt>
                <c:pt idx="2800">
                  <c:v>0.21112901009999999</c:v>
                </c:pt>
                <c:pt idx="2801">
                  <c:v>0.21122782838999998</c:v>
                </c:pt>
                <c:pt idx="2802">
                  <c:v>0.21132669546000002</c:v>
                </c:pt>
                <c:pt idx="2803">
                  <c:v>0.21145973000999999</c:v>
                </c:pt>
                <c:pt idx="2804">
                  <c:v>0.21155863419999998</c:v>
                </c:pt>
                <c:pt idx="2805">
                  <c:v>0.21165765269999998</c:v>
                </c:pt>
                <c:pt idx="2806">
                  <c:v>0.21175672046000002</c:v>
                </c:pt>
                <c:pt idx="2807">
                  <c:v>0.21185917437000001</c:v>
                </c:pt>
                <c:pt idx="2808">
                  <c:v>0.21203016034</c:v>
                </c:pt>
                <c:pt idx="2809">
                  <c:v>0.21213274554</c:v>
                </c:pt>
                <c:pt idx="2810">
                  <c:v>0.21223538112000001</c:v>
                </c:pt>
                <c:pt idx="2811">
                  <c:v>0.21237239316999998</c:v>
                </c:pt>
                <c:pt idx="2812">
                  <c:v>0.21247514218999999</c:v>
                </c:pt>
                <c:pt idx="2813">
                  <c:v>0.21257801109999999</c:v>
                </c:pt>
                <c:pt idx="2814">
                  <c:v>0.21268092947</c:v>
                </c:pt>
                <c:pt idx="2815">
                  <c:v>0.21278382889</c:v>
                </c:pt>
                <c:pt idx="2816">
                  <c:v>0.21292127919000001</c:v>
                </c:pt>
                <c:pt idx="2817">
                  <c:v>0.21302429443000001</c:v>
                </c:pt>
                <c:pt idx="2818">
                  <c:v>0.21312736111000002</c:v>
                </c:pt>
                <c:pt idx="2819">
                  <c:v>0.2132305468</c:v>
                </c:pt>
                <c:pt idx="2820">
                  <c:v>0.21333378084000001</c:v>
                </c:pt>
                <c:pt idx="2821">
                  <c:v>0.21347160146999999</c:v>
                </c:pt>
                <c:pt idx="2822">
                  <c:v>0.31465805898999999</c:v>
                </c:pt>
                <c:pt idx="2823">
                  <c:v>0.31480577997000003</c:v>
                </c:pt>
                <c:pt idx="2824">
                  <c:v>0.31495357063999996</c:v>
                </c:pt>
                <c:pt idx="2825">
                  <c:v>0.31510143281000003</c:v>
                </c:pt>
                <c:pt idx="2826">
                  <c:v>0.31528410648999999</c:v>
                </c:pt>
                <c:pt idx="2827">
                  <c:v>0.31543212367000001</c:v>
                </c:pt>
                <c:pt idx="2828">
                  <c:v>0.31558010182999996</c:v>
                </c:pt>
                <c:pt idx="2829">
                  <c:v>0.31572804610999999</c:v>
                </c:pt>
                <c:pt idx="2830">
                  <c:v>0.31587616332999996</c:v>
                </c:pt>
                <c:pt idx="2831">
                  <c:v>0.31605898900000001</c:v>
                </c:pt>
                <c:pt idx="2832">
                  <c:v>0.32889554814999999</c:v>
                </c:pt>
                <c:pt idx="2833">
                  <c:v>0.32905199022000003</c:v>
                </c:pt>
                <c:pt idx="2834">
                  <c:v>0.32920873393</c:v>
                </c:pt>
                <c:pt idx="2835">
                  <c:v>0.32936566923999999</c:v>
                </c:pt>
                <c:pt idx="2836">
                  <c:v>0.32955752500999996</c:v>
                </c:pt>
                <c:pt idx="2837">
                  <c:v>0.32971496318999999</c:v>
                </c:pt>
                <c:pt idx="2838">
                  <c:v>0.32987214187000002</c:v>
                </c:pt>
                <c:pt idx="2839">
                  <c:v>0.33009903823000003</c:v>
                </c:pt>
                <c:pt idx="2840">
                  <c:v>0.33025889206999998</c:v>
                </c:pt>
                <c:pt idx="2841">
                  <c:v>0.33041893883999995</c:v>
                </c:pt>
                <c:pt idx="2842">
                  <c:v>0.33057906643000001</c:v>
                </c:pt>
                <c:pt idx="2843">
                  <c:v>0.33073927127999997</c:v>
                </c:pt>
                <c:pt idx="2844">
                  <c:v>0.33093483717</c:v>
                </c:pt>
                <c:pt idx="2845">
                  <c:v>0.33109532779</c:v>
                </c:pt>
                <c:pt idx="2846">
                  <c:v>0.33023433837999999</c:v>
                </c:pt>
                <c:pt idx="2847">
                  <c:v>0.33039453139999997</c:v>
                </c:pt>
                <c:pt idx="2848">
                  <c:v>0.33055480191000003</c:v>
                </c:pt>
                <c:pt idx="2849">
                  <c:v>0.33075031005</c:v>
                </c:pt>
                <c:pt idx="2850">
                  <c:v>0.33091064192000003</c:v>
                </c:pt>
                <c:pt idx="2851">
                  <c:v>0.33107105520999996</c:v>
                </c:pt>
                <c:pt idx="2852">
                  <c:v>0.33123142843000003</c:v>
                </c:pt>
                <c:pt idx="2853">
                  <c:v>0.33139176862000003</c:v>
                </c:pt>
                <c:pt idx="2854">
                  <c:v>0.33158745336000001</c:v>
                </c:pt>
                <c:pt idx="2855">
                  <c:v>0.33174785126</c:v>
                </c:pt>
                <c:pt idx="2856">
                  <c:v>0.33190855481999998</c:v>
                </c:pt>
                <c:pt idx="2857">
                  <c:v>0.33206933981999998</c:v>
                </c:pt>
                <c:pt idx="2858">
                  <c:v>0.33223020270999998</c:v>
                </c:pt>
                <c:pt idx="2859">
                  <c:v>0.33242674106999998</c:v>
                </c:pt>
                <c:pt idx="2860">
                  <c:v>0.33258800551000001</c:v>
                </c:pt>
                <c:pt idx="2861">
                  <c:v>0.33274923870000001</c:v>
                </c:pt>
                <c:pt idx="2862">
                  <c:v>0.33291054856000002</c:v>
                </c:pt>
                <c:pt idx="2863">
                  <c:v>0.33307182115</c:v>
                </c:pt>
                <c:pt idx="2864">
                  <c:v>0.33326876597000005</c:v>
                </c:pt>
                <c:pt idx="2865">
                  <c:v>0.33343021436000003</c:v>
                </c:pt>
                <c:pt idx="2866">
                  <c:v>0.33359139995999998</c:v>
                </c:pt>
                <c:pt idx="2867">
                  <c:v>0.33375334943000001</c:v>
                </c:pt>
                <c:pt idx="2868">
                  <c:v>0.33391515356000001</c:v>
                </c:pt>
                <c:pt idx="2869">
                  <c:v>0.33411261604000003</c:v>
                </c:pt>
                <c:pt idx="2870">
                  <c:v>0.33427482194000002</c:v>
                </c:pt>
                <c:pt idx="2871">
                  <c:v>0.33443687845999998</c:v>
                </c:pt>
                <c:pt idx="2872">
                  <c:v>0.33459889787999997</c:v>
                </c:pt>
                <c:pt idx="2873">
                  <c:v>0.33476317820000001</c:v>
                </c:pt>
                <c:pt idx="2874">
                  <c:v>0.33496346127999999</c:v>
                </c:pt>
                <c:pt idx="2875">
                  <c:v>0.33512792002999997</c:v>
                </c:pt>
                <c:pt idx="2876">
                  <c:v>0.33529234777999994</c:v>
                </c:pt>
                <c:pt idx="2877">
                  <c:v>0.33545766063999999</c:v>
                </c:pt>
                <c:pt idx="2878">
                  <c:v>0.33562305367</c:v>
                </c:pt>
                <c:pt idx="2879">
                  <c:v>0.33582432957999997</c:v>
                </c:pt>
                <c:pt idx="2880">
                  <c:v>0.33598979022000003</c:v>
                </c:pt>
                <c:pt idx="2881">
                  <c:v>0.33615556602999996</c:v>
                </c:pt>
                <c:pt idx="2882">
                  <c:v>0.33633923970000001</c:v>
                </c:pt>
                <c:pt idx="2883">
                  <c:v>0.33654086039999997</c:v>
                </c:pt>
                <c:pt idx="2884">
                  <c:v>0.33670667737999999</c:v>
                </c:pt>
                <c:pt idx="2885">
                  <c:v>0.33687246241000002</c:v>
                </c:pt>
                <c:pt idx="2886">
                  <c:v>0.33703844599999999</c:v>
                </c:pt>
                <c:pt idx="2887">
                  <c:v>0.33422749381</c:v>
                </c:pt>
                <c:pt idx="2888">
                  <c:v>0.33442597002999996</c:v>
                </c:pt>
                <c:pt idx="2889">
                  <c:v>0.33459121750999998</c:v>
                </c:pt>
                <c:pt idx="2890">
                  <c:v>0.33475666767000001</c:v>
                </c:pt>
                <c:pt idx="2891">
                  <c:v>0.33492208188</c:v>
                </c:pt>
                <c:pt idx="2892">
                  <c:v>0.33508757916000004</c:v>
                </c:pt>
                <c:pt idx="2893">
                  <c:v>0.33528658192999999</c:v>
                </c:pt>
                <c:pt idx="2894">
                  <c:v>0.33545225900999998</c:v>
                </c:pt>
                <c:pt idx="2895">
                  <c:v>0.33561801994000001</c:v>
                </c:pt>
                <c:pt idx="2896">
                  <c:v>0.33578398359</c:v>
                </c:pt>
                <c:pt idx="2897">
                  <c:v>0.33595002800000001</c:v>
                </c:pt>
                <c:pt idx="2898">
                  <c:v>0.33614967904000004</c:v>
                </c:pt>
                <c:pt idx="2899">
                  <c:v>0.33631590570999997</c:v>
                </c:pt>
                <c:pt idx="2900">
                  <c:v>0.33648209783999999</c:v>
                </c:pt>
                <c:pt idx="2901">
                  <c:v>0.33664837270999998</c:v>
                </c:pt>
                <c:pt idx="2902">
                  <c:v>0.33681763674999998</c:v>
                </c:pt>
                <c:pt idx="2903">
                  <c:v>0.33702060793999999</c:v>
                </c:pt>
                <c:pt idx="2904">
                  <c:v>0.33719017387</c:v>
                </c:pt>
                <c:pt idx="2905">
                  <c:v>0.33735970939999999</c:v>
                </c:pt>
                <c:pt idx="2906">
                  <c:v>0.33752933387</c:v>
                </c:pt>
                <c:pt idx="2907">
                  <c:v>0.32864527469999999</c:v>
                </c:pt>
                <c:pt idx="2908">
                  <c:v>0.31592668304000004</c:v>
                </c:pt>
                <c:pt idx="2909">
                  <c:v>0.30918383460000004</c:v>
                </c:pt>
                <c:pt idx="2910">
                  <c:v>0.30933951764000001</c:v>
                </c:pt>
                <c:pt idx="2911">
                  <c:v>0.30949527960000001</c:v>
                </c:pt>
                <c:pt idx="2912">
                  <c:v>0.30965112089999997</c:v>
                </c:pt>
                <c:pt idx="2913">
                  <c:v>0.30982182949000003</c:v>
                </c:pt>
                <c:pt idx="2914">
                  <c:v>0.30997783491000003</c:v>
                </c:pt>
                <c:pt idx="2915">
                  <c:v>0.31013392267000001</c:v>
                </c:pt>
                <c:pt idx="2916">
                  <c:v>0.31029008732999996</c:v>
                </c:pt>
                <c:pt idx="2917">
                  <c:v>0.31044633017000001</c:v>
                </c:pt>
                <c:pt idx="2918">
                  <c:v>0.31061748637000003</c:v>
                </c:pt>
                <c:pt idx="2919">
                  <c:v>0.31077389677</c:v>
                </c:pt>
                <c:pt idx="2920">
                  <c:v>0.31093038612000001</c:v>
                </c:pt>
                <c:pt idx="2921">
                  <c:v>0.31108695776</c:v>
                </c:pt>
                <c:pt idx="2922">
                  <c:v>0.31124349475000002</c:v>
                </c:pt>
                <c:pt idx="2923">
                  <c:v>0.31141509781999999</c:v>
                </c:pt>
                <c:pt idx="2924">
                  <c:v>0.31157180024999998</c:v>
                </c:pt>
                <c:pt idx="2925">
                  <c:v>0.31172869683999999</c:v>
                </c:pt>
                <c:pt idx="2926">
                  <c:v>0.31188567033999998</c:v>
                </c:pt>
                <c:pt idx="2927">
                  <c:v>0.31204261339</c:v>
                </c:pt>
                <c:pt idx="2928">
                  <c:v>0.31221455514999996</c:v>
                </c:pt>
                <c:pt idx="2929">
                  <c:v>0.31237166388999998</c:v>
                </c:pt>
                <c:pt idx="2930">
                  <c:v>0.31252885135000003</c:v>
                </c:pt>
                <c:pt idx="2931">
                  <c:v>0.31268611937000002</c:v>
                </c:pt>
                <c:pt idx="2932">
                  <c:v>0.31283763191000002</c:v>
                </c:pt>
                <c:pt idx="2933">
                  <c:v>0.31300417731000002</c:v>
                </c:pt>
                <c:pt idx="2934">
                  <c:v>0.31315584179</c:v>
                </c:pt>
                <c:pt idx="2935">
                  <c:v>0.31331507204000003</c:v>
                </c:pt>
                <c:pt idx="2936">
                  <c:v>0.31346689206</c:v>
                </c:pt>
                <c:pt idx="2937">
                  <c:v>0.31363378662000002</c:v>
                </c:pt>
                <c:pt idx="2938">
                  <c:v>0.31378575763</c:v>
                </c:pt>
                <c:pt idx="2939">
                  <c:v>0.31393780633999996</c:v>
                </c:pt>
                <c:pt idx="2940">
                  <c:v>0.31408992660000001</c:v>
                </c:pt>
                <c:pt idx="2941">
                  <c:v>0.31424212257</c:v>
                </c:pt>
                <c:pt idx="2942">
                  <c:v>0.31440943962000001</c:v>
                </c:pt>
                <c:pt idx="2943">
                  <c:v>0.31456167826999998</c:v>
                </c:pt>
                <c:pt idx="2944">
                  <c:v>0.31471398998</c:v>
                </c:pt>
                <c:pt idx="2945">
                  <c:v>0.31486648944000001</c:v>
                </c:pt>
                <c:pt idx="2946">
                  <c:v>0.31501906586</c:v>
                </c:pt>
                <c:pt idx="2947">
                  <c:v>0.31518680930999998</c:v>
                </c:pt>
                <c:pt idx="2948">
                  <c:v>0.31533953877999998</c:v>
                </c:pt>
                <c:pt idx="2949">
                  <c:v>0.31549234645999996</c:v>
                </c:pt>
                <c:pt idx="2950">
                  <c:v>0.31564522842999998</c:v>
                </c:pt>
                <c:pt idx="2951">
                  <c:v>0.31579818197000004</c:v>
                </c:pt>
                <c:pt idx="2952">
                  <c:v>0.31596634874000001</c:v>
                </c:pt>
                <c:pt idx="2953">
                  <c:v>0.31611957944999997</c:v>
                </c:pt>
                <c:pt idx="2954">
                  <c:v>0.3162727655</c:v>
                </c:pt>
                <c:pt idx="2955">
                  <c:v>0.31642602948999998</c:v>
                </c:pt>
                <c:pt idx="2956">
                  <c:v>0.31657936679000004</c:v>
                </c:pt>
                <c:pt idx="2957">
                  <c:v>0.31674795813000001</c:v>
                </c:pt>
                <c:pt idx="2958">
                  <c:v>0.31690145445999995</c:v>
                </c:pt>
                <c:pt idx="2959">
                  <c:v>0.31706262394000001</c:v>
                </c:pt>
                <c:pt idx="2960">
                  <c:v>0.31721615651999996</c:v>
                </c:pt>
                <c:pt idx="2961">
                  <c:v>0.31738498811999999</c:v>
                </c:pt>
                <c:pt idx="2962">
                  <c:v>0.31753867873000002</c:v>
                </c:pt>
                <c:pt idx="2963">
                  <c:v>0.31769244369999999</c:v>
                </c:pt>
                <c:pt idx="2964">
                  <c:v>0.31784640085999999</c:v>
                </c:pt>
                <c:pt idx="2965">
                  <c:v>0.31799470578</c:v>
                </c:pt>
                <c:pt idx="2966">
                  <c:v>0.31815835127999997</c:v>
                </c:pt>
                <c:pt idx="2967">
                  <c:v>0.31830680574000003</c:v>
                </c:pt>
                <c:pt idx="2968">
                  <c:v>0.31845532831000001</c:v>
                </c:pt>
                <c:pt idx="2969">
                  <c:v>0.31860392299000001</c:v>
                </c:pt>
                <c:pt idx="2970">
                  <c:v>0.31875258482000002</c:v>
                </c:pt>
                <c:pt idx="2971">
                  <c:v>0.31891663154</c:v>
                </c:pt>
                <c:pt idx="2972">
                  <c:v>0.31906544316000002</c:v>
                </c:pt>
                <c:pt idx="2973">
                  <c:v>0.31922198969999999</c:v>
                </c:pt>
                <c:pt idx="2974">
                  <c:v>0.31621848698000005</c:v>
                </c:pt>
                <c:pt idx="2975">
                  <c:v>0.31637859444999999</c:v>
                </c:pt>
                <c:pt idx="2976">
                  <c:v>0.31652662543999999</c:v>
                </c:pt>
                <c:pt idx="2977">
                  <c:v>0.31667436935000004</c:v>
                </c:pt>
                <c:pt idx="2978">
                  <c:v>0.31682206529000001</c:v>
                </c:pt>
                <c:pt idx="2979">
                  <c:v>0.31696971350000003</c:v>
                </c:pt>
                <c:pt idx="2980">
                  <c:v>0.31712997191000003</c:v>
                </c:pt>
                <c:pt idx="2981">
                  <c:v>0.31728380820999996</c:v>
                </c:pt>
                <c:pt idx="2982">
                  <c:v>0.31743155310000004</c:v>
                </c:pt>
                <c:pt idx="2983">
                  <c:v>0.31757937070999998</c:v>
                </c:pt>
                <c:pt idx="2984">
                  <c:v>0.31773995064999999</c:v>
                </c:pt>
                <c:pt idx="2985">
                  <c:v>0.31788814827999995</c:v>
                </c:pt>
                <c:pt idx="2986">
                  <c:v>0.31803641567000002</c:v>
                </c:pt>
                <c:pt idx="2987">
                  <c:v>0.31818475252999995</c:v>
                </c:pt>
                <c:pt idx="2988">
                  <c:v>0.31833315795</c:v>
                </c:pt>
                <c:pt idx="2989">
                  <c:v>0.31849401472000005</c:v>
                </c:pt>
                <c:pt idx="2990">
                  <c:v>0.31864221063999998</c:v>
                </c:pt>
                <c:pt idx="2991">
                  <c:v>0.31879035566000002</c:v>
                </c:pt>
                <c:pt idx="2992">
                  <c:v>0.31893881177</c:v>
                </c:pt>
                <c:pt idx="2993">
                  <c:v>0.31908150623000003</c:v>
                </c:pt>
                <c:pt idx="2994">
                  <c:v>0.31923703488999999</c:v>
                </c:pt>
                <c:pt idx="2995">
                  <c:v>0.31938010402</c:v>
                </c:pt>
                <c:pt idx="2996">
                  <c:v>0.31952311831000002</c:v>
                </c:pt>
                <c:pt idx="2997">
                  <c:v>0.31966607600999997</c:v>
                </c:pt>
                <c:pt idx="2998">
                  <c:v>0.31980885802999998</c:v>
                </c:pt>
                <c:pt idx="2999">
                  <c:v>0.31996415435000003</c:v>
                </c:pt>
                <c:pt idx="3000">
                  <c:v>0.32010671385</c:v>
                </c:pt>
                <c:pt idx="3001">
                  <c:v>0.32024945711000002</c:v>
                </c:pt>
                <c:pt idx="3002">
                  <c:v>0.32039262406000002</c:v>
                </c:pt>
                <c:pt idx="3003">
                  <c:v>0.32053597356000002</c:v>
                </c:pt>
                <c:pt idx="3004">
                  <c:v>0.32069223277999998</c:v>
                </c:pt>
                <c:pt idx="3005">
                  <c:v>0.32083596119000002</c:v>
                </c:pt>
                <c:pt idx="3006">
                  <c:v>0.32097986898000003</c:v>
                </c:pt>
                <c:pt idx="3007">
                  <c:v>0.32112372660999999</c:v>
                </c:pt>
                <c:pt idx="3008">
                  <c:v>0.32126752623999999</c:v>
                </c:pt>
                <c:pt idx="3009">
                  <c:v>0.32142415183999995</c:v>
                </c:pt>
                <c:pt idx="3010">
                  <c:v>0.3451635629</c:v>
                </c:pt>
                <c:pt idx="3011">
                  <c:v>0.34530732365</c:v>
                </c:pt>
                <c:pt idx="3012">
                  <c:v>0.34545102836000002</c:v>
                </c:pt>
                <c:pt idx="3013">
                  <c:v>0.34559503901999999</c:v>
                </c:pt>
                <c:pt idx="3014">
                  <c:v>0.3457519107</c:v>
                </c:pt>
                <c:pt idx="3015">
                  <c:v>0.3458963001</c:v>
                </c:pt>
                <c:pt idx="3016">
                  <c:v>0.34604063318</c:v>
                </c:pt>
                <c:pt idx="3017">
                  <c:v>0.34618502992</c:v>
                </c:pt>
                <c:pt idx="3018">
                  <c:v>0.34632912952999995</c:v>
                </c:pt>
                <c:pt idx="3019">
                  <c:v>0.34648624723000004</c:v>
                </c:pt>
                <c:pt idx="3020">
                  <c:v>0.34663012324000003</c:v>
                </c:pt>
                <c:pt idx="3021">
                  <c:v>0.34677418481</c:v>
                </c:pt>
                <c:pt idx="3022">
                  <c:v>0.34691818862000001</c:v>
                </c:pt>
                <c:pt idx="3023">
                  <c:v>0.34706213467000002</c:v>
                </c:pt>
                <c:pt idx="3024">
                  <c:v>0.34721913850000002</c:v>
                </c:pt>
                <c:pt idx="3025">
                  <c:v>0.34736334267000002</c:v>
                </c:pt>
                <c:pt idx="3026">
                  <c:v>0.34750749129000003</c:v>
                </c:pt>
                <c:pt idx="3027">
                  <c:v>0.34765157972999999</c:v>
                </c:pt>
                <c:pt idx="3028">
                  <c:v>0.34778978372000002</c:v>
                </c:pt>
                <c:pt idx="3029">
                  <c:v>0.34794107738999996</c:v>
                </c:pt>
                <c:pt idx="3030">
                  <c:v>0.34807952624999999</c:v>
                </c:pt>
                <c:pt idx="3031">
                  <c:v>0.34821815867</c:v>
                </c:pt>
                <c:pt idx="3032">
                  <c:v>0.34835685157999996</c:v>
                </c:pt>
                <c:pt idx="3033">
                  <c:v>0.34849535993000003</c:v>
                </c:pt>
                <c:pt idx="3034">
                  <c:v>0.3486467459</c:v>
                </c:pt>
                <c:pt idx="3035">
                  <c:v>0.34878525656999998</c:v>
                </c:pt>
                <c:pt idx="3036">
                  <c:v>0.34892395083</c:v>
                </c:pt>
                <c:pt idx="3037">
                  <c:v>0.34906258048</c:v>
                </c:pt>
                <c:pt idx="3038">
                  <c:v>0.34920126736000001</c:v>
                </c:pt>
                <c:pt idx="3039">
                  <c:v>0.34935323960000003</c:v>
                </c:pt>
                <c:pt idx="3040">
                  <c:v>0.34949205616000001</c:v>
                </c:pt>
                <c:pt idx="3041">
                  <c:v>0.34963092901999998</c:v>
                </c:pt>
                <c:pt idx="3042">
                  <c:v>0.34976974143</c:v>
                </c:pt>
                <c:pt idx="3043">
                  <c:v>0.3499087353</c:v>
                </c:pt>
                <c:pt idx="3044">
                  <c:v>0.35006080332</c:v>
                </c:pt>
                <c:pt idx="3045">
                  <c:v>0.35019967738999996</c:v>
                </c:pt>
                <c:pt idx="3046">
                  <c:v>0.35033873307999996</c:v>
                </c:pt>
                <c:pt idx="3047">
                  <c:v>0.35047784830000001</c:v>
                </c:pt>
                <c:pt idx="3048">
                  <c:v>0.35061689986</c:v>
                </c:pt>
                <c:pt idx="3049">
                  <c:v>0.35078262024000001</c:v>
                </c:pt>
                <c:pt idx="3050">
                  <c:v>0.35092192454999999</c:v>
                </c:pt>
                <c:pt idx="3051">
                  <c:v>0.35106129133999997</c:v>
                </c:pt>
                <c:pt idx="3052">
                  <c:v>0.35121405391999999</c:v>
                </c:pt>
                <c:pt idx="3053">
                  <c:v>0.35135378931</c:v>
                </c:pt>
                <c:pt idx="3054">
                  <c:v>0.35149321902999997</c:v>
                </c:pt>
                <c:pt idx="3055">
                  <c:v>0.35163258439</c:v>
                </c:pt>
                <c:pt idx="3056">
                  <c:v>0.35177200706</c:v>
                </c:pt>
                <c:pt idx="3057">
                  <c:v>0.35192449439000001</c:v>
                </c:pt>
                <c:pt idx="3058">
                  <c:v>0.35206392247000001</c:v>
                </c:pt>
                <c:pt idx="3059">
                  <c:v>0.35220328498000003</c:v>
                </c:pt>
                <c:pt idx="3060">
                  <c:v>0.35234233763</c:v>
                </c:pt>
                <c:pt idx="3061">
                  <c:v>0.35247289268999998</c:v>
                </c:pt>
                <c:pt idx="3062">
                  <c:v>0.35261641626000001</c:v>
                </c:pt>
                <c:pt idx="3063">
                  <c:v>0.35274645988999997</c:v>
                </c:pt>
                <c:pt idx="3064">
                  <c:v>0.35287630668000003</c:v>
                </c:pt>
                <c:pt idx="3065">
                  <c:v>0.35300608077999995</c:v>
                </c:pt>
                <c:pt idx="3066">
                  <c:v>0.35313590652999999</c:v>
                </c:pt>
                <c:pt idx="3067">
                  <c:v>0.35327948366</c:v>
                </c:pt>
                <c:pt idx="3068">
                  <c:v>0.35340979485000001</c:v>
                </c:pt>
                <c:pt idx="3069">
                  <c:v>0.35354015550000001</c:v>
                </c:pt>
                <c:pt idx="3070">
                  <c:v>0.35367056877999997</c:v>
                </c:pt>
                <c:pt idx="3071">
                  <c:v>0.35380103593000001</c:v>
                </c:pt>
                <c:pt idx="3072">
                  <c:v>0.35394529079000003</c:v>
                </c:pt>
                <c:pt idx="3073">
                  <c:v>0.35407599272000001</c:v>
                </c:pt>
                <c:pt idx="3074">
                  <c:v>0.35420674514</c:v>
                </c:pt>
                <c:pt idx="3075">
                  <c:v>0.35433742410000002</c:v>
                </c:pt>
                <c:pt idx="3076">
                  <c:v>0.35446815548000005</c:v>
                </c:pt>
                <c:pt idx="3077">
                  <c:v>0.35461271685000001</c:v>
                </c:pt>
                <c:pt idx="3078">
                  <c:v>0.35474380983999998</c:v>
                </c:pt>
                <c:pt idx="3079">
                  <c:v>0.35487495332000002</c:v>
                </c:pt>
                <c:pt idx="3080">
                  <c:v>0.35500652643000002</c:v>
                </c:pt>
                <c:pt idx="3081">
                  <c:v>0.35515799463999997</c:v>
                </c:pt>
                <c:pt idx="3082">
                  <c:v>0.35528930342999998</c:v>
                </c:pt>
                <c:pt idx="3083">
                  <c:v>0.35542091758</c:v>
                </c:pt>
                <c:pt idx="3084">
                  <c:v>0.35555220858999997</c:v>
                </c:pt>
                <c:pt idx="3085">
                  <c:v>0.35568342692999999</c:v>
                </c:pt>
                <c:pt idx="3086">
                  <c:v>0.35582804730000001</c:v>
                </c:pt>
                <c:pt idx="3087">
                  <c:v>0.35595924688999997</c:v>
                </c:pt>
                <c:pt idx="3088">
                  <c:v>0.3560903748</c:v>
                </c:pt>
                <c:pt idx="3089">
                  <c:v>0.35622167873999999</c:v>
                </c:pt>
                <c:pt idx="3090">
                  <c:v>0.35634356273000001</c:v>
                </c:pt>
                <c:pt idx="3091">
                  <c:v>0.35647900857999998</c:v>
                </c:pt>
                <c:pt idx="3092">
                  <c:v>0.35660162217000002</c:v>
                </c:pt>
                <c:pt idx="3093">
                  <c:v>0.35672364599</c:v>
                </c:pt>
                <c:pt idx="3094">
                  <c:v>0.35684571462000003</c:v>
                </c:pt>
                <c:pt idx="3095">
                  <c:v>0.29748354626000001</c:v>
                </c:pt>
                <c:pt idx="3096">
                  <c:v>0.29759555010000005</c:v>
                </c:pt>
                <c:pt idx="3097">
                  <c:v>0.29770058132999999</c:v>
                </c:pt>
                <c:pt idx="3098">
                  <c:v>0.33626713732000002</c:v>
                </c:pt>
                <c:pt idx="3099">
                  <c:v>0.33637381477999995</c:v>
                </c:pt>
                <c:pt idx="3100">
                  <c:v>0.33650886898999999</c:v>
                </c:pt>
                <c:pt idx="3101">
                  <c:v>0.33661513037000002</c:v>
                </c:pt>
                <c:pt idx="3102">
                  <c:v>0.33672122324999998</c:v>
                </c:pt>
                <c:pt idx="3103">
                  <c:v>0.33682735812999998</c:v>
                </c:pt>
                <c:pt idx="3104">
                  <c:v>0.33693342606999999</c:v>
                </c:pt>
                <c:pt idx="3105">
                  <c:v>0.33706844848</c:v>
                </c:pt>
                <c:pt idx="3106">
                  <c:v>0.33717409693</c:v>
                </c:pt>
                <c:pt idx="3107">
                  <c:v>0.33728069454000004</c:v>
                </c:pt>
                <c:pt idx="3108">
                  <c:v>0.33738743346</c:v>
                </c:pt>
                <c:pt idx="3109">
                  <c:v>0.33749431103999999</c:v>
                </c:pt>
                <c:pt idx="3110">
                  <c:v>0.33763041794999998</c:v>
                </c:pt>
                <c:pt idx="3111">
                  <c:v>0.33773728256000002</c:v>
                </c:pt>
                <c:pt idx="3112">
                  <c:v>0.33784459268</c:v>
                </c:pt>
                <c:pt idx="3113">
                  <c:v>0.33795204195</c:v>
                </c:pt>
                <c:pt idx="3114">
                  <c:v>0.33805952804</c:v>
                </c:pt>
                <c:pt idx="3115">
                  <c:v>0.33819621575999997</c:v>
                </c:pt>
                <c:pt idx="3116">
                  <c:v>0.33830379294000001</c:v>
                </c:pt>
                <c:pt idx="3117">
                  <c:v>0.33841151025999999</c:v>
                </c:pt>
                <c:pt idx="3118">
                  <c:v>0.33851946997000004</c:v>
                </c:pt>
                <c:pt idx="3119">
                  <c:v>0.33862257200000001</c:v>
                </c:pt>
                <c:pt idx="3120">
                  <c:v>0.3387549447</c:v>
                </c:pt>
                <c:pt idx="3121">
                  <c:v>0.33885833827</c:v>
                </c:pt>
                <c:pt idx="3122">
                  <c:v>0.33896186681000001</c:v>
                </c:pt>
                <c:pt idx="3123">
                  <c:v>0.33907960912000001</c:v>
                </c:pt>
                <c:pt idx="3124">
                  <c:v>0.33921241972000005</c:v>
                </c:pt>
                <c:pt idx="3125">
                  <c:v>0.33931566108</c:v>
                </c:pt>
                <c:pt idx="3126">
                  <c:v>0.33941914313999999</c:v>
                </c:pt>
                <c:pt idx="3127">
                  <c:v>0.33952276607999998</c:v>
                </c:pt>
                <c:pt idx="3128">
                  <c:v>0.33962631919999997</c:v>
                </c:pt>
                <c:pt idx="3129">
                  <c:v>0.33975897966000002</c:v>
                </c:pt>
                <c:pt idx="3130">
                  <c:v>0.33986272008999996</c:v>
                </c:pt>
                <c:pt idx="3131">
                  <c:v>0.33996618737000001</c:v>
                </c:pt>
                <c:pt idx="3132">
                  <c:v>0.34007020219</c:v>
                </c:pt>
                <c:pt idx="3133">
                  <c:v>0.34017436041000004</c:v>
                </c:pt>
                <c:pt idx="3134">
                  <c:v>0.34030769163999997</c:v>
                </c:pt>
                <c:pt idx="3135">
                  <c:v>0.34041193268999997</c:v>
                </c:pt>
                <c:pt idx="3136">
                  <c:v>0.34051589663999998</c:v>
                </c:pt>
                <c:pt idx="3137">
                  <c:v>0.34062010797000003</c:v>
                </c:pt>
                <c:pt idx="3138">
                  <c:v>0.34072424701999998</c:v>
                </c:pt>
                <c:pt idx="3139">
                  <c:v>0.33699007104000001</c:v>
                </c:pt>
                <c:pt idx="3140">
                  <c:v>0.33709429711</c:v>
                </c:pt>
                <c:pt idx="3141">
                  <c:v>0.33719855717000002</c:v>
                </c:pt>
                <c:pt idx="3142">
                  <c:v>0.33730295714999997</c:v>
                </c:pt>
                <c:pt idx="3143">
                  <c:v>0.33740728950999999</c:v>
                </c:pt>
                <c:pt idx="3144">
                  <c:v>0.33754094384</c:v>
                </c:pt>
                <c:pt idx="3145">
                  <c:v>0.33764536107999998</c:v>
                </c:pt>
                <c:pt idx="3146">
                  <c:v>0.33774939995999997</c:v>
                </c:pt>
                <c:pt idx="3147">
                  <c:v>0.33785327043000002</c:v>
                </c:pt>
                <c:pt idx="3148">
                  <c:v>0.36384272229000003</c:v>
                </c:pt>
                <c:pt idx="3149">
                  <c:v>0.36398063202999997</c:v>
                </c:pt>
                <c:pt idx="3150">
                  <c:v>0.36408925720999996</c:v>
                </c:pt>
                <c:pt idx="3151">
                  <c:v>0.36419757035</c:v>
                </c:pt>
                <c:pt idx="3152">
                  <c:v>0.36088580599000003</c:v>
                </c:pt>
                <c:pt idx="3153">
                  <c:v>0.36099292192000004</c:v>
                </c:pt>
                <c:pt idx="3154">
                  <c:v>0.36112705301999998</c:v>
                </c:pt>
                <c:pt idx="3155">
                  <c:v>0.3612343616</c:v>
                </c:pt>
                <c:pt idx="3156">
                  <c:v>0.36134148032000002</c:v>
                </c:pt>
                <c:pt idx="3157">
                  <c:v>0.36144886129000003</c:v>
                </c:pt>
                <c:pt idx="3158">
                  <c:v>0.36155593263999997</c:v>
                </c:pt>
                <c:pt idx="3159">
                  <c:v>0.36168973966000001</c:v>
                </c:pt>
                <c:pt idx="3160">
                  <c:v>0.36179712144999998</c:v>
                </c:pt>
                <c:pt idx="3161">
                  <c:v>0.36190453895999997</c:v>
                </c:pt>
                <c:pt idx="3162">
                  <c:v>0.36201198895999998</c:v>
                </c:pt>
                <c:pt idx="3163">
                  <c:v>0.36211936357999996</c:v>
                </c:pt>
                <c:pt idx="3164">
                  <c:v>0.36225388322000002</c:v>
                </c:pt>
                <c:pt idx="3165">
                  <c:v>0.36236133926999997</c:v>
                </c:pt>
                <c:pt idx="3166">
                  <c:v>0.36246882752999998</c:v>
                </c:pt>
                <c:pt idx="3167">
                  <c:v>0.36257635622000001</c:v>
                </c:pt>
                <c:pt idx="3168">
                  <c:v>0.36268391614999995</c:v>
                </c:pt>
                <c:pt idx="3169">
                  <c:v>0.36281857769999998</c:v>
                </c:pt>
                <c:pt idx="3170">
                  <c:v>0.36292598683999999</c:v>
                </c:pt>
                <c:pt idx="3171">
                  <c:v>0.35611260650999998</c:v>
                </c:pt>
                <c:pt idx="3172">
                  <c:v>0.34929828229000004</c:v>
                </c:pt>
                <c:pt idx="3173">
                  <c:v>0.34940041386000004</c:v>
                </c:pt>
                <c:pt idx="3174">
                  <c:v>0.34951869463000002</c:v>
                </c:pt>
                <c:pt idx="3175">
                  <c:v>0.34962124085000001</c:v>
                </c:pt>
                <c:pt idx="3176">
                  <c:v>0.34972347822000005</c:v>
                </c:pt>
                <c:pt idx="3177">
                  <c:v>0.34982563031999997</c:v>
                </c:pt>
                <c:pt idx="3178">
                  <c:v>0.34992781708999998</c:v>
                </c:pt>
                <c:pt idx="3179">
                  <c:v>0.35004606860000004</c:v>
                </c:pt>
                <c:pt idx="3180">
                  <c:v>0.35014855895999997</c:v>
                </c:pt>
                <c:pt idx="3181">
                  <c:v>0.35025108226000001</c:v>
                </c:pt>
                <c:pt idx="3182">
                  <c:v>0.35035352448000001</c:v>
                </c:pt>
                <c:pt idx="3183">
                  <c:v>0.35045086106000001</c:v>
                </c:pt>
                <c:pt idx="3184">
                  <c:v>0.35056418280000001</c:v>
                </c:pt>
                <c:pt idx="3185">
                  <c:v>0.35066193979000004</c:v>
                </c:pt>
                <c:pt idx="3186">
                  <c:v>0.35075949202999995</c:v>
                </c:pt>
                <c:pt idx="3187">
                  <c:v>0.35085707325999999</c:v>
                </c:pt>
                <c:pt idx="3188">
                  <c:v>0.35097866347000001</c:v>
                </c:pt>
                <c:pt idx="3189">
                  <c:v>0.35107619567999998</c:v>
                </c:pt>
                <c:pt idx="3190">
                  <c:v>0.35117364141000001</c:v>
                </c:pt>
                <c:pt idx="3191">
                  <c:v>0.35127100163999997</c:v>
                </c:pt>
                <c:pt idx="3192">
                  <c:v>0.35136839554000004</c:v>
                </c:pt>
                <c:pt idx="3193">
                  <c:v>0.35148171993999999</c:v>
                </c:pt>
                <c:pt idx="3194">
                  <c:v>0.35157894338000001</c:v>
                </c:pt>
                <c:pt idx="3195">
                  <c:v>0.35167607760000003</c:v>
                </c:pt>
                <c:pt idx="3196">
                  <c:v>0.35177324110000002</c:v>
                </c:pt>
                <c:pt idx="3197">
                  <c:v>0.35187067323999999</c:v>
                </c:pt>
                <c:pt idx="3198">
                  <c:v>0.35198418719000002</c:v>
                </c:pt>
                <c:pt idx="3199">
                  <c:v>0.35208168058</c:v>
                </c:pt>
                <c:pt idx="3200">
                  <c:v>0.35217955936000001</c:v>
                </c:pt>
                <c:pt idx="3201">
                  <c:v>0.35227734548</c:v>
                </c:pt>
                <c:pt idx="3202">
                  <c:v>0.35237505029000005</c:v>
                </c:pt>
                <c:pt idx="3203">
                  <c:v>0.35248887373000004</c:v>
                </c:pt>
                <c:pt idx="3204">
                  <c:v>0.35258664174999998</c:v>
                </c:pt>
                <c:pt idx="3205">
                  <c:v>0.3526843201</c:v>
                </c:pt>
                <c:pt idx="3206">
                  <c:v>0.35278215305999999</c:v>
                </c:pt>
                <c:pt idx="3207">
                  <c:v>0.35288001206000003</c:v>
                </c:pt>
                <c:pt idx="3208">
                  <c:v>0.35299402508</c:v>
                </c:pt>
                <c:pt idx="3209">
                  <c:v>0.35309195027999996</c:v>
                </c:pt>
                <c:pt idx="3210">
                  <c:v>0.32693455943999999</c:v>
                </c:pt>
                <c:pt idx="3211">
                  <c:v>0.32702411943999998</c:v>
                </c:pt>
                <c:pt idx="3212">
                  <c:v>0.32711028207999998</c:v>
                </c:pt>
                <c:pt idx="3213">
                  <c:v>0.32719646927999996</c:v>
                </c:pt>
                <c:pt idx="3214">
                  <c:v>0.32728279852999997</c:v>
                </c:pt>
                <c:pt idx="3215">
                  <c:v>0.32736927075</c:v>
                </c:pt>
                <c:pt idx="3216">
                  <c:v>0.32745600789999996</c:v>
                </c:pt>
                <c:pt idx="3217">
                  <c:v>0.32754277280999999</c:v>
                </c:pt>
                <c:pt idx="3218">
                  <c:v>0.32763003436999999</c:v>
                </c:pt>
                <c:pt idx="3219">
                  <c:v>0.32771732122000002</c:v>
                </c:pt>
                <c:pt idx="3220">
                  <c:v>0.32780475302999995</c:v>
                </c:pt>
                <c:pt idx="3221">
                  <c:v>0.327891973</c:v>
                </c:pt>
                <c:pt idx="3222">
                  <c:v>0.32797898232</c:v>
                </c:pt>
                <c:pt idx="3223">
                  <c:v>0.32806590144999997</c:v>
                </c:pt>
                <c:pt idx="3224">
                  <c:v>0.33070070957999997</c:v>
                </c:pt>
                <c:pt idx="3225">
                  <c:v>0.33078779751999998</c:v>
                </c:pt>
                <c:pt idx="3226">
                  <c:v>0.31740287902999997</c:v>
                </c:pt>
                <c:pt idx="3227">
                  <c:v>0.31749037461000001</c:v>
                </c:pt>
                <c:pt idx="3228">
                  <c:v>0.31757789673000003</c:v>
                </c:pt>
                <c:pt idx="3229">
                  <c:v>0.31766556504999999</c:v>
                </c:pt>
                <c:pt idx="3230">
                  <c:v>0.31775278483999997</c:v>
                </c:pt>
                <c:pt idx="3231">
                  <c:v>0.31784002944</c:v>
                </c:pt>
                <c:pt idx="3232">
                  <c:v>0.31792706118999997</c:v>
                </c:pt>
                <c:pt idx="3233">
                  <c:v>0.31801400275999997</c:v>
                </c:pt>
                <c:pt idx="3234">
                  <c:v>0.31810097057999998</c:v>
                </c:pt>
                <c:pt idx="3235">
                  <c:v>0.31818784351999996</c:v>
                </c:pt>
                <c:pt idx="3236">
                  <c:v>0.31827450536000002</c:v>
                </c:pt>
                <c:pt idx="3237">
                  <c:v>0.31836095189999997</c:v>
                </c:pt>
                <c:pt idx="3238">
                  <c:v>0.31844718482000001</c:v>
                </c:pt>
                <c:pt idx="3239">
                  <c:v>0.36881188593999997</c:v>
                </c:pt>
                <c:pt idx="3240">
                  <c:v>0.36891526487999998</c:v>
                </c:pt>
                <c:pt idx="3241">
                  <c:v>0.36901881413999998</c:v>
                </c:pt>
                <c:pt idx="3242">
                  <c:v>0.36912225547000005</c:v>
                </c:pt>
                <c:pt idx="3243">
                  <c:v>0.36922558651999998</c:v>
                </c:pt>
                <c:pt idx="3244">
                  <c:v>0.36932838944000002</c:v>
                </c:pt>
                <c:pt idx="3245">
                  <c:v>0.36943108131000002</c:v>
                </c:pt>
                <c:pt idx="3246">
                  <c:v>0.36953394289999997</c:v>
                </c:pt>
                <c:pt idx="3247">
                  <c:v>0.36963683855000001</c:v>
                </c:pt>
                <c:pt idx="3248">
                  <c:v>0.36973962089000001</c:v>
                </c:pt>
                <c:pt idx="3249">
                  <c:v>0.36984229749999997</c:v>
                </c:pt>
                <c:pt idx="3250">
                  <c:v>0.36994486019</c:v>
                </c:pt>
                <c:pt idx="3251">
                  <c:v>0.37004702991999999</c:v>
                </c:pt>
                <c:pt idx="3252">
                  <c:v>0.37014866822000003</c:v>
                </c:pt>
                <c:pt idx="3253">
                  <c:v>0.37025033586</c:v>
                </c:pt>
                <c:pt idx="3254">
                  <c:v>0.37035175164999995</c:v>
                </c:pt>
                <c:pt idx="3255">
                  <c:v>0.37045248785000001</c:v>
                </c:pt>
                <c:pt idx="3256">
                  <c:v>0.42056411467999999</c:v>
                </c:pt>
                <c:pt idx="3257">
                  <c:v>0.42067558894000001</c:v>
                </c:pt>
                <c:pt idx="3258">
                  <c:v>0.42078661601</c:v>
                </c:pt>
                <c:pt idx="3259">
                  <c:v>0.42089781582999997</c:v>
                </c:pt>
                <c:pt idx="3260">
                  <c:v>0.42103147688999998</c:v>
                </c:pt>
                <c:pt idx="3261">
                  <c:v>0.42115406766000002</c:v>
                </c:pt>
                <c:pt idx="3262">
                  <c:v>0.42126611047000001</c:v>
                </c:pt>
                <c:pt idx="3263">
                  <c:v>0.37039804522000003</c:v>
                </c:pt>
                <c:pt idx="3264">
                  <c:v>0.37039804522000003</c:v>
                </c:pt>
                <c:pt idx="3265">
                  <c:v>0.37039804522000003</c:v>
                </c:pt>
                <c:pt idx="3266">
                  <c:v>0.42174801294999997</c:v>
                </c:pt>
                <c:pt idx="3267">
                  <c:v>0.42186048579000002</c:v>
                </c:pt>
                <c:pt idx="3268">
                  <c:v>0.42199533573000003</c:v>
                </c:pt>
                <c:pt idx="3269">
                  <c:v>0.42210787058999999</c:v>
                </c:pt>
                <c:pt idx="3270">
                  <c:v>0.42222029106999998</c:v>
                </c:pt>
                <c:pt idx="3271">
                  <c:v>0.42233260066</c:v>
                </c:pt>
                <c:pt idx="3272">
                  <c:v>0.42244508147000004</c:v>
                </c:pt>
                <c:pt idx="3273">
                  <c:v>0.42257998294999999</c:v>
                </c:pt>
                <c:pt idx="3274">
                  <c:v>0.42269281067000003</c:v>
                </c:pt>
                <c:pt idx="3275">
                  <c:v>0.42280585851999997</c:v>
                </c:pt>
                <c:pt idx="3276">
                  <c:v>0.42291888744</c:v>
                </c:pt>
                <c:pt idx="3277">
                  <c:v>0.57303199555999995</c:v>
                </c:pt>
                <c:pt idx="3278">
                  <c:v>0.57316709677</c:v>
                </c:pt>
                <c:pt idx="3279">
                  <c:v>0.57328007264000003</c:v>
                </c:pt>
                <c:pt idx="3280">
                  <c:v>0.52039804521999999</c:v>
                </c:pt>
                <c:pt idx="3281">
                  <c:v>0.52039804521999999</c:v>
                </c:pt>
                <c:pt idx="3282">
                  <c:v>0.53739804522000001</c:v>
                </c:pt>
                <c:pt idx="3283">
                  <c:v>0.53739804522000001</c:v>
                </c:pt>
                <c:pt idx="3284">
                  <c:v>0.53739804522000001</c:v>
                </c:pt>
                <c:pt idx="3285">
                  <c:v>0.53739804522000001</c:v>
                </c:pt>
                <c:pt idx="3286">
                  <c:v>0.53739804522000001</c:v>
                </c:pt>
                <c:pt idx="3287">
                  <c:v>0.53739804522000001</c:v>
                </c:pt>
                <c:pt idx="3288">
                  <c:v>0.53739804522000001</c:v>
                </c:pt>
                <c:pt idx="3289">
                  <c:v>0.59145848388</c:v>
                </c:pt>
                <c:pt idx="3290">
                  <c:v>0.53739804522000001</c:v>
                </c:pt>
                <c:pt idx="3291">
                  <c:v>0.59168613025000005</c:v>
                </c:pt>
                <c:pt idx="3292">
                  <c:v>0.59179988246000004</c:v>
                </c:pt>
                <c:pt idx="3293">
                  <c:v>0.53739804522000001</c:v>
                </c:pt>
                <c:pt idx="3294">
                  <c:v>0.59207217455999994</c:v>
                </c:pt>
                <c:pt idx="3295">
                  <c:v>0.59218587623999996</c:v>
                </c:pt>
                <c:pt idx="3296">
                  <c:v>0.53739804522000001</c:v>
                </c:pt>
                <c:pt idx="3297">
                  <c:v>0.53739804522000001</c:v>
                </c:pt>
                <c:pt idx="3298">
                  <c:v>0.55749757664999999</c:v>
                </c:pt>
                <c:pt idx="3299">
                  <c:v>0.59266342495000002</c:v>
                </c:pt>
                <c:pt idx="3300">
                  <c:v>0.55749757664999999</c:v>
                </c:pt>
                <c:pt idx="3301">
                  <c:v>0.55749757664999999</c:v>
                </c:pt>
                <c:pt idx="3302">
                  <c:v>0.55749757664999999</c:v>
                </c:pt>
                <c:pt idx="3303">
                  <c:v>0.55749757664999999</c:v>
                </c:pt>
                <c:pt idx="3304">
                  <c:v>0.55749757664999999</c:v>
                </c:pt>
                <c:pt idx="3305">
                  <c:v>0.55749757664999999</c:v>
                </c:pt>
                <c:pt idx="3306">
                  <c:v>0.55749757664999999</c:v>
                </c:pt>
                <c:pt idx="3307">
                  <c:v>0.55749757664999999</c:v>
                </c:pt>
                <c:pt idx="3308">
                  <c:v>0.55749757664999999</c:v>
                </c:pt>
                <c:pt idx="3309">
                  <c:v>0.55749757664999999</c:v>
                </c:pt>
                <c:pt idx="3310">
                  <c:v>0.55749757664999999</c:v>
                </c:pt>
                <c:pt idx="3311">
                  <c:v>0.55749757664999999</c:v>
                </c:pt>
                <c:pt idx="3312">
                  <c:v>0.55749757664999999</c:v>
                </c:pt>
                <c:pt idx="3313">
                  <c:v>0.55749757664999999</c:v>
                </c:pt>
                <c:pt idx="3314">
                  <c:v>0.55749757664999999</c:v>
                </c:pt>
                <c:pt idx="3315">
                  <c:v>0.55749757664999999</c:v>
                </c:pt>
                <c:pt idx="3316">
                  <c:v>0.55749757664999999</c:v>
                </c:pt>
                <c:pt idx="3317">
                  <c:v>0.59481952341</c:v>
                </c:pt>
                <c:pt idx="3318">
                  <c:v>0.55749757664999999</c:v>
                </c:pt>
                <c:pt idx="3319">
                  <c:v>0.55749757664999999</c:v>
                </c:pt>
                <c:pt idx="3320">
                  <c:v>0.55749757664999999</c:v>
                </c:pt>
                <c:pt idx="3321">
                  <c:v>0.55749757664999999</c:v>
                </c:pt>
                <c:pt idx="3322">
                  <c:v>0.56107525627999999</c:v>
                </c:pt>
                <c:pt idx="3323">
                  <c:v>0.56107525627999999</c:v>
                </c:pt>
                <c:pt idx="3324">
                  <c:v>0.56107525627999999</c:v>
                </c:pt>
                <c:pt idx="3325">
                  <c:v>0.56107525627999999</c:v>
                </c:pt>
                <c:pt idx="3326">
                  <c:v>0.56107525627999999</c:v>
                </c:pt>
                <c:pt idx="3327">
                  <c:v>0.56107525627999999</c:v>
                </c:pt>
                <c:pt idx="3328">
                  <c:v>0.56107525627999999</c:v>
                </c:pt>
                <c:pt idx="3329">
                  <c:v>0.56107525627999999</c:v>
                </c:pt>
                <c:pt idx="3330">
                  <c:v>0.56107525627999999</c:v>
                </c:pt>
                <c:pt idx="3331">
                  <c:v>0.56107525627999999</c:v>
                </c:pt>
                <c:pt idx="3332">
                  <c:v>0.56107525627999999</c:v>
                </c:pt>
                <c:pt idx="3333">
                  <c:v>0.56107525627999999</c:v>
                </c:pt>
                <c:pt idx="3334">
                  <c:v>0.56107525627999999</c:v>
                </c:pt>
                <c:pt idx="3335">
                  <c:v>0.56107525627999999</c:v>
                </c:pt>
                <c:pt idx="3336">
                  <c:v>0.56107525627999999</c:v>
                </c:pt>
                <c:pt idx="3337">
                  <c:v>0.56107525627999999</c:v>
                </c:pt>
                <c:pt idx="3338">
                  <c:v>0.56107525627999999</c:v>
                </c:pt>
                <c:pt idx="3339">
                  <c:v>0.56107525627999999</c:v>
                </c:pt>
                <c:pt idx="3340">
                  <c:v>0.56107525627999999</c:v>
                </c:pt>
                <c:pt idx="3341">
                  <c:v>0.56107525627999999</c:v>
                </c:pt>
                <c:pt idx="3342">
                  <c:v>0.56107525627999999</c:v>
                </c:pt>
                <c:pt idx="3343">
                  <c:v>0.56107525627999999</c:v>
                </c:pt>
                <c:pt idx="3344">
                  <c:v>0.56107525627999999</c:v>
                </c:pt>
                <c:pt idx="3345">
                  <c:v>0.56107525627999999</c:v>
                </c:pt>
                <c:pt idx="3346">
                  <c:v>0.56107525627999999</c:v>
                </c:pt>
                <c:pt idx="3347">
                  <c:v>0.56107525627999999</c:v>
                </c:pt>
                <c:pt idx="3348">
                  <c:v>0.56107525627999999</c:v>
                </c:pt>
                <c:pt idx="3349">
                  <c:v>0.56107525627999999</c:v>
                </c:pt>
                <c:pt idx="3350">
                  <c:v>0.56107525627999999</c:v>
                </c:pt>
                <c:pt idx="3351">
                  <c:v>0.56107525627999999</c:v>
                </c:pt>
                <c:pt idx="3352">
                  <c:v>0.56107525627999999</c:v>
                </c:pt>
                <c:pt idx="3353">
                  <c:v>0.56107525627999999</c:v>
                </c:pt>
                <c:pt idx="3354">
                  <c:v>0.56107525627999999</c:v>
                </c:pt>
                <c:pt idx="3355">
                  <c:v>0.56107525627999999</c:v>
                </c:pt>
                <c:pt idx="3356">
                  <c:v>0.56107525627999999</c:v>
                </c:pt>
                <c:pt idx="3357">
                  <c:v>0.56107525627999999</c:v>
                </c:pt>
                <c:pt idx="3358">
                  <c:v>0.56107525627999999</c:v>
                </c:pt>
                <c:pt idx="3359">
                  <c:v>0.56107525627999999</c:v>
                </c:pt>
                <c:pt idx="3360">
                  <c:v>0.56107525627999999</c:v>
                </c:pt>
                <c:pt idx="3361">
                  <c:v>0.56107525627999999</c:v>
                </c:pt>
                <c:pt idx="3362">
                  <c:v>0.56107525627999999</c:v>
                </c:pt>
                <c:pt idx="3363">
                  <c:v>0.56107525627999999</c:v>
                </c:pt>
                <c:pt idx="3364">
                  <c:v>0.56107525627999999</c:v>
                </c:pt>
                <c:pt idx="3365">
                  <c:v>0.56107525627999999</c:v>
                </c:pt>
                <c:pt idx="3366">
                  <c:v>0.56107525627999999</c:v>
                </c:pt>
                <c:pt idx="3367">
                  <c:v>0.56022722455999996</c:v>
                </c:pt>
                <c:pt idx="3368">
                  <c:v>0.56022722455999996</c:v>
                </c:pt>
                <c:pt idx="3369">
                  <c:v>0.56022722455999996</c:v>
                </c:pt>
                <c:pt idx="3370">
                  <c:v>0.56022722455999996</c:v>
                </c:pt>
                <c:pt idx="3371">
                  <c:v>0.56022722455999996</c:v>
                </c:pt>
                <c:pt idx="3372">
                  <c:v>0.56022722455999996</c:v>
                </c:pt>
                <c:pt idx="3373">
                  <c:v>0.56022722455999996</c:v>
                </c:pt>
                <c:pt idx="3374">
                  <c:v>0.56022722455999996</c:v>
                </c:pt>
                <c:pt idx="3375">
                  <c:v>0.56022722455999996</c:v>
                </c:pt>
                <c:pt idx="3376">
                  <c:v>0.56022722455999996</c:v>
                </c:pt>
                <c:pt idx="3377">
                  <c:v>0.56022722455999996</c:v>
                </c:pt>
                <c:pt idx="3378">
                  <c:v>0.56022722455999996</c:v>
                </c:pt>
                <c:pt idx="3379">
                  <c:v>0.56022722455999996</c:v>
                </c:pt>
                <c:pt idx="3380">
                  <c:v>0.56022722455999996</c:v>
                </c:pt>
                <c:pt idx="3381">
                  <c:v>0.56022722455999996</c:v>
                </c:pt>
                <c:pt idx="3382">
                  <c:v>0.56022722455999996</c:v>
                </c:pt>
                <c:pt idx="3383">
                  <c:v>0.56022722455999996</c:v>
                </c:pt>
                <c:pt idx="3384">
                  <c:v>0.56022722455999996</c:v>
                </c:pt>
                <c:pt idx="3385">
                  <c:v>0.56022722455999996</c:v>
                </c:pt>
                <c:pt idx="3386">
                  <c:v>0.56022722455999996</c:v>
                </c:pt>
                <c:pt idx="3387">
                  <c:v>0.56022722455999996</c:v>
                </c:pt>
                <c:pt idx="3388">
                  <c:v>0.56022722455999996</c:v>
                </c:pt>
                <c:pt idx="3389">
                  <c:v>0.56022722455999996</c:v>
                </c:pt>
                <c:pt idx="3390">
                  <c:v>0.56022722455999996</c:v>
                </c:pt>
                <c:pt idx="3391">
                  <c:v>0.56022722455999996</c:v>
                </c:pt>
                <c:pt idx="3392">
                  <c:v>0.56022722455999996</c:v>
                </c:pt>
                <c:pt idx="3393">
                  <c:v>0.56022722455999996</c:v>
                </c:pt>
                <c:pt idx="3394">
                  <c:v>0.56022722455999996</c:v>
                </c:pt>
                <c:pt idx="3395">
                  <c:v>0.56022722455999996</c:v>
                </c:pt>
                <c:pt idx="3396">
                  <c:v>0.56022722455999996</c:v>
                </c:pt>
                <c:pt idx="3397">
                  <c:v>0.56022722455999996</c:v>
                </c:pt>
                <c:pt idx="3398">
                  <c:v>0.56022722455999996</c:v>
                </c:pt>
                <c:pt idx="3399">
                  <c:v>0.56022722455999996</c:v>
                </c:pt>
                <c:pt idx="3400">
                  <c:v>0.56022722455999996</c:v>
                </c:pt>
                <c:pt idx="3401">
                  <c:v>0.56022722455999996</c:v>
                </c:pt>
                <c:pt idx="3402">
                  <c:v>0.56022722455999996</c:v>
                </c:pt>
                <c:pt idx="3403">
                  <c:v>0.56022722455999996</c:v>
                </c:pt>
                <c:pt idx="3404">
                  <c:v>0.56022722455999996</c:v>
                </c:pt>
                <c:pt idx="3405">
                  <c:v>0.56022722455999996</c:v>
                </c:pt>
                <c:pt idx="3406">
                  <c:v>0.56022722455999996</c:v>
                </c:pt>
                <c:pt idx="3407">
                  <c:v>0.56022722455999996</c:v>
                </c:pt>
                <c:pt idx="3408">
                  <c:v>0.56022722455999996</c:v>
                </c:pt>
                <c:pt idx="3409">
                  <c:v>0.56022722455999996</c:v>
                </c:pt>
                <c:pt idx="3410">
                  <c:v>0.56022722455999996</c:v>
                </c:pt>
                <c:pt idx="3411">
                  <c:v>0.56022722455999996</c:v>
                </c:pt>
                <c:pt idx="3412">
                  <c:v>0.56022722455999996</c:v>
                </c:pt>
                <c:pt idx="3413">
                  <c:v>0.56022722455999996</c:v>
                </c:pt>
                <c:pt idx="3414">
                  <c:v>0.56022722455999996</c:v>
                </c:pt>
                <c:pt idx="3415">
                  <c:v>0.56022722455999996</c:v>
                </c:pt>
                <c:pt idx="3416">
                  <c:v>0.56022722455999996</c:v>
                </c:pt>
                <c:pt idx="3417">
                  <c:v>0.56022722455999996</c:v>
                </c:pt>
                <c:pt idx="3418">
                  <c:v>0.56022722455999996</c:v>
                </c:pt>
                <c:pt idx="3419">
                  <c:v>0.56022722455999996</c:v>
                </c:pt>
                <c:pt idx="3420">
                  <c:v>0.56022722455999996</c:v>
                </c:pt>
                <c:pt idx="3421">
                  <c:v>0.56022722455999996</c:v>
                </c:pt>
                <c:pt idx="3422">
                  <c:v>0.56022722455999996</c:v>
                </c:pt>
                <c:pt idx="3423">
                  <c:v>0.56022722455999996</c:v>
                </c:pt>
                <c:pt idx="3424">
                  <c:v>0.56022722455999996</c:v>
                </c:pt>
                <c:pt idx="3425">
                  <c:v>0.56022722455999996</c:v>
                </c:pt>
                <c:pt idx="3426">
                  <c:v>0.56022722455999996</c:v>
                </c:pt>
                <c:pt idx="3427">
                  <c:v>0.56022722455999996</c:v>
                </c:pt>
                <c:pt idx="3428">
                  <c:v>0.56022722455999996</c:v>
                </c:pt>
                <c:pt idx="3429">
                  <c:v>0.56022722455999996</c:v>
                </c:pt>
                <c:pt idx="3430">
                  <c:v>0.56022722455999996</c:v>
                </c:pt>
                <c:pt idx="3431">
                  <c:v>0.56022722455999996</c:v>
                </c:pt>
                <c:pt idx="3432">
                  <c:v>0.56022722455999996</c:v>
                </c:pt>
                <c:pt idx="3433">
                  <c:v>0.56022722455999996</c:v>
                </c:pt>
                <c:pt idx="3434">
                  <c:v>0.56022722455999996</c:v>
                </c:pt>
                <c:pt idx="3435">
                  <c:v>0.56022722455999996</c:v>
                </c:pt>
                <c:pt idx="3436">
                  <c:v>0.56022722455999996</c:v>
                </c:pt>
                <c:pt idx="3437">
                  <c:v>0.56022722455999996</c:v>
                </c:pt>
                <c:pt idx="3438">
                  <c:v>0.56022722455999996</c:v>
                </c:pt>
                <c:pt idx="3439">
                  <c:v>0.56022722455999996</c:v>
                </c:pt>
                <c:pt idx="3440">
                  <c:v>0.56022722455999996</c:v>
                </c:pt>
                <c:pt idx="3441">
                  <c:v>0.56022722455999996</c:v>
                </c:pt>
                <c:pt idx="3442">
                  <c:v>0.56022722455999996</c:v>
                </c:pt>
                <c:pt idx="3443">
                  <c:v>0.56022722455999996</c:v>
                </c:pt>
                <c:pt idx="3444">
                  <c:v>0.56022722455999996</c:v>
                </c:pt>
                <c:pt idx="3445">
                  <c:v>0.56022722455999996</c:v>
                </c:pt>
                <c:pt idx="3446">
                  <c:v>0.56022722455999996</c:v>
                </c:pt>
                <c:pt idx="3447">
                  <c:v>0.56022722455999996</c:v>
                </c:pt>
                <c:pt idx="3448">
                  <c:v>0.56022722455999996</c:v>
                </c:pt>
                <c:pt idx="3449">
                  <c:v>0.56022722455999996</c:v>
                </c:pt>
                <c:pt idx="3450">
                  <c:v>0.56022722455999996</c:v>
                </c:pt>
                <c:pt idx="3451">
                  <c:v>0.56022722455999996</c:v>
                </c:pt>
                <c:pt idx="3452">
                  <c:v>0.45022722456000003</c:v>
                </c:pt>
                <c:pt idx="3453">
                  <c:v>0.92912722455999996</c:v>
                </c:pt>
                <c:pt idx="3454">
                  <c:v>0.92912722455999996</c:v>
                </c:pt>
                <c:pt idx="3455">
                  <c:v>0.92912722455999996</c:v>
                </c:pt>
                <c:pt idx="3456">
                  <c:v>0.92912722455999996</c:v>
                </c:pt>
                <c:pt idx="3457">
                  <c:v>0.92912722455999996</c:v>
                </c:pt>
                <c:pt idx="3458">
                  <c:v>0.92912722455999996</c:v>
                </c:pt>
                <c:pt idx="3459">
                  <c:v>0.87912722455999992</c:v>
                </c:pt>
                <c:pt idx="3460">
                  <c:v>0.87912722455999992</c:v>
                </c:pt>
                <c:pt idx="3461">
                  <c:v>0.87073791167999992</c:v>
                </c:pt>
                <c:pt idx="3462">
                  <c:v>0.87073791167999992</c:v>
                </c:pt>
                <c:pt idx="3463">
                  <c:v>0.87073791167999992</c:v>
                </c:pt>
                <c:pt idx="3464">
                  <c:v>0.86773791167999992</c:v>
                </c:pt>
                <c:pt idx="3465">
                  <c:v>0.86773791167999992</c:v>
                </c:pt>
                <c:pt idx="3466">
                  <c:v>0.86773791167999992</c:v>
                </c:pt>
                <c:pt idx="3467">
                  <c:v>0.86773791167999992</c:v>
                </c:pt>
                <c:pt idx="3468">
                  <c:v>0.86773791167999992</c:v>
                </c:pt>
                <c:pt idx="3469">
                  <c:v>0.86773791167999992</c:v>
                </c:pt>
                <c:pt idx="3470">
                  <c:v>0.86773791167999992</c:v>
                </c:pt>
                <c:pt idx="3471">
                  <c:v>0.86773791167999992</c:v>
                </c:pt>
                <c:pt idx="3472">
                  <c:v>0.86773791167999992</c:v>
                </c:pt>
                <c:pt idx="3473">
                  <c:v>0.86773791167999992</c:v>
                </c:pt>
                <c:pt idx="3474">
                  <c:v>0.85174191167999991</c:v>
                </c:pt>
                <c:pt idx="3475">
                  <c:v>0.86446291168</c:v>
                </c:pt>
                <c:pt idx="3476">
                  <c:v>0.86446291168</c:v>
                </c:pt>
                <c:pt idx="3477">
                  <c:v>0.86446291168</c:v>
                </c:pt>
                <c:pt idx="3478">
                  <c:v>0.86446291168</c:v>
                </c:pt>
                <c:pt idx="3479">
                  <c:v>0.86446291168</c:v>
                </c:pt>
                <c:pt idx="3480">
                  <c:v>0.86446291168</c:v>
                </c:pt>
                <c:pt idx="3481">
                  <c:v>0.86446291168</c:v>
                </c:pt>
                <c:pt idx="3482">
                  <c:v>0.86446291168</c:v>
                </c:pt>
                <c:pt idx="3483">
                  <c:v>0.86446291168</c:v>
                </c:pt>
                <c:pt idx="3484">
                  <c:v>0.86352541167999997</c:v>
                </c:pt>
                <c:pt idx="3485">
                  <c:v>0.86352541167999997</c:v>
                </c:pt>
                <c:pt idx="3486">
                  <c:v>0.86352541167999997</c:v>
                </c:pt>
                <c:pt idx="3487">
                  <c:v>0.86352541167999997</c:v>
                </c:pt>
                <c:pt idx="3488">
                  <c:v>0.86352541167999997</c:v>
                </c:pt>
                <c:pt idx="3489">
                  <c:v>0.86352541167999997</c:v>
                </c:pt>
                <c:pt idx="3490">
                  <c:v>0.86352541167999997</c:v>
                </c:pt>
                <c:pt idx="3491">
                  <c:v>0.86352541167999997</c:v>
                </c:pt>
                <c:pt idx="3492">
                  <c:v>0.86352541167999997</c:v>
                </c:pt>
                <c:pt idx="3493">
                  <c:v>0.84528997167999997</c:v>
                </c:pt>
                <c:pt idx="3494">
                  <c:v>0.84528997167999997</c:v>
                </c:pt>
                <c:pt idx="3495">
                  <c:v>0.84528997167999997</c:v>
                </c:pt>
                <c:pt idx="3496">
                  <c:v>0.84528997167999997</c:v>
                </c:pt>
                <c:pt idx="3497">
                  <c:v>0.84528997167999997</c:v>
                </c:pt>
                <c:pt idx="3498">
                  <c:v>0.84528997167999997</c:v>
                </c:pt>
                <c:pt idx="3499">
                  <c:v>0.84528997167999997</c:v>
                </c:pt>
                <c:pt idx="3500">
                  <c:v>0.84528997167999997</c:v>
                </c:pt>
                <c:pt idx="3501">
                  <c:v>0.84435247167999994</c:v>
                </c:pt>
                <c:pt idx="3502">
                  <c:v>0.84435247167999994</c:v>
                </c:pt>
                <c:pt idx="3503">
                  <c:v>0.85577247167999992</c:v>
                </c:pt>
                <c:pt idx="3504">
                  <c:v>0.85577247167999992</c:v>
                </c:pt>
                <c:pt idx="3505">
                  <c:v>0.85577247167999992</c:v>
                </c:pt>
                <c:pt idx="3506">
                  <c:v>0.85577247167999992</c:v>
                </c:pt>
                <c:pt idx="3507">
                  <c:v>0.85577247167999992</c:v>
                </c:pt>
                <c:pt idx="3508">
                  <c:v>0.91922349120000002</c:v>
                </c:pt>
                <c:pt idx="3509">
                  <c:v>0.91925452679999997</c:v>
                </c:pt>
                <c:pt idx="3510">
                  <c:v>0.95178357844000006</c:v>
                </c:pt>
                <c:pt idx="3511">
                  <c:v>0.95181464612</c:v>
                </c:pt>
                <c:pt idx="3512">
                  <c:v>0.95184572987000005</c:v>
                </c:pt>
                <c:pt idx="3513">
                  <c:v>0.95187682970999998</c:v>
                </c:pt>
                <c:pt idx="3514">
                  <c:v>0.96881316597</c:v>
                </c:pt>
                <c:pt idx="3515">
                  <c:v>0.96885988348999996</c:v>
                </c:pt>
                <c:pt idx="3516">
                  <c:v>0.96890662383000004</c:v>
                </c:pt>
                <c:pt idx="3517">
                  <c:v>0.96895338705</c:v>
                </c:pt>
                <c:pt idx="3518">
                  <c:v>0.96900017309000008</c:v>
                </c:pt>
                <c:pt idx="3519">
                  <c:v>0.96904698199000006</c:v>
                </c:pt>
                <c:pt idx="3520">
                  <c:v>0.96909381378999992</c:v>
                </c:pt>
                <c:pt idx="3521">
                  <c:v>0.96914066839000002</c:v>
                </c:pt>
                <c:pt idx="3522">
                  <c:v>0.96918754600000001</c:v>
                </c:pt>
                <c:pt idx="3523">
                  <c:v>0.97922244645000001</c:v>
                </c:pt>
                <c:pt idx="3524">
                  <c:v>0.97926936982000001</c:v>
                </c:pt>
                <c:pt idx="3525">
                  <c:v>0.97931631615999992</c:v>
                </c:pt>
                <c:pt idx="3526">
                  <c:v>1.0493632853899999</c:v>
                </c:pt>
                <c:pt idx="3527">
                  <c:v>1.04941027754</c:v>
                </c:pt>
                <c:pt idx="3528">
                  <c:v>1.0494572927200001</c:v>
                </c:pt>
                <c:pt idx="3529">
                  <c:v>1.0495043308900001</c:v>
                </c:pt>
                <c:pt idx="3530">
                  <c:v>1.1353897372399999</c:v>
                </c:pt>
                <c:pt idx="3531">
                  <c:v>1.1354751837499999</c:v>
                </c:pt>
                <c:pt idx="3532">
                  <c:v>1.1355606703499999</c:v>
                </c:pt>
                <c:pt idx="3533">
                  <c:v>1.13564619721</c:v>
                </c:pt>
                <c:pt idx="3534">
                  <c:v>1.14342376422</c:v>
                </c:pt>
                <c:pt idx="3535">
                  <c:v>1.1236219383900001</c:v>
                </c:pt>
                <c:pt idx="3536">
                  <c:v>1.1237075857700001</c:v>
                </c:pt>
                <c:pt idx="3537">
                  <c:v>1.12379327349</c:v>
                </c:pt>
                <c:pt idx="3538">
                  <c:v>1.12387900152</c:v>
                </c:pt>
                <c:pt idx="3539">
                  <c:v>1.1239647698199999</c:v>
                </c:pt>
                <c:pt idx="3540">
                  <c:v>1.1240505784600001</c:v>
                </c:pt>
                <c:pt idx="3541">
                  <c:v>1.1647623573900001</c:v>
                </c:pt>
                <c:pt idx="3542">
                  <c:v>1.1648482467200001</c:v>
                </c:pt>
                <c:pt idx="3543">
                  <c:v>1.1649341762900001</c:v>
                </c:pt>
                <c:pt idx="3544">
                  <c:v>1.1650201463099998</c:v>
                </c:pt>
                <c:pt idx="3545">
                  <c:v>1.1651061568900001</c:v>
                </c:pt>
                <c:pt idx="3546">
                  <c:v>1.1651922077300001</c:v>
                </c:pt>
                <c:pt idx="3547">
                  <c:v>1.1751952991500001</c:v>
                </c:pt>
                <c:pt idx="3548">
                  <c:v>1.1815784309400001</c:v>
                </c:pt>
                <c:pt idx="3549">
                  <c:v>1.18166460324</c:v>
                </c:pt>
                <c:pt idx="3550">
                  <c:v>1.1817508161199999</c:v>
                </c:pt>
                <c:pt idx="3551">
                  <c:v>1.1831100693900001</c:v>
                </c:pt>
                <c:pt idx="3552">
                  <c:v>1.1875593633199999</c:v>
                </c:pt>
                <c:pt idx="3553">
                  <c:v>1.2291456977599999</c:v>
                </c:pt>
                <c:pt idx="3554">
                  <c:v>1.2292320727899999</c:v>
                </c:pt>
                <c:pt idx="3555">
                  <c:v>1.2293184884300001</c:v>
                </c:pt>
                <c:pt idx="3556">
                  <c:v>1.2094180329000002</c:v>
                </c:pt>
                <c:pt idx="3557">
                  <c:v>1.20950452982</c:v>
                </c:pt>
                <c:pt idx="3558">
                  <c:v>1.2095910673800001</c:v>
                </c:pt>
                <c:pt idx="3559">
                  <c:v>1.20967764571</c:v>
                </c:pt>
                <c:pt idx="3560">
                  <c:v>1.20976426471</c:v>
                </c:pt>
                <c:pt idx="3561">
                  <c:v>1.2098509243900002</c:v>
                </c:pt>
                <c:pt idx="3562">
                  <c:v>1.20993762484</c:v>
                </c:pt>
                <c:pt idx="3563">
                  <c:v>1.21559136604</c:v>
                </c:pt>
                <c:pt idx="3564">
                  <c:v>1.2156781481300001</c:v>
                </c:pt>
                <c:pt idx="3565">
                  <c:v>1.21576497097</c:v>
                </c:pt>
                <c:pt idx="3566">
                  <c:v>1.21585183464</c:v>
                </c:pt>
                <c:pt idx="3567">
                  <c:v>1.2159387390600001</c:v>
                </c:pt>
                <c:pt idx="3568">
                  <c:v>1.2160256843900001</c:v>
                </c:pt>
                <c:pt idx="3569">
                  <c:v>1.2161126706800001</c:v>
                </c:pt>
                <c:pt idx="3570">
                  <c:v>1.2161996978699998</c:v>
                </c:pt>
                <c:pt idx="3571">
                  <c:v>1.2162867658599998</c:v>
                </c:pt>
                <c:pt idx="3572">
                  <c:v>1.2163738748800001</c:v>
                </c:pt>
                <c:pt idx="3573">
                  <c:v>1.2164610249000001</c:v>
                </c:pt>
                <c:pt idx="3574">
                  <c:v>1.1953623897000001</c:v>
                </c:pt>
                <c:pt idx="3575">
                  <c:v>1.1954496216600001</c:v>
                </c:pt>
                <c:pt idx="3576">
                  <c:v>1.22904507525</c:v>
                </c:pt>
                <c:pt idx="3577">
                  <c:v>1.2291323892399999</c:v>
                </c:pt>
                <c:pt idx="3578">
                  <c:v>1.2292197443599999</c:v>
                </c:pt>
                <c:pt idx="3579">
                  <c:v>1.22930714048</c:v>
                </c:pt>
                <c:pt idx="3580">
                  <c:v>1.2293945777999999</c:v>
                </c:pt>
                <c:pt idx="3581">
                  <c:v>1.2289395011300002</c:v>
                </c:pt>
                <c:pt idx="3582">
                  <c:v>1.22902702063</c:v>
                </c:pt>
                <c:pt idx="3583">
                  <c:v>1.2250345814100001</c:v>
                </c:pt>
                <c:pt idx="3584">
                  <c:v>1.2251221832599999</c:v>
                </c:pt>
                <c:pt idx="3585">
                  <c:v>1.22520982635</c:v>
                </c:pt>
                <c:pt idx="3586">
                  <c:v>1.2252975107199999</c:v>
                </c:pt>
                <c:pt idx="3587">
                  <c:v>1.22538523625</c:v>
                </c:pt>
                <c:pt idx="3588">
                  <c:v>1.2254730031099998</c:v>
                </c:pt>
                <c:pt idx="3589">
                  <c:v>1.2255608112900001</c:v>
                </c:pt>
                <c:pt idx="3590">
                  <c:v>1.2256486606900001</c:v>
                </c:pt>
                <c:pt idx="3591">
                  <c:v>1.22573655138</c:v>
                </c:pt>
                <c:pt idx="3592">
                  <c:v>1.2258244835100001</c:v>
                </c:pt>
                <c:pt idx="3593">
                  <c:v>1.22591245698</c:v>
                </c:pt>
                <c:pt idx="3594">
                  <c:v>1.2642690080000001</c:v>
                </c:pt>
                <c:pt idx="3595">
                  <c:v>1.2683005174799999</c:v>
                </c:pt>
                <c:pt idx="3596">
                  <c:v>1.2683886150899999</c:v>
                </c:pt>
                <c:pt idx="3597">
                  <c:v>1.2684767541500002</c:v>
                </c:pt>
                <c:pt idx="3598">
                  <c:v>1.2685649348099999</c:v>
                </c:pt>
                <c:pt idx="3599">
                  <c:v>1.2686531568599999</c:v>
                </c:pt>
                <c:pt idx="3600">
                  <c:v>1.26874142043</c:v>
                </c:pt>
                <c:pt idx="3601">
                  <c:v>1.2688297255400001</c:v>
                </c:pt>
                <c:pt idx="3602">
                  <c:v>1.23539697178</c:v>
                </c:pt>
                <c:pt idx="3603">
                  <c:v>1.2354982798599998</c:v>
                </c:pt>
                <c:pt idx="3604">
                  <c:v>1.2355867095799999</c:v>
                </c:pt>
                <c:pt idx="3605">
                  <c:v>1.2182477549500002</c:v>
                </c:pt>
                <c:pt idx="3606">
                  <c:v>1.22808245719</c:v>
                </c:pt>
                <c:pt idx="3607">
                  <c:v>1.22816428351</c:v>
                </c:pt>
                <c:pt idx="3608">
                  <c:v>1.22824614877</c:v>
                </c:pt>
                <c:pt idx="3609">
                  <c:v>1.22832805291</c:v>
                </c:pt>
                <c:pt idx="3610">
                  <c:v>1.2284099959500001</c:v>
                </c:pt>
                <c:pt idx="3611">
                  <c:v>1.2284919779400001</c:v>
                </c:pt>
                <c:pt idx="3612">
                  <c:v>1.2350309988499999</c:v>
                </c:pt>
                <c:pt idx="3613">
                  <c:v>1.2351130587200001</c:v>
                </c:pt>
                <c:pt idx="3614">
                  <c:v>1.23519515767</c:v>
                </c:pt>
                <c:pt idx="3615">
                  <c:v>1.2150926962999999</c:v>
                </c:pt>
                <c:pt idx="3616">
                  <c:v>1.2151748732100001</c:v>
                </c:pt>
                <c:pt idx="3617">
                  <c:v>1.1770982787599999</c:v>
                </c:pt>
                <c:pt idx="3618">
                  <c:v>1.1771805337999999</c:v>
                </c:pt>
                <c:pt idx="3619">
                  <c:v>1.1772628279100001</c:v>
                </c:pt>
                <c:pt idx="3620">
                  <c:v>1.17605512745</c:v>
                </c:pt>
                <c:pt idx="3621">
                  <c:v>1.17613749979</c:v>
                </c:pt>
                <c:pt idx="3622">
                  <c:v>1.17621991121</c:v>
                </c:pt>
                <c:pt idx="3623">
                  <c:v>1.1763023618099999</c:v>
                </c:pt>
                <c:pt idx="3624">
                  <c:v>1.1763848516700002</c:v>
                </c:pt>
                <c:pt idx="3625">
                  <c:v>1.1764673806300001</c:v>
                </c:pt>
                <c:pt idx="3626">
                  <c:v>1.15449536676</c:v>
                </c:pt>
                <c:pt idx="3627">
                  <c:v>1.15456498906</c:v>
                </c:pt>
                <c:pt idx="3628">
                  <c:v>1.15463464518</c:v>
                </c:pt>
                <c:pt idx="3629">
                  <c:v>1.1547043352099999</c:v>
                </c:pt>
                <c:pt idx="3630">
                  <c:v>1.1547740591</c:v>
                </c:pt>
                <c:pt idx="3631">
                  <c:v>1.1632715312199999</c:v>
                </c:pt>
                <c:pt idx="3632">
                  <c:v>1.16334132294</c:v>
                </c:pt>
                <c:pt idx="3633">
                  <c:v>1.1634111487000001</c:v>
                </c:pt>
                <c:pt idx="3634">
                  <c:v>1.1274556419300001</c:v>
                </c:pt>
                <c:pt idx="3635">
                  <c:v>1.1300862923199999</c:v>
                </c:pt>
                <c:pt idx="3636">
                  <c:v>1.10979316088</c:v>
                </c:pt>
                <c:pt idx="3637">
                  <c:v>1.10983504947</c:v>
                </c:pt>
                <c:pt idx="3638">
                  <c:v>1.10987695973</c:v>
                </c:pt>
                <c:pt idx="3639">
                  <c:v>1.1168988917</c:v>
                </c:pt>
                <c:pt idx="3640">
                  <c:v>1.1169408453499998</c:v>
                </c:pt>
                <c:pt idx="3641">
                  <c:v>1.22698282072</c:v>
                </c:pt>
                <c:pt idx="3642">
                  <c:v>1.2270248178499998</c:v>
                </c:pt>
                <c:pt idx="3643">
                  <c:v>1.2270668367099999</c:v>
                </c:pt>
                <c:pt idx="3644">
                  <c:v>1.2271088773299998</c:v>
                </c:pt>
                <c:pt idx="3645">
                  <c:v>1.22621343975</c:v>
                </c:pt>
                <c:pt idx="3646">
                  <c:v>1.2262555238900001</c:v>
                </c:pt>
                <c:pt idx="3647">
                  <c:v>1.2262976298499999</c:v>
                </c:pt>
                <c:pt idx="3648">
                  <c:v>1.2299657575899998</c:v>
                </c:pt>
                <c:pt idx="3649">
                  <c:v>1.2300079071800001</c:v>
                </c:pt>
                <c:pt idx="3650">
                  <c:v>1.2300500786099999</c:v>
                </c:pt>
                <c:pt idx="3651">
                  <c:v>1.23009227183</c:v>
                </c:pt>
                <c:pt idx="3652">
                  <c:v>1.2301344869200002</c:v>
                </c:pt>
                <c:pt idx="3653">
                  <c:v>1.2301767238699999</c:v>
                </c:pt>
                <c:pt idx="3654">
                  <c:v>1.2302189826800001</c:v>
                </c:pt>
                <c:pt idx="3655">
                  <c:v>1.2302612633900001</c:v>
                </c:pt>
                <c:pt idx="3656">
                  <c:v>1.2303035660399999</c:v>
                </c:pt>
                <c:pt idx="3657">
                  <c:v>1.23034589054</c:v>
                </c:pt>
                <c:pt idx="3658">
                  <c:v>1.21019492292</c:v>
                </c:pt>
                <c:pt idx="3659">
                  <c:v>1.2088120680999999</c:v>
                </c:pt>
                <c:pt idx="3660">
                  <c:v>1.21106963872</c:v>
                </c:pt>
                <c:pt idx="3661">
                  <c:v>1.1994395966300002</c:v>
                </c:pt>
                <c:pt idx="3662">
                  <c:v>1.2176898309300002</c:v>
                </c:pt>
                <c:pt idx="3663">
                  <c:v>1.1836202895799999</c:v>
                </c:pt>
                <c:pt idx="3664">
                  <c:v>1.18818876779</c:v>
                </c:pt>
                <c:pt idx="3665">
                  <c:v>1.1850187864999999</c:v>
                </c:pt>
                <c:pt idx="3666">
                  <c:v>1.1866727240099999</c:v>
                </c:pt>
                <c:pt idx="3667">
                  <c:v>1.1857752620599999</c:v>
                </c:pt>
                <c:pt idx="3668">
                  <c:v>1.18581532101</c:v>
                </c:pt>
                <c:pt idx="3669">
                  <c:v>1.18585540093</c:v>
                </c:pt>
                <c:pt idx="3670">
                  <c:v>1.1858955017499999</c:v>
                </c:pt>
                <c:pt idx="3671">
                  <c:v>1.1840485512899999</c:v>
                </c:pt>
                <c:pt idx="3672">
                  <c:v>1.1840886940299999</c:v>
                </c:pt>
                <c:pt idx="3673">
                  <c:v>1.18412885779</c:v>
                </c:pt>
                <c:pt idx="3674">
                  <c:v>1.18416904251</c:v>
                </c:pt>
                <c:pt idx="3675">
                  <c:v>1.18420924822</c:v>
                </c:pt>
                <c:pt idx="3676">
                  <c:v>1.1763805464000001</c:v>
                </c:pt>
                <c:pt idx="3677">
                  <c:v>1.17642079416</c:v>
                </c:pt>
                <c:pt idx="3678">
                  <c:v>1.1764610629700001</c:v>
                </c:pt>
                <c:pt idx="3679">
                  <c:v>1.1556753149100001</c:v>
                </c:pt>
                <c:pt idx="3680">
                  <c:v>1.1557156257999999</c:v>
                </c:pt>
                <c:pt idx="3681">
                  <c:v>1.14756363452</c:v>
                </c:pt>
                <c:pt idx="3682">
                  <c:v>1.1491640606</c:v>
                </c:pt>
                <c:pt idx="3683">
                  <c:v>1.1485978324999999</c:v>
                </c:pt>
                <c:pt idx="3684">
                  <c:v>1.1745715322500001</c:v>
                </c:pt>
                <c:pt idx="3685">
                  <c:v>1.1746077503499999</c:v>
                </c:pt>
                <c:pt idx="3686">
                  <c:v>1.1681491368299999</c:v>
                </c:pt>
                <c:pt idx="3687">
                  <c:v>1.17155109097</c:v>
                </c:pt>
                <c:pt idx="3688">
                  <c:v>1.1572470911600001</c:v>
                </c:pt>
                <c:pt idx="3689">
                  <c:v>1.1572822835000001</c:v>
                </c:pt>
                <c:pt idx="3690">
                  <c:v>1.1573174937199999</c:v>
                </c:pt>
                <c:pt idx="3691">
                  <c:v>1.15069910327</c:v>
                </c:pt>
                <c:pt idx="3692">
                  <c:v>1.1507343491899999</c:v>
                </c:pt>
                <c:pt idx="3693">
                  <c:v>1.15076961301</c:v>
                </c:pt>
                <c:pt idx="3694">
                  <c:v>1.15080489466</c:v>
                </c:pt>
                <c:pt idx="3695">
                  <c:v>1.1508401942699999</c:v>
                </c:pt>
                <c:pt idx="3696">
                  <c:v>1.15135315801</c:v>
                </c:pt>
                <c:pt idx="3697">
                  <c:v>1.15138849342</c:v>
                </c:pt>
                <c:pt idx="3698">
                  <c:v>1.15441384669</c:v>
                </c:pt>
                <c:pt idx="3699">
                  <c:v>1.1544492179200001</c:v>
                </c:pt>
                <c:pt idx="3700">
                  <c:v>1.1477696911199999</c:v>
                </c:pt>
                <c:pt idx="3701">
                  <c:v>1.14711665495</c:v>
                </c:pt>
                <c:pt idx="3702">
                  <c:v>1.12538833957</c:v>
                </c:pt>
                <c:pt idx="3703">
                  <c:v>1.12048402356</c:v>
                </c:pt>
                <c:pt idx="3704">
                  <c:v>1.1032948140699999</c:v>
                </c:pt>
                <c:pt idx="3705">
                  <c:v>1.0921432898800001</c:v>
                </c:pt>
                <c:pt idx="3706">
                  <c:v>1.08766293026</c:v>
                </c:pt>
                <c:pt idx="3707">
                  <c:v>1.0876912130799998</c:v>
                </c:pt>
                <c:pt idx="3708">
                  <c:v>1.04970105155</c:v>
                </c:pt>
                <c:pt idx="3709">
                  <c:v>1.04760152829</c:v>
                </c:pt>
                <c:pt idx="3710">
                  <c:v>1.04667580507</c:v>
                </c:pt>
                <c:pt idx="3711">
                  <c:v>1.0466875876099999</c:v>
                </c:pt>
                <c:pt idx="3712">
                  <c:v>1.0466993759400001</c:v>
                </c:pt>
                <c:pt idx="3713">
                  <c:v>1.05711117003</c:v>
                </c:pt>
                <c:pt idx="3714">
                  <c:v>1.0552629699</c:v>
                </c:pt>
                <c:pt idx="3715">
                  <c:v>1.05527477556</c:v>
                </c:pt>
                <c:pt idx="3716">
                  <c:v>1.0637865870000001</c:v>
                </c:pt>
                <c:pt idx="3717">
                  <c:v>1.0637984042299999</c:v>
                </c:pt>
                <c:pt idx="3718">
                  <c:v>1.6351192272399999</c:v>
                </c:pt>
                <c:pt idx="3719">
                  <c:v>1.7365980560699998</c:v>
                </c:pt>
                <c:pt idx="3720">
                  <c:v>1.73660989066</c:v>
                </c:pt>
                <c:pt idx="3721">
                  <c:v>1.7366217310699998</c:v>
                </c:pt>
                <c:pt idx="3722">
                  <c:v>1.7366335772699999</c:v>
                </c:pt>
                <c:pt idx="3723">
                  <c:v>1.73664542928</c:v>
                </c:pt>
                <c:pt idx="3724">
                  <c:v>1.7167452245599999</c:v>
                </c:pt>
                <c:pt idx="3725">
                  <c:v>1.7167570881800001</c:v>
                </c:pt>
                <c:pt idx="3726">
                  <c:v>1.7122207648599999</c:v>
                </c:pt>
                <c:pt idx="3727">
                  <c:v>1.71199167625</c:v>
                </c:pt>
                <c:pt idx="3728">
                  <c:v>1.7120035573299999</c:v>
                </c:pt>
                <c:pt idx="3729">
                  <c:v>1.71201544423</c:v>
                </c:pt>
                <c:pt idx="3730">
                  <c:v>1.7120273369600001</c:v>
                </c:pt>
                <c:pt idx="3731">
                  <c:v>1.6972239958499999</c:v>
                </c:pt>
                <c:pt idx="3732">
                  <c:v>1.6839084155199999</c:v>
                </c:pt>
                <c:pt idx="3733">
                  <c:v>1.6780476748900002</c:v>
                </c:pt>
                <c:pt idx="3734">
                  <c:v>1.6696140433900002</c:v>
                </c:pt>
                <c:pt idx="3735">
                  <c:v>1.66961791366</c:v>
                </c:pt>
                <c:pt idx="3736">
                  <c:v>1.6696217857</c:v>
                </c:pt>
                <c:pt idx="3737">
                  <c:v>1.6768776595199999</c:v>
                </c:pt>
                <c:pt idx="3738">
                  <c:v>1.6768815350999999</c:v>
                </c:pt>
                <c:pt idx="3739">
                  <c:v>1.6768854124600001</c:v>
                </c:pt>
                <c:pt idx="3740">
                  <c:v>1.67688929158</c:v>
                </c:pt>
                <c:pt idx="3741">
                  <c:v>1.67689317249</c:v>
                </c:pt>
                <c:pt idx="3742">
                  <c:v>1.67689705519</c:v>
                </c:pt>
                <c:pt idx="3743">
                  <c:v>1.6769009396500001</c:v>
                </c:pt>
                <c:pt idx="3744">
                  <c:v>1.6837893716800001</c:v>
                </c:pt>
                <c:pt idx="3745">
                  <c:v>1.6613243975100001</c:v>
                </c:pt>
                <c:pt idx="3746">
                  <c:v>1.6613282873099999</c:v>
                </c:pt>
                <c:pt idx="3747">
                  <c:v>1.6568141065899999</c:v>
                </c:pt>
                <c:pt idx="3748">
                  <c:v>1.6568179999500001</c:v>
                </c:pt>
                <c:pt idx="3749">
                  <c:v>1.65682189508</c:v>
                </c:pt>
                <c:pt idx="3750">
                  <c:v>1.65682579201</c:v>
                </c:pt>
                <c:pt idx="3751">
                  <c:v>1.65682969072</c:v>
                </c:pt>
                <c:pt idx="3752">
                  <c:v>1.6619757193800002</c:v>
                </c:pt>
                <c:pt idx="3753">
                  <c:v>1.70196992752</c:v>
                </c:pt>
                <c:pt idx="3754">
                  <c:v>1.7059734108</c:v>
                </c:pt>
                <c:pt idx="3755">
                  <c:v>1.7095651868699999</c:v>
                </c:pt>
                <c:pt idx="3756">
                  <c:v>1.7095686731600002</c:v>
                </c:pt>
                <c:pt idx="3757">
                  <c:v>1.7095721609700001</c:v>
                </c:pt>
                <c:pt idx="3758">
                  <c:v>1.7095756502699999</c:v>
                </c:pt>
                <c:pt idx="3759">
                  <c:v>1.7150791410799999</c:v>
                </c:pt>
                <c:pt idx="3760">
                  <c:v>1.73698882165</c:v>
                </c:pt>
                <c:pt idx="3761">
                  <c:v>1.9574923154700001</c:v>
                </c:pt>
                <c:pt idx="3762">
                  <c:v>1.9621358108</c:v>
                </c:pt>
                <c:pt idx="3763">
                  <c:v>2.0564793076500001</c:v>
                </c:pt>
                <c:pt idx="3764">
                  <c:v>2.086982806</c:v>
                </c:pt>
                <c:pt idx="3765">
                  <c:v>2.08698630587</c:v>
                </c:pt>
                <c:pt idx="3766">
                  <c:v>2.0869898072500002</c:v>
                </c:pt>
                <c:pt idx="3767">
                  <c:v>2.0632901860899997</c:v>
                </c:pt>
                <c:pt idx="3768">
                  <c:v>2.0454052063399999</c:v>
                </c:pt>
                <c:pt idx="3769">
                  <c:v>2.0454052063399999</c:v>
                </c:pt>
                <c:pt idx="3770">
                  <c:v>2.0454052063399999</c:v>
                </c:pt>
                <c:pt idx="3771">
                  <c:v>2.0454052063399999</c:v>
                </c:pt>
                <c:pt idx="3772">
                  <c:v>2.0454052063399999</c:v>
                </c:pt>
                <c:pt idx="3773">
                  <c:v>2.0454052063399999</c:v>
                </c:pt>
                <c:pt idx="3774">
                  <c:v>2.0384796871400002</c:v>
                </c:pt>
                <c:pt idx="3775">
                  <c:v>2.1089796871400002</c:v>
                </c:pt>
                <c:pt idx="3776">
                  <c:v>2.1089796871400002</c:v>
                </c:pt>
                <c:pt idx="3777">
                  <c:v>2.1089796871400002</c:v>
                </c:pt>
                <c:pt idx="3778">
                  <c:v>2.1089796871400002</c:v>
                </c:pt>
                <c:pt idx="3779">
                  <c:v>2.1089796871400002</c:v>
                </c:pt>
                <c:pt idx="3780">
                  <c:v>2.1389390053399997</c:v>
                </c:pt>
                <c:pt idx="3781">
                  <c:v>2.1389390053399997</c:v>
                </c:pt>
                <c:pt idx="3782">
                  <c:v>2.1389390053399997</c:v>
                </c:pt>
                <c:pt idx="3783">
                  <c:v>2.1389390053399997</c:v>
                </c:pt>
                <c:pt idx="3784">
                  <c:v>2.1389390053399997</c:v>
                </c:pt>
                <c:pt idx="3785">
                  <c:v>2.1529390053399999</c:v>
                </c:pt>
                <c:pt idx="3786">
                  <c:v>2.17443900534</c:v>
                </c:pt>
                <c:pt idx="3787">
                  <c:v>2.15177077817</c:v>
                </c:pt>
                <c:pt idx="3788">
                  <c:v>2.15177077817</c:v>
                </c:pt>
                <c:pt idx="3789">
                  <c:v>2.15177077817</c:v>
                </c:pt>
                <c:pt idx="3790">
                  <c:v>2.16798377817</c:v>
                </c:pt>
                <c:pt idx="3791">
                  <c:v>2.16798377817</c:v>
                </c:pt>
                <c:pt idx="3792">
                  <c:v>2.16798377817</c:v>
                </c:pt>
                <c:pt idx="3793">
                  <c:v>2.16798377817</c:v>
                </c:pt>
                <c:pt idx="3794">
                  <c:v>2.16798377817</c:v>
                </c:pt>
                <c:pt idx="3795">
                  <c:v>2.1854837781700001</c:v>
                </c:pt>
                <c:pt idx="3796">
                  <c:v>2.1854837781700001</c:v>
                </c:pt>
                <c:pt idx="3797">
                  <c:v>2.1852946259499997</c:v>
                </c:pt>
                <c:pt idx="3798">
                  <c:v>2.2593921435100004</c:v>
                </c:pt>
                <c:pt idx="3799">
                  <c:v>2.2594271779600001</c:v>
                </c:pt>
                <c:pt idx="3800">
                  <c:v>2.2648252286299999</c:v>
                </c:pt>
                <c:pt idx="3801">
                  <c:v>2.26483825085</c:v>
                </c:pt>
                <c:pt idx="3802">
                  <c:v>2.2648733345500003</c:v>
                </c:pt>
                <c:pt idx="3803">
                  <c:v>2.2694084352099999</c:v>
                </c:pt>
                <c:pt idx="3804">
                  <c:v>2.2694435520199998</c:v>
                </c:pt>
                <c:pt idx="3805">
                  <c:v>2.2747914949099997</c:v>
                </c:pt>
                <c:pt idx="3806">
                  <c:v>2.2748266455700001</c:v>
                </c:pt>
                <c:pt idx="3807">
                  <c:v>2.25164552212</c:v>
                </c:pt>
                <c:pt idx="3808">
                  <c:v>2.2639290803900001</c:v>
                </c:pt>
                <c:pt idx="3809">
                  <c:v>2.2639642802899997</c:v>
                </c:pt>
                <c:pt idx="3810">
                  <c:v>2.2639994972299999</c:v>
                </c:pt>
                <c:pt idx="3811">
                  <c:v>2.2640347309899997</c:v>
                </c:pt>
                <c:pt idx="3812">
                  <c:v>2.2639877365599999</c:v>
                </c:pt>
                <c:pt idx="3813">
                  <c:v>2.2835243480999998</c:v>
                </c:pt>
                <c:pt idx="3814">
                  <c:v>2.2835609781500001</c:v>
                </c:pt>
                <c:pt idx="3815">
                  <c:v>2.31909762517</c:v>
                </c:pt>
                <c:pt idx="3816">
                  <c:v>2.3191342906999997</c:v>
                </c:pt>
                <c:pt idx="3817">
                  <c:v>2.31917097459</c:v>
                </c:pt>
                <c:pt idx="3818">
                  <c:v>2.3192076755300004</c:v>
                </c:pt>
                <c:pt idx="3819">
                  <c:v>2.3191846980399999</c:v>
                </c:pt>
                <c:pt idx="3820">
                  <c:v>2.3192214351100002</c:v>
                </c:pt>
                <c:pt idx="3821">
                  <c:v>2.3192581906999998</c:v>
                </c:pt>
                <c:pt idx="3822">
                  <c:v>2.3307949639899999</c:v>
                </c:pt>
                <c:pt idx="3823">
                  <c:v>2.3556957558000002</c:v>
                </c:pt>
                <c:pt idx="3824">
                  <c:v>2.3637325918899998</c:v>
                </c:pt>
                <c:pt idx="3825">
                  <c:v>2.6637694458400003</c:v>
                </c:pt>
                <c:pt idx="3826">
                  <c:v>2.6638063182199998</c:v>
                </c:pt>
                <c:pt idx="3827">
                  <c:v>2.6398619340799998</c:v>
                </c:pt>
                <c:pt idx="3828">
                  <c:v>2.6398988426799996</c:v>
                </c:pt>
                <c:pt idx="3829">
                  <c:v>2.6496327423200001</c:v>
                </c:pt>
                <c:pt idx="3830">
                  <c:v>2.6496696604799999</c:v>
                </c:pt>
                <c:pt idx="3831">
                  <c:v>2.65170659708</c:v>
                </c:pt>
                <c:pt idx="3832">
                  <c:v>2.6517435514499996</c:v>
                </c:pt>
                <c:pt idx="3833">
                  <c:v>2.6517805242699999</c:v>
                </c:pt>
                <c:pt idx="3834">
                  <c:v>2.6514850174000002</c:v>
                </c:pt>
                <c:pt idx="3835">
                  <c:v>2.6515220264299999</c:v>
                </c:pt>
                <c:pt idx="3836">
                  <c:v>2.65642995871</c:v>
                </c:pt>
                <c:pt idx="3837">
                  <c:v>2.65646700403</c:v>
                </c:pt>
                <c:pt idx="3838">
                  <c:v>2.6565040677199998</c:v>
                </c:pt>
                <c:pt idx="3839">
                  <c:v>2.6323479071399998</c:v>
                </c:pt>
                <c:pt idx="3840">
                  <c:v>2.6291257840200002</c:v>
                </c:pt>
                <c:pt idx="3841">
                  <c:v>2.6154213456799997</c:v>
                </c:pt>
                <c:pt idx="3842">
                  <c:v>2.66165848261</c:v>
                </c:pt>
                <c:pt idx="3843">
                  <c:v>2.6518896856799996</c:v>
                </c:pt>
                <c:pt idx="3844">
                  <c:v>2.65192685891</c:v>
                </c:pt>
                <c:pt idx="3845">
                  <c:v>2.6519640498400001</c:v>
                </c:pt>
                <c:pt idx="3846">
                  <c:v>2.6520012592800004</c:v>
                </c:pt>
                <c:pt idx="3847">
                  <c:v>2.6520385131699999</c:v>
                </c:pt>
                <c:pt idx="3848">
                  <c:v>2.6520758122300001</c:v>
                </c:pt>
                <c:pt idx="3849">
                  <c:v>2.65033617446</c:v>
                </c:pt>
                <c:pt idx="3850">
                  <c:v>2.6503748198300001</c:v>
                </c:pt>
                <c:pt idx="3851">
                  <c:v>2.65041348453</c:v>
                </c:pt>
                <c:pt idx="3852">
                  <c:v>2.6504522226199998</c:v>
                </c:pt>
                <c:pt idx="3853">
                  <c:v>2.6504909800500003</c:v>
                </c:pt>
                <c:pt idx="3854">
                  <c:v>2.62223467455</c:v>
                </c:pt>
                <c:pt idx="3855">
                  <c:v>2.6181995993</c:v>
                </c:pt>
                <c:pt idx="3856">
                  <c:v>2.61816619358</c:v>
                </c:pt>
                <c:pt idx="3857">
                  <c:v>2.6182050296599999</c:v>
                </c:pt>
                <c:pt idx="3858">
                  <c:v>2.6182438865500002</c:v>
                </c:pt>
                <c:pt idx="3859">
                  <c:v>2.6182827619600002</c:v>
                </c:pt>
                <c:pt idx="3860">
                  <c:v>2.6180698945800001</c:v>
                </c:pt>
                <c:pt idx="3861">
                  <c:v>2.6154415828399999</c:v>
                </c:pt>
                <c:pt idx="3862">
                  <c:v>2.6154805184499996</c:v>
                </c:pt>
                <c:pt idx="3863">
                  <c:v>2.6155194740000001</c:v>
                </c:pt>
                <c:pt idx="3864">
                  <c:v>2.6155584490199999</c:v>
                </c:pt>
                <c:pt idx="3865">
                  <c:v>2.6155974440300001</c:v>
                </c:pt>
                <c:pt idx="3866">
                  <c:v>2.6202016425100001</c:v>
                </c:pt>
                <c:pt idx="3867">
                  <c:v>2.62024067759</c:v>
                </c:pt>
                <c:pt idx="3868">
                  <c:v>2.6202797320799998</c:v>
                </c:pt>
                <c:pt idx="3869">
                  <c:v>2.5861339461999999</c:v>
                </c:pt>
                <c:pt idx="3870">
                  <c:v>2.5861730407600003</c:v>
                </c:pt>
                <c:pt idx="3871">
                  <c:v>2.5835490372199996</c:v>
                </c:pt>
                <c:pt idx="3872">
                  <c:v>2.5408983902800002</c:v>
                </c:pt>
                <c:pt idx="3873">
                  <c:v>2.5409375442300002</c:v>
                </c:pt>
                <c:pt idx="3874">
                  <c:v>2.5405776682300001</c:v>
                </c:pt>
                <c:pt idx="3875">
                  <c:v>2.5406182368499999</c:v>
                </c:pt>
                <c:pt idx="3876">
                  <c:v>2.5245670789699997</c:v>
                </c:pt>
                <c:pt idx="3877">
                  <c:v>2.5246076908400004</c:v>
                </c:pt>
                <c:pt idx="3878">
                  <c:v>2.5318193242699998</c:v>
                </c:pt>
                <c:pt idx="3879">
                  <c:v>2.5123931964899997</c:v>
                </c:pt>
                <c:pt idx="3880">
                  <c:v>2.5082588981199998</c:v>
                </c:pt>
                <c:pt idx="3881">
                  <c:v>3.10806867865</c:v>
                </c:pt>
                <c:pt idx="3882">
                  <c:v>3.1081093977699998</c:v>
                </c:pt>
                <c:pt idx="3883">
                  <c:v>3.10815013777</c:v>
                </c:pt>
                <c:pt idx="3884">
                  <c:v>3.1081909002199999</c:v>
                </c:pt>
                <c:pt idx="3885">
                  <c:v>3.1082316834000001</c:v>
                </c:pt>
                <c:pt idx="3886">
                  <c:v>3.0592391334699998</c:v>
                </c:pt>
                <c:pt idx="3887">
                  <c:v>3.0605620297299998</c:v>
                </c:pt>
                <c:pt idx="3888">
                  <c:v>3.0605779278800003</c:v>
                </c:pt>
                <c:pt idx="3889">
                  <c:v>3.0605938340700001</c:v>
                </c:pt>
                <c:pt idx="3890">
                  <c:v>3.72787974902</c:v>
                </c:pt>
                <c:pt idx="3891">
                  <c:v>3.7278956720799998</c:v>
                </c:pt>
                <c:pt idx="3892">
                  <c:v>3.72791160387</c:v>
                </c:pt>
                <c:pt idx="3893">
                  <c:v>3.7279275437499999</c:v>
                </c:pt>
                <c:pt idx="3894">
                  <c:v>3.7275434920900001</c:v>
                </c:pt>
                <c:pt idx="3895">
                  <c:v>3.7272064460199998</c:v>
                </c:pt>
                <c:pt idx="3896">
                  <c:v>3.7272224111599996</c:v>
                </c:pt>
                <c:pt idx="3897">
                  <c:v>3.72622866191</c:v>
                </c:pt>
                <c:pt idx="3898">
                  <c:v>3.7262446441699999</c:v>
                </c:pt>
                <c:pt idx="3899">
                  <c:v>3.74626063459</c:v>
                </c:pt>
                <c:pt idx="3900">
                  <c:v>3.7462766334299999</c:v>
                </c:pt>
                <c:pt idx="3901">
                  <c:v>3.7058082582899998</c:v>
                </c:pt>
                <c:pt idx="3902">
                  <c:v>3.7058242739600002</c:v>
                </c:pt>
                <c:pt idx="3903">
                  <c:v>3.7056331795300004</c:v>
                </c:pt>
                <c:pt idx="3904">
                  <c:v>3.70564921235</c:v>
                </c:pt>
                <c:pt idx="3905">
                  <c:v>3.7056652535599999</c:v>
                </c:pt>
                <c:pt idx="3906">
                  <c:v>3.7056813029</c:v>
                </c:pt>
                <c:pt idx="3907">
                  <c:v>3.7056973612600004</c:v>
                </c:pt>
                <c:pt idx="3908">
                  <c:v>3.7057134277500001</c:v>
                </c:pt>
                <c:pt idx="3909">
                  <c:v>3.7057295026799997</c:v>
                </c:pt>
                <c:pt idx="3910">
                  <c:v>3.7057455862899999</c:v>
                </c:pt>
                <c:pt idx="3911">
                  <c:v>3.70576167835</c:v>
                </c:pt>
                <c:pt idx="3912">
                  <c:v>3.7012597065100001</c:v>
                </c:pt>
                <c:pt idx="3913">
                  <c:v>3.7060923371899999</c:v>
                </c:pt>
                <c:pt idx="3914">
                  <c:v>3.7059689768999999</c:v>
                </c:pt>
                <c:pt idx="3915">
                  <c:v>3.7309856256300002</c:v>
                </c:pt>
                <c:pt idx="3916">
                  <c:v>3.7310022836900001</c:v>
                </c:pt>
                <c:pt idx="3917">
                  <c:v>3.7310189507499998</c:v>
                </c:pt>
                <c:pt idx="3918">
                  <c:v>3.73067985013</c:v>
                </c:pt>
                <c:pt idx="3919">
                  <c:v>3.7297590352899999</c:v>
                </c:pt>
                <c:pt idx="3920">
                  <c:v>3.73506950759</c:v>
                </c:pt>
                <c:pt idx="3921">
                  <c:v>3.73508621076</c:v>
                </c:pt>
                <c:pt idx="3922">
                  <c:v>3.7351029232800004</c:v>
                </c:pt>
                <c:pt idx="3923">
                  <c:v>3.7351196447900001</c:v>
                </c:pt>
                <c:pt idx="3924">
                  <c:v>3.7343705587600002</c:v>
                </c:pt>
                <c:pt idx="3925">
                  <c:v>3.7343872983699997</c:v>
                </c:pt>
                <c:pt idx="3926">
                  <c:v>3.73440404727</c:v>
                </c:pt>
                <c:pt idx="3927">
                  <c:v>3.72072501761</c:v>
                </c:pt>
                <c:pt idx="3928">
                  <c:v>3.7207417846099999</c:v>
                </c:pt>
                <c:pt idx="3929">
                  <c:v>3.7207585608899998</c:v>
                </c:pt>
                <c:pt idx="3930">
                  <c:v>3.7199312786199998</c:v>
                </c:pt>
                <c:pt idx="3931">
                  <c:v>3.7199480729999999</c:v>
                </c:pt>
                <c:pt idx="3932">
                  <c:v>3.7199648766900002</c:v>
                </c:pt>
                <c:pt idx="3933">
                  <c:v>3.71998168943</c:v>
                </c:pt>
                <c:pt idx="3934">
                  <c:v>3.7151786213099998</c:v>
                </c:pt>
                <c:pt idx="3935">
                  <c:v>3.7151954524200002</c:v>
                </c:pt>
                <c:pt idx="3936">
                  <c:v>3.7152122928</c:v>
                </c:pt>
                <c:pt idx="3937">
                  <c:v>3.7152291419800001</c:v>
                </c:pt>
                <c:pt idx="3938">
                  <c:v>3.7152460007600001</c:v>
                </c:pt>
                <c:pt idx="3939">
                  <c:v>3.7149008933499998</c:v>
                </c:pt>
                <c:pt idx="3940">
                  <c:v>3.71398027052</c:v>
                </c:pt>
                <c:pt idx="3941">
                  <c:v>3.7139249347600001</c:v>
                </c:pt>
                <c:pt idx="3942">
                  <c:v>3.71394183026</c:v>
                </c:pt>
                <c:pt idx="3943">
                  <c:v>3.7139587348099998</c:v>
                </c:pt>
                <c:pt idx="3944">
                  <c:v>3.7218386484099999</c:v>
                </c:pt>
                <c:pt idx="3945">
                  <c:v>3.7218555713200003</c:v>
                </c:pt>
                <c:pt idx="3946">
                  <c:v>3.7211061301799999</c:v>
                </c:pt>
                <c:pt idx="3947">
                  <c:v>3.7211230714800001</c:v>
                </c:pt>
                <c:pt idx="3948">
                  <c:v>3.7211400220900002</c:v>
                </c:pt>
                <c:pt idx="3949">
                  <c:v>3.7211569817600001</c:v>
                </c:pt>
                <c:pt idx="3950">
                  <c:v>3.7211739507899999</c:v>
                </c:pt>
                <c:pt idx="3951">
                  <c:v>3.7211328794799998</c:v>
                </c:pt>
                <c:pt idx="3952">
                  <c:v>3.7211498671300003</c:v>
                </c:pt>
                <c:pt idx="3953">
                  <c:v>3.8228748638600001</c:v>
                </c:pt>
                <c:pt idx="3954">
                  <c:v>3.8238918699099997</c:v>
                </c:pt>
                <c:pt idx="3955">
                  <c:v>4.78703840931</c:v>
                </c:pt>
                <c:pt idx="3956">
                  <c:v>4.78703840931</c:v>
                </c:pt>
                <c:pt idx="3957">
                  <c:v>4.78703840931</c:v>
                </c:pt>
                <c:pt idx="3958">
                  <c:v>4.7867671839099994</c:v>
                </c:pt>
                <c:pt idx="3959">
                  <c:v>4.7867671839099994</c:v>
                </c:pt>
                <c:pt idx="3960">
                  <c:v>4.78639293205</c:v>
                </c:pt>
                <c:pt idx="3961">
                  <c:v>4.7853710449700007</c:v>
                </c:pt>
                <c:pt idx="3962">
                  <c:v>4.7843613239899998</c:v>
                </c:pt>
                <c:pt idx="3963">
                  <c:v>4.9344471197899997</c:v>
                </c:pt>
                <c:pt idx="3964">
                  <c:v>4.93916596524</c:v>
                </c:pt>
                <c:pt idx="3965">
                  <c:v>4.9258544026199997</c:v>
                </c:pt>
                <c:pt idx="3966">
                  <c:v>4.9237203446700004</c:v>
                </c:pt>
                <c:pt idx="3967">
                  <c:v>4.9234191243900005</c:v>
                </c:pt>
                <c:pt idx="3968">
                  <c:v>4.9227172040399996</c:v>
                </c:pt>
                <c:pt idx="3969">
                  <c:v>4.9973456863000001</c:v>
                </c:pt>
                <c:pt idx="3970">
                  <c:v>5.0508318261999996</c:v>
                </c:pt>
                <c:pt idx="3971">
                  <c:v>5.0680180683999998</c:v>
                </c:pt>
                <c:pt idx="3972">
                  <c:v>5.2445803605500005</c:v>
                </c:pt>
                <c:pt idx="3973">
                  <c:v>5.7457117010000003</c:v>
                </c:pt>
                <c:pt idx="3974">
                  <c:v>5.76869808975</c:v>
                </c:pt>
                <c:pt idx="3975">
                  <c:v>5.7930845299499998</c:v>
                </c:pt>
                <c:pt idx="3976">
                  <c:v>5.8167585150000001</c:v>
                </c:pt>
                <c:pt idx="3977">
                  <c:v>5.8295357001899992</c:v>
                </c:pt>
                <c:pt idx="3978">
                  <c:v>5.8383222884399997</c:v>
                </c:pt>
                <c:pt idx="3979">
                  <c:v>5.8735089251400003</c:v>
                </c:pt>
                <c:pt idx="3980">
                  <c:v>5.8969956132899997</c:v>
                </c:pt>
                <c:pt idx="3981">
                  <c:v>5.9341660748500002</c:v>
                </c:pt>
                <c:pt idx="3982">
                  <c:v>5.9441528611000001</c:v>
                </c:pt>
                <c:pt idx="3983">
                  <c:v>5.9478674740200006</c:v>
                </c:pt>
                <c:pt idx="3984">
                  <c:v>5.9576543588199993</c:v>
                </c:pt>
                <c:pt idx="3985">
                  <c:v>5.9637412950699993</c:v>
                </c:pt>
                <c:pt idx="3986">
                  <c:v>5.9710282796199996</c:v>
                </c:pt>
                <c:pt idx="3987">
                  <c:v>5.9885978447200001</c:v>
                </c:pt>
                <c:pt idx="3988">
                  <c:v>5.9946349293200001</c:v>
                </c:pt>
                <c:pt idx="3989">
                  <c:v>5.9977220652200005</c:v>
                </c:pt>
                <c:pt idx="3990">
                  <c:v>5.9978092497200004</c:v>
                </c:pt>
                <c:pt idx="3991">
                  <c:v>5.99789648417</c:v>
                </c:pt>
                <c:pt idx="3992">
                  <c:v>6.0011837685699998</c:v>
                </c:pt>
                <c:pt idx="3993">
                  <c:v>6.0041711015699999</c:v>
                </c:pt>
                <c:pt idx="3994">
                  <c:v>6.0042584858700003</c:v>
                </c:pt>
                <c:pt idx="3995">
                  <c:v>6.0043459201199996</c:v>
                </c:pt>
                <c:pt idx="3996">
                  <c:v>5.9999153323199996</c:v>
                </c:pt>
                <c:pt idx="3997">
                  <c:v>6.00000286662</c:v>
                </c:pt>
                <c:pt idx="3998">
                  <c:v>6.0000904510200002</c:v>
                </c:pt>
                <c:pt idx="3999">
                  <c:v>6.0031780855200001</c:v>
                </c:pt>
                <c:pt idx="4000">
                  <c:v>6.0027214874899997</c:v>
                </c:pt>
                <c:pt idx="4001">
                  <c:v>6.0028092719899995</c:v>
                </c:pt>
                <c:pt idx="4002">
                  <c:v>6.00282488661</c:v>
                </c:pt>
                <c:pt idx="4003">
                  <c:v>6.0019752728100002</c:v>
                </c:pt>
                <c:pt idx="4004">
                  <c:v>6.00206320731</c:v>
                </c:pt>
                <c:pt idx="4005">
                  <c:v>6.0020511937099998</c:v>
                </c:pt>
                <c:pt idx="4006">
                  <c:v>6.0021392315600002</c:v>
                </c:pt>
                <c:pt idx="4007">
                  <c:v>6.0022273180100001</c:v>
                </c:pt>
                <c:pt idx="4008">
                  <c:v>6.0014846126599997</c:v>
                </c:pt>
                <c:pt idx="4009">
                  <c:v>6.00763579916</c:v>
                </c:pt>
                <c:pt idx="4010">
                  <c:v>6.3922515912700009</c:v>
                </c:pt>
                <c:pt idx="4011">
                  <c:v>6.3116066411899991</c:v>
                </c:pt>
                <c:pt idx="4012">
                  <c:v>6.3855984557100003</c:v>
                </c:pt>
                <c:pt idx="4013">
                  <c:v>6.3859164558800003</c:v>
                </c:pt>
                <c:pt idx="4014">
                  <c:v>6.3862346463199993</c:v>
                </c:pt>
                <c:pt idx="4015">
                  <c:v>6.3865530217500002</c:v>
                </c:pt>
                <c:pt idx="4016">
                  <c:v>6.3868715866199999</c:v>
                </c:pt>
                <c:pt idx="4017">
                  <c:v>6.3871903385</c:v>
                </c:pt>
                <c:pt idx="4018">
                  <c:v>6.3860800388500003</c:v>
                </c:pt>
                <c:pt idx="4019">
                  <c:v>6.3863991675699996</c:v>
                </c:pt>
                <c:pt idx="4020">
                  <c:v>6.3867184835200002</c:v>
                </c:pt>
                <c:pt idx="4021">
                  <c:v>6.3870379892600004</c:v>
                </c:pt>
                <c:pt idx="4022">
                  <c:v>6.3865432531899993</c:v>
                </c:pt>
                <c:pt idx="4023">
                  <c:v>6.3868631356099996</c:v>
                </c:pt>
                <c:pt idx="4024">
                  <c:v>6.3871109848100005</c:v>
                </c:pt>
                <c:pt idx="4025">
                  <c:v>6.3874312451499993</c:v>
                </c:pt>
                <c:pt idx="4026">
                  <c:v>6.3877516932799994</c:v>
                </c:pt>
                <c:pt idx="4027">
                  <c:v>6.38807233021</c:v>
                </c:pt>
                <c:pt idx="4028">
                  <c:v>6.3875142148400004</c:v>
                </c:pt>
                <c:pt idx="4029">
                  <c:v>6.3878352310600004</c:v>
                </c:pt>
                <c:pt idx="4030">
                  <c:v>6.3881564361100001</c:v>
                </c:pt>
                <c:pt idx="4031">
                  <c:v>6.3884778310000003</c:v>
                </c:pt>
                <c:pt idx="4032">
                  <c:v>6.3887993564899999</c:v>
                </c:pt>
                <c:pt idx="4033">
                  <c:v>6.3891210708599999</c:v>
                </c:pt>
                <c:pt idx="4034">
                  <c:v>6.3894429768999998</c:v>
                </c:pt>
                <c:pt idx="4035">
                  <c:v>6.3610749326300002</c:v>
                </c:pt>
                <c:pt idx="4036">
                  <c:v>6.3613800592500001</c:v>
                </c:pt>
                <c:pt idx="4037">
                  <c:v>6.3488706597100002</c:v>
                </c:pt>
                <c:pt idx="4038">
                  <c:v>6.3491761470299997</c:v>
                </c:pt>
                <c:pt idx="4039">
                  <c:v>6.3494818135500006</c:v>
                </c:pt>
                <c:pt idx="4040">
                  <c:v>6.3497876604899997</c:v>
                </c:pt>
                <c:pt idx="4041">
                  <c:v>6.3500936868599993</c:v>
                </c:pt>
                <c:pt idx="4042">
                  <c:v>6.3500322266099998</c:v>
                </c:pt>
                <c:pt idx="4043">
                  <c:v>6.3366920331099994</c:v>
                </c:pt>
                <c:pt idx="4044">
                  <c:v>6.3369263804399996</c:v>
                </c:pt>
                <c:pt idx="4045">
                  <c:v>6.3372003433300002</c:v>
                </c:pt>
                <c:pt idx="4046">
                  <c:v>6.3372993962799997</c:v>
                </c:pt>
                <c:pt idx="4047">
                  <c:v>6.3376069704399995</c:v>
                </c:pt>
                <c:pt idx="4048">
                  <c:v>6.3408166242700004</c:v>
                </c:pt>
                <c:pt idx="4049">
                  <c:v>6.3411245604199999</c:v>
                </c:pt>
                <c:pt idx="4050">
                  <c:v>6.3414326785799995</c:v>
                </c:pt>
                <c:pt idx="4051">
                  <c:v>6.3417409781800007</c:v>
                </c:pt>
                <c:pt idx="4052">
                  <c:v>6.33600142413</c:v>
                </c:pt>
                <c:pt idx="4053">
                  <c:v>6.33632738829</c:v>
                </c:pt>
                <c:pt idx="4054">
                  <c:v>6.3366335312500004</c:v>
                </c:pt>
                <c:pt idx="4055">
                  <c:v>6.3369398564699999</c:v>
                </c:pt>
                <c:pt idx="4056">
                  <c:v>6.33724636065</c:v>
                </c:pt>
                <c:pt idx="4057">
                  <c:v>6.3375530471600001</c:v>
                </c:pt>
                <c:pt idx="4058">
                  <c:v>6.2187603815500001</c:v>
                </c:pt>
                <c:pt idx="4059">
                  <c:v>6.2190674278500007</c:v>
                </c:pt>
                <c:pt idx="4060">
                  <c:v>6.3384667379300001</c:v>
                </c:pt>
                <c:pt idx="4061">
                  <c:v>6.3384474549599998</c:v>
                </c:pt>
                <c:pt idx="4062">
                  <c:v>6.3387550447800001</c:v>
                </c:pt>
                <c:pt idx="4063">
                  <c:v>6.3389905929600001</c:v>
                </c:pt>
                <c:pt idx="4064">
                  <c:v>6.3383610455700001</c:v>
                </c:pt>
                <c:pt idx="4065">
                  <c:v>6.3386691789799992</c:v>
                </c:pt>
                <c:pt idx="4066">
                  <c:v>6.3381696438900006</c:v>
                </c:pt>
                <c:pt idx="4067">
                  <c:v>6.3384781405800004</c:v>
                </c:pt>
                <c:pt idx="4068">
                  <c:v>6.3387868189200001</c:v>
                </c:pt>
                <c:pt idx="4069">
                  <c:v>6.3381852651099999</c:v>
                </c:pt>
                <c:pt idx="4070">
                  <c:v>6.3384943070600004</c:v>
                </c:pt>
                <c:pt idx="4071">
                  <c:v>6.3388035324799992</c:v>
                </c:pt>
                <c:pt idx="4072">
                  <c:v>6.3391129396800006</c:v>
                </c:pt>
                <c:pt idx="4073">
                  <c:v>6.4411768376999996</c:v>
                </c:pt>
                <c:pt idx="4074">
                  <c:v>6.4330994022499999</c:v>
                </c:pt>
                <c:pt idx="4075">
                  <c:v>6.4245181335200003</c:v>
                </c:pt>
                <c:pt idx="4076">
                  <c:v>6.4248189605799997</c:v>
                </c:pt>
                <c:pt idx="4077">
                  <c:v>6.4251199660100005</c:v>
                </c:pt>
                <c:pt idx="4078">
                  <c:v>6.4365319893699997</c:v>
                </c:pt>
                <c:pt idx="4079">
                  <c:v>6.4368801904100001</c:v>
                </c:pt>
                <c:pt idx="4080">
                  <c:v>7.0574502178500005</c:v>
                </c:pt>
                <c:pt idx="4081">
                  <c:v>7.05200731509</c:v>
                </c:pt>
                <c:pt idx="4082">
                  <c:v>7.1023059689599997</c:v>
                </c:pt>
                <c:pt idx="4083">
                  <c:v>7.1817157188900005</c:v>
                </c:pt>
                <c:pt idx="4084">
                  <c:v>7.1820147253999993</c:v>
                </c:pt>
                <c:pt idx="4085">
                  <c:v>7.18224168353</c:v>
                </c:pt>
                <c:pt idx="4086">
                  <c:v>7.1785463873100008</c:v>
                </c:pt>
                <c:pt idx="4087">
                  <c:v>7.1780356700799999</c:v>
                </c:pt>
                <c:pt idx="4088">
                  <c:v>7.7767599901199995</c:v>
                </c:pt>
                <c:pt idx="4089">
                  <c:v>7.7770574848000003</c:v>
                </c:pt>
                <c:pt idx="4090">
                  <c:v>7.7770119161600002</c:v>
                </c:pt>
                <c:pt idx="4091">
                  <c:v>7.7773097627999999</c:v>
                </c:pt>
                <c:pt idx="4092">
                  <c:v>8.7704557840900002</c:v>
                </c:pt>
                <c:pt idx="4093">
                  <c:v>8.7713539804500016</c:v>
                </c:pt>
                <c:pt idx="4094">
                  <c:v>8.7716523526499994</c:v>
                </c:pt>
                <c:pt idx="4095">
                  <c:v>9.0395022581800006</c:v>
                </c:pt>
                <c:pt idx="4096">
                  <c:v>9.015633707180001</c:v>
                </c:pt>
                <c:pt idx="4097">
                  <c:v>9.0158255261900013</c:v>
                </c:pt>
                <c:pt idx="4098">
                  <c:v>9.0276975290700001</c:v>
                </c:pt>
                <c:pt idx="4099">
                  <c:v>9.0416251557900011</c:v>
                </c:pt>
                <c:pt idx="4100">
                  <c:v>9.0247071054300001</c:v>
                </c:pt>
                <c:pt idx="4101">
                  <c:v>9.0248902717199986</c:v>
                </c:pt>
                <c:pt idx="4102">
                  <c:v>9.0250735472999999</c:v>
                </c:pt>
                <c:pt idx="4103">
                  <c:v>9.5389788433999989</c:v>
                </c:pt>
                <c:pt idx="4104">
                  <c:v>9.5391623375400005</c:v>
                </c:pt>
                <c:pt idx="4105">
                  <c:v>9.5058385648600012</c:v>
                </c:pt>
                <c:pt idx="4106">
                  <c:v>9.5040022825600001</c:v>
                </c:pt>
                <c:pt idx="4107">
                  <c:v>9.5033582544699993</c:v>
                </c:pt>
                <c:pt idx="4108">
                  <c:v>9.503522166989999</c:v>
                </c:pt>
                <c:pt idx="4109">
                  <c:v>9.5036861774899997</c:v>
                </c:pt>
                <c:pt idx="4110">
                  <c:v>9.4188763832000006</c:v>
                </c:pt>
                <c:pt idx="4111">
                  <c:v>9.4189987959800003</c:v>
                </c:pt>
                <c:pt idx="4112">
                  <c:v>9.4191212819200008</c:v>
                </c:pt>
                <c:pt idx="4113">
                  <c:v>9.4192438405699992</c:v>
                </c:pt>
                <c:pt idx="4114">
                  <c:v>9.4193664723600001</c:v>
                </c:pt>
                <c:pt idx="4115">
                  <c:v>9.3996329047199989</c:v>
                </c:pt>
                <c:pt idx="4116">
                  <c:v>9.3997433900599994</c:v>
                </c:pt>
                <c:pt idx="4117">
                  <c:v>9.39985394124</c:v>
                </c:pt>
                <c:pt idx="4118">
                  <c:v>9.37700685095</c:v>
                </c:pt>
                <c:pt idx="4119">
                  <c:v>9.3245331462099994</c:v>
                </c:pt>
                <c:pt idx="4120">
                  <c:v>9.322493906590001</c:v>
                </c:pt>
                <c:pt idx="4121">
                  <c:v>9.3225987304500002</c:v>
                </c:pt>
                <c:pt idx="4122">
                  <c:v>9.322703616850001</c:v>
                </c:pt>
                <c:pt idx="4123">
                  <c:v>9.3228085653899999</c:v>
                </c:pt>
                <c:pt idx="4124">
                  <c:v>9.3035279651600007</c:v>
                </c:pt>
                <c:pt idx="4125">
                  <c:v>9.3036216690499991</c:v>
                </c:pt>
                <c:pt idx="4126">
                  <c:v>9.3036432065600003</c:v>
                </c:pt>
                <c:pt idx="4127">
                  <c:v>9.3037370218299991</c:v>
                </c:pt>
                <c:pt idx="4128">
                  <c:v>9.3038308929799989</c:v>
                </c:pt>
                <c:pt idx="4129">
                  <c:v>9.2597117902600008</c:v>
                </c:pt>
                <c:pt idx="4130">
                  <c:v>9.1605352152500004</c:v>
                </c:pt>
                <c:pt idx="4131">
                  <c:v>9.1577876361499992</c:v>
                </c:pt>
                <c:pt idx="4132">
                  <c:v>9.16060296703</c:v>
                </c:pt>
                <c:pt idx="4133">
                  <c:v>9.1680711129199999</c:v>
                </c:pt>
                <c:pt idx="4134">
                  <c:v>9.1681392991599999</c:v>
                </c:pt>
                <c:pt idx="4135">
                  <c:v>9.1695305259799991</c:v>
                </c:pt>
                <c:pt idx="4136">
                  <c:v>9.1497741147199996</c:v>
                </c:pt>
                <c:pt idx="4137">
                  <c:v>10.16247756656</c:v>
                </c:pt>
                <c:pt idx="4138">
                  <c:v>10.16253405166</c:v>
                </c:pt>
                <c:pt idx="4139">
                  <c:v>10.162590570180001</c:v>
                </c:pt>
                <c:pt idx="4140">
                  <c:v>10.446754756459999</c:v>
                </c:pt>
                <c:pt idx="4141">
                  <c:v>10.450029691100001</c:v>
                </c:pt>
                <c:pt idx="4142">
                  <c:v>10.598647081020001</c:v>
                </c:pt>
                <c:pt idx="4143">
                  <c:v>10.598694217850001</c:v>
                </c:pt>
                <c:pt idx="4144">
                  <c:v>10.59874138254</c:v>
                </c:pt>
                <c:pt idx="4145">
                  <c:v>10.593419939049999</c:v>
                </c:pt>
                <c:pt idx="4146">
                  <c:v>10.59346394882</c:v>
                </c:pt>
                <c:pt idx="4147">
                  <c:v>10.593218782919999</c:v>
                </c:pt>
                <c:pt idx="4148">
                  <c:v>10.5931906225</c:v>
                </c:pt>
                <c:pt idx="4149">
                  <c:v>10.5919691804</c:v>
                </c:pt>
                <c:pt idx="4150">
                  <c:v>10.591205439239999</c:v>
                </c:pt>
                <c:pt idx="4151">
                  <c:v>10.591249578879999</c:v>
                </c:pt>
                <c:pt idx="4152">
                  <c:v>10.591293744410001</c:v>
                </c:pt>
                <c:pt idx="4153">
                  <c:v>10.579470907040001</c:v>
                </c:pt>
                <c:pt idx="4154">
                  <c:v>10.58050124927</c:v>
                </c:pt>
                <c:pt idx="4155">
                  <c:v>10.58054028332</c:v>
                </c:pt>
                <c:pt idx="4156">
                  <c:v>10.72201234013</c:v>
                </c:pt>
                <c:pt idx="4157">
                  <c:v>10.722050419629999</c:v>
                </c:pt>
                <c:pt idx="4158">
                  <c:v>10.722088521809999</c:v>
                </c:pt>
                <c:pt idx="4159">
                  <c:v>10.728458778770001</c:v>
                </c:pt>
                <c:pt idx="4160">
                  <c:v>10.728496926450001</c:v>
                </c:pt>
                <c:pt idx="4161">
                  <c:v>11.078461740469999</c:v>
                </c:pt>
                <c:pt idx="4162">
                  <c:v>11.078681675139999</c:v>
                </c:pt>
                <c:pt idx="4163">
                  <c:v>11.067907420879999</c:v>
                </c:pt>
                <c:pt idx="4164">
                  <c:v>11.06812758659</c:v>
                </c:pt>
                <c:pt idx="4165">
                  <c:v>11.068347873</c:v>
                </c:pt>
                <c:pt idx="4166">
                  <c:v>11.06856827316</c:v>
                </c:pt>
                <c:pt idx="4167">
                  <c:v>11.068482358659999</c:v>
                </c:pt>
                <c:pt idx="4168">
                  <c:v>11.06933599341</c:v>
                </c:pt>
                <c:pt idx="4169">
                  <c:v>11.06948452622</c:v>
                </c:pt>
                <c:pt idx="4170">
                  <c:v>11.07786039558</c:v>
                </c:pt>
                <c:pt idx="4171">
                  <c:v>11.078081385760001</c:v>
                </c:pt>
                <c:pt idx="4172">
                  <c:v>11.07749464352</c:v>
                </c:pt>
                <c:pt idx="4173">
                  <c:v>11.016327044840001</c:v>
                </c:pt>
                <c:pt idx="4174">
                  <c:v>11.391860674669999</c:v>
                </c:pt>
                <c:pt idx="4175">
                  <c:v>11.3910533263</c:v>
                </c:pt>
                <c:pt idx="4176">
                  <c:v>11.39123815049</c:v>
                </c:pt>
                <c:pt idx="4177">
                  <c:v>11.392016070110001</c:v>
                </c:pt>
                <c:pt idx="4178">
                  <c:v>11.46220108164</c:v>
                </c:pt>
                <c:pt idx="4179">
                  <c:v>11.462386195610001</c:v>
                </c:pt>
                <c:pt idx="4180">
                  <c:v>11.46307640152</c:v>
                </c:pt>
                <c:pt idx="4181">
                  <c:v>11.463261702860001</c:v>
                </c:pt>
                <c:pt idx="4182">
                  <c:v>11.46344710312</c:v>
                </c:pt>
                <c:pt idx="4183">
                  <c:v>11.46363259882</c:v>
                </c:pt>
                <c:pt idx="4184">
                  <c:v>11.473707193459999</c:v>
                </c:pt>
                <c:pt idx="4185">
                  <c:v>11.472965802700001</c:v>
                </c:pt>
                <c:pt idx="4186">
                  <c:v>11.79468202078</c:v>
                </c:pt>
                <c:pt idx="4187">
                  <c:v>11.79486790172</c:v>
                </c:pt>
                <c:pt idx="4188">
                  <c:v>11.793813875729999</c:v>
                </c:pt>
                <c:pt idx="4189">
                  <c:v>11.793999275959999</c:v>
                </c:pt>
                <c:pt idx="4190">
                  <c:v>11.793885468139999</c:v>
                </c:pt>
                <c:pt idx="4191">
                  <c:v>11.79407106201</c:v>
                </c:pt>
                <c:pt idx="4192">
                  <c:v>11.79418452893</c:v>
                </c:pt>
                <c:pt idx="4193">
                  <c:v>11.79437031644</c:v>
                </c:pt>
                <c:pt idx="4194">
                  <c:v>11.79056870883</c:v>
                </c:pt>
                <c:pt idx="4195">
                  <c:v>11.790797520209999</c:v>
                </c:pt>
                <c:pt idx="4196">
                  <c:v>11.790982744879999</c:v>
                </c:pt>
                <c:pt idx="4197">
                  <c:v>11.72884666162</c:v>
                </c:pt>
                <c:pt idx="4198">
                  <c:v>11.729032078940001</c:v>
                </c:pt>
                <c:pt idx="4199">
                  <c:v>11.72921759085</c:v>
                </c:pt>
                <c:pt idx="4200">
                  <c:v>11.72940320082</c:v>
                </c:pt>
                <c:pt idx="4201">
                  <c:v>11.729162490509999</c:v>
                </c:pt>
                <c:pt idx="4202">
                  <c:v>11.739237044219999</c:v>
                </c:pt>
                <c:pt idx="4203">
                  <c:v>11.739422692370001</c:v>
                </c:pt>
                <c:pt idx="4204">
                  <c:v>11.74760843844</c:v>
                </c:pt>
                <c:pt idx="4205">
                  <c:v>11.747794282440001</c:v>
                </c:pt>
                <c:pt idx="4206">
                  <c:v>11.74861945458</c:v>
                </c:pt>
                <c:pt idx="4207">
                  <c:v>11.794149598260001</c:v>
                </c:pt>
                <c:pt idx="4208">
                  <c:v>11.794335729049999</c:v>
                </c:pt>
                <c:pt idx="4209">
                  <c:v>11.178233957770001</c:v>
                </c:pt>
                <c:pt idx="4210">
                  <c:v>11.17842028442</c:v>
                </c:pt>
                <c:pt idx="4211">
                  <c:v>11.178292986420001</c:v>
                </c:pt>
                <c:pt idx="4212">
                  <c:v>11.189050921030001</c:v>
                </c:pt>
                <c:pt idx="4213">
                  <c:v>11.190485315169999</c:v>
                </c:pt>
                <c:pt idx="4214">
                  <c:v>11.18986419464</c:v>
                </c:pt>
                <c:pt idx="4215">
                  <c:v>11.190051007440001</c:v>
                </c:pt>
                <c:pt idx="4216">
                  <c:v>11.190237914659999</c:v>
                </c:pt>
                <c:pt idx="4217">
                  <c:v>11.18936203372</c:v>
                </c:pt>
                <c:pt idx="4218">
                  <c:v>11.189549136799998</c:v>
                </c:pt>
                <c:pt idx="4219">
                  <c:v>11.189736334319999</c:v>
                </c:pt>
                <c:pt idx="4220">
                  <c:v>11.39361452402</c:v>
                </c:pt>
                <c:pt idx="4221">
                  <c:v>11.39379880816</c:v>
                </c:pt>
                <c:pt idx="4222">
                  <c:v>11.37898318673</c:v>
                </c:pt>
                <c:pt idx="4223">
                  <c:v>11.379167656229999</c:v>
                </c:pt>
                <c:pt idx="4224">
                  <c:v>11.381562139270001</c:v>
                </c:pt>
                <c:pt idx="4225">
                  <c:v>11.391746801129999</c:v>
                </c:pt>
                <c:pt idx="4226">
                  <c:v>11.38966522042</c:v>
                </c:pt>
                <c:pt idx="4227">
                  <c:v>11.398367522209998</c:v>
                </c:pt>
                <c:pt idx="4228">
                  <c:v>11.398552463870001</c:v>
                </c:pt>
                <c:pt idx="4229">
                  <c:v>11.400237503450001</c:v>
                </c:pt>
                <c:pt idx="4230">
                  <c:v>11.715422633979999</c:v>
                </c:pt>
                <c:pt idx="4231">
                  <c:v>11.71529077798</c:v>
                </c:pt>
                <c:pt idx="4232">
                  <c:v>11.715476100870001</c:v>
                </c:pt>
                <c:pt idx="4233">
                  <c:v>11.71558929357</c:v>
                </c:pt>
                <c:pt idx="4234">
                  <c:v>11.71577480531</c:v>
                </c:pt>
                <c:pt idx="4235">
                  <c:v>11.718383553739999</c:v>
                </c:pt>
                <c:pt idx="4236">
                  <c:v>11.71856925434</c:v>
                </c:pt>
                <c:pt idx="4237">
                  <c:v>11.718755049379999</c:v>
                </c:pt>
                <c:pt idx="4238">
                  <c:v>11.684015225650001</c:v>
                </c:pt>
                <c:pt idx="4239">
                  <c:v>11.684201213040001</c:v>
                </c:pt>
                <c:pt idx="4240">
                  <c:v>11.667801433120001</c:v>
                </c:pt>
                <c:pt idx="4241">
                  <c:v>11.667987609379999</c:v>
                </c:pt>
                <c:pt idx="4242">
                  <c:v>11.66817388007</c:v>
                </c:pt>
                <c:pt idx="4243">
                  <c:v>11.67336024519</c:v>
                </c:pt>
                <c:pt idx="4244">
                  <c:v>12.67354670474</c:v>
                </c:pt>
                <c:pt idx="4245">
                  <c:v>12.67873326222</c:v>
                </c:pt>
                <c:pt idx="4246">
                  <c:v>12.69374757484</c:v>
                </c:pt>
                <c:pt idx="4247">
                  <c:v>12.67832172292</c:v>
                </c:pt>
                <c:pt idx="4248">
                  <c:v>12.689739402000001</c:v>
                </c:pt>
                <c:pt idx="4249">
                  <c:v>12.68992317551</c:v>
                </c:pt>
                <c:pt idx="4250">
                  <c:v>12.71210703995</c:v>
                </c:pt>
                <c:pt idx="4251">
                  <c:v>12.715282359069999</c:v>
                </c:pt>
                <c:pt idx="4252">
                  <c:v>12.715466408879999</c:v>
                </c:pt>
                <c:pt idx="4253">
                  <c:v>12.715578330450001</c:v>
                </c:pt>
                <c:pt idx="4254">
                  <c:v>12.719262562120001</c:v>
                </c:pt>
                <c:pt idx="4255">
                  <c:v>12.72444689173</c:v>
                </c:pt>
                <c:pt idx="4256">
                  <c:v>13.08744752</c:v>
                </c:pt>
                <c:pt idx="4257">
                  <c:v>13.09263203147</c:v>
                </c:pt>
                <c:pt idx="4258">
                  <c:v>13.350934637370001</c:v>
                </c:pt>
                <c:pt idx="4259">
                  <c:v>14.256991582209999</c:v>
                </c:pt>
                <c:pt idx="4260">
                  <c:v>14.445515197479999</c:v>
                </c:pt>
                <c:pt idx="4261">
                  <c:v>15.57355875575</c:v>
                </c:pt>
                <c:pt idx="4262">
                  <c:v>16.273743732379998</c:v>
                </c:pt>
                <c:pt idx="4263">
                  <c:v>16.354372799949999</c:v>
                </c:pt>
                <c:pt idx="4264">
                  <c:v>16.48375696195</c:v>
                </c:pt>
                <c:pt idx="4265">
                  <c:v>16.485304214879999</c:v>
                </c:pt>
                <c:pt idx="4266">
                  <c:v>16.485489562240002</c:v>
                </c:pt>
                <c:pt idx="4267">
                  <c:v>16.484860190040003</c:v>
                </c:pt>
                <c:pt idx="4268">
                  <c:v>17.467660601759999</c:v>
                </c:pt>
                <c:pt idx="4269">
                  <c:v>17.464314580169997</c:v>
                </c:pt>
                <c:pt idx="4270">
                  <c:v>17.464500301759998</c:v>
                </c:pt>
                <c:pt idx="4271">
                  <c:v>17.46468611429</c:v>
                </c:pt>
                <c:pt idx="4272">
                  <c:v>17.467472021240003</c:v>
                </c:pt>
                <c:pt idx="4273">
                  <c:v>17.467335520950002</c:v>
                </c:pt>
                <c:pt idx="4274">
                  <c:v>17.46752161677</c:v>
                </c:pt>
                <c:pt idx="4275">
                  <c:v>17.467635581370001</c:v>
                </c:pt>
                <c:pt idx="4276">
                  <c:v>17.467821859049998</c:v>
                </c:pt>
                <c:pt idx="4277">
                  <c:v>17.466998420849997</c:v>
                </c:pt>
                <c:pt idx="4278">
                  <c:v>17.503975220439997</c:v>
                </c:pt>
                <c:pt idx="4279">
                  <c:v>17.543952107470002</c:v>
                </c:pt>
                <c:pt idx="4280">
                  <c:v>17.57629265504</c:v>
                </c:pt>
                <c:pt idx="4281">
                  <c:v>17.579069709950002</c:v>
                </c:pt>
                <c:pt idx="4282">
                  <c:v>17.5862468453</c:v>
                </c:pt>
                <c:pt idx="4283">
                  <c:v>17.587201071580001</c:v>
                </c:pt>
                <c:pt idx="4284">
                  <c:v>17.592078378310003</c:v>
                </c:pt>
                <c:pt idx="4285">
                  <c:v>17.594455768970001</c:v>
                </c:pt>
                <c:pt idx="4286">
                  <c:v>17.611633243580002</c:v>
                </c:pt>
                <c:pt idx="4287">
                  <c:v>17.611810805619999</c:v>
                </c:pt>
                <c:pt idx="4288">
                  <c:v>17.611988451590001</c:v>
                </c:pt>
                <c:pt idx="4289">
                  <c:v>17.593415183929999</c:v>
                </c:pt>
                <c:pt idx="4290">
                  <c:v>17.591757770930002</c:v>
                </c:pt>
                <c:pt idx="4291">
                  <c:v>17.60294213453</c:v>
                </c:pt>
                <c:pt idx="4292">
                  <c:v>17.603108798509997</c:v>
                </c:pt>
                <c:pt idx="4293">
                  <c:v>17.60959254294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216412160"/>
        <c:axId val="216413696"/>
      </c:areaChart>
      <c:dateAx>
        <c:axId val="216412160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1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pt-BR"/>
          </a:p>
        </c:txPr>
        <c:crossAx val="216413696"/>
        <c:crosses val="autoZero"/>
        <c:auto val="1"/>
        <c:lblOffset val="100"/>
        <c:baseTimeUnit val="days"/>
        <c:majorUnit val="6"/>
        <c:majorTimeUnit val="months"/>
      </c:dateAx>
      <c:valAx>
        <c:axId val="216413696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pt-BR"/>
          </a:p>
        </c:txPr>
        <c:crossAx val="216412160"/>
        <c:crosses val="autoZero"/>
        <c:crossBetween val="midCat"/>
      </c:valAx>
      <c:spPr>
        <a:noFill/>
        <a:ln>
          <a:noFill/>
        </a:ln>
        <a:effectLst/>
      </c:spPr>
    </c:plotArea>
    <c:plotVisOnly val="1"/>
    <c:dispBlanksAs val="zero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pt-BR"/>
    </a:p>
  </c:txPr>
  <c:externalData r:id="rId1">
    <c:autoUpdate val="0"/>
  </c:externalData>
</c:chartSpace>
</file>

<file path=ppt/charts/chart2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view3D>
      <c:rotX val="15"/>
      <c:rotY val="0"/>
      <c:rAngAx val="0"/>
      <c:perspective val="0"/>
    </c:view3D>
    <c:floor>
      <c:thickness val="0"/>
    </c:floor>
    <c:sideWall>
      <c:thickness val="0"/>
    </c:sideWall>
    <c:backWall>
      <c:thickness val="0"/>
    </c:backWall>
    <c:plotArea>
      <c:layout>
        <c:manualLayout>
          <c:layoutTarget val="inner"/>
          <c:xMode val="edge"/>
          <c:yMode val="edge"/>
          <c:x val="0.1553030320000896"/>
          <c:y val="0.25610346514237492"/>
          <c:w val="0.68724655861829509"/>
          <c:h val="0.46894261846988983"/>
        </c:manualLayout>
      </c:layout>
      <c:pie3D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2013</c:v>
                </c:pt>
              </c:strCache>
            </c:strRef>
          </c:tx>
          <c:spPr>
            <a:solidFill>
              <a:schemeClr val="accent1"/>
            </a:solidFill>
            <a:ln w="12700">
              <a:solidFill>
                <a:srgbClr val="333333"/>
              </a:solidFill>
              <a:prstDash val="solid"/>
            </a:ln>
          </c:spPr>
          <c:dPt>
            <c:idx val="0"/>
            <c:bubble3D val="0"/>
            <c:spPr>
              <a:solidFill>
                <a:srgbClr val="0000FF"/>
              </a:solidFill>
              <a:ln w="12700">
                <a:solidFill>
                  <a:srgbClr val="333333"/>
                </a:solidFill>
                <a:prstDash val="solid"/>
              </a:ln>
            </c:spPr>
          </c:dPt>
          <c:dPt>
            <c:idx val="1"/>
            <c:bubble3D val="0"/>
            <c:spPr>
              <a:solidFill>
                <a:srgbClr val="FF0000"/>
              </a:solidFill>
              <a:ln w="12700">
                <a:solidFill>
                  <a:srgbClr val="333333"/>
                </a:solidFill>
                <a:prstDash val="solid"/>
              </a:ln>
            </c:spPr>
          </c:dPt>
          <c:dPt>
            <c:idx val="2"/>
            <c:bubble3D val="0"/>
            <c:spPr>
              <a:solidFill>
                <a:srgbClr val="339966"/>
              </a:solidFill>
              <a:ln w="12700">
                <a:solidFill>
                  <a:srgbClr val="333333"/>
                </a:solidFill>
                <a:prstDash val="solid"/>
              </a:ln>
            </c:spPr>
          </c:dPt>
          <c:dPt>
            <c:idx val="3"/>
            <c:bubble3D val="0"/>
            <c:spPr>
              <a:solidFill>
                <a:srgbClr val="FF6600"/>
              </a:solidFill>
              <a:ln w="12700">
                <a:solidFill>
                  <a:srgbClr val="333333"/>
                </a:solidFill>
                <a:prstDash val="solid"/>
              </a:ln>
            </c:spPr>
          </c:dPt>
          <c:dPt>
            <c:idx val="4"/>
            <c:bubble3D val="0"/>
            <c:spPr>
              <a:solidFill>
                <a:srgbClr val="FFFF00"/>
              </a:solidFill>
              <a:ln w="12700">
                <a:solidFill>
                  <a:srgbClr val="333333"/>
                </a:solidFill>
                <a:prstDash val="solid"/>
              </a:ln>
            </c:spPr>
          </c:dPt>
          <c:dLbls>
            <c:dLbl>
              <c:idx val="0"/>
              <c:layout>
                <c:manualLayout>
                  <c:x val="7.2834938222051402E-3"/>
                  <c:y val="-0.18891666390728071"/>
                </c:manualLayout>
              </c:layout>
              <c:dLblPos val="bestFit"/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1"/>
              <c:layout>
                <c:manualLayout>
                  <c:x val="0.15053138399737348"/>
                  <c:y val="5.8093759011028555E-2"/>
                </c:manualLayout>
              </c:layout>
              <c:dLblPos val="bestFit"/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2"/>
              <c:layout>
                <c:manualLayout>
                  <c:x val="-4.818523743426787E-2"/>
                  <c:y val="-0.100288194702833"/>
                </c:manualLayout>
              </c:layout>
              <c:dLblPos val="bestFit"/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3"/>
              <c:layout>
                <c:manualLayout>
                  <c:x val="8.89108365817237E-3"/>
                  <c:y val="-0.10694452248120159"/>
                </c:manualLayout>
              </c:layout>
              <c:dLblPos val="bestFit"/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</c:extLst>
            </c:dLbl>
            <c:numFmt formatCode="0.0%" sourceLinked="0"/>
            <c:spPr>
              <a:noFill/>
              <a:ln w="25400">
                <a:noFill/>
              </a:ln>
            </c:spPr>
            <c:txPr>
              <a:bodyPr/>
              <a:lstStyle/>
              <a:p>
                <a:pPr>
                  <a:defRPr sz="1800" b="0" i="0" u="none" strike="noStrike" baseline="0">
                    <a:solidFill>
                      <a:schemeClr val="tx1"/>
                    </a:solidFill>
                    <a:latin typeface="Arial"/>
                    <a:ea typeface="Arial"/>
                    <a:cs typeface="Arial"/>
                  </a:defRPr>
                </a:pPr>
                <a:endParaRPr lang="pt-BR"/>
              </a:p>
            </c:txPr>
            <c:showLegendKey val="0"/>
            <c:showVal val="0"/>
            <c:showCatName val="1"/>
            <c:showSerName val="0"/>
            <c:showPercent val="1"/>
            <c:showBubbleSize val="0"/>
            <c:showLeaderLines val="1"/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6</c:f>
              <c:strCache>
                <c:ptCount val="5"/>
                <c:pt idx="0">
                  <c:v>Sucroalcooleiro</c:v>
                </c:pt>
                <c:pt idx="1">
                  <c:v>Grãos</c:v>
                </c:pt>
                <c:pt idx="2">
                  <c:v>Defensivos Agrícolas</c:v>
                </c:pt>
                <c:pt idx="3">
                  <c:v>Fertilizantes</c:v>
                </c:pt>
                <c:pt idx="4">
                  <c:v>Pecuária</c:v>
                </c:pt>
              </c:strCache>
            </c:strRef>
          </c:cat>
          <c:val>
            <c:numRef>
              <c:f>Sheet1!$B$2:$B$6</c:f>
              <c:numCache>
                <c:formatCode>General</c:formatCode>
                <c:ptCount val="5"/>
                <c:pt idx="0">
                  <c:v>42.2</c:v>
                </c:pt>
                <c:pt idx="1">
                  <c:v>33.299999999999997</c:v>
                </c:pt>
                <c:pt idx="2">
                  <c:v>14.7</c:v>
                </c:pt>
                <c:pt idx="3">
                  <c:v>7</c:v>
                </c:pt>
                <c:pt idx="4">
                  <c:v>2.8</c:v>
                </c:pt>
              </c:numCache>
            </c:numRef>
          </c:val>
        </c:ser>
        <c:dLbls>
          <c:showLegendKey val="0"/>
          <c:showVal val="0"/>
          <c:showCatName val="1"/>
          <c:showSerName val="0"/>
          <c:showPercent val="1"/>
          <c:showBubbleSize val="0"/>
          <c:showLeaderLines val="1"/>
        </c:dLbls>
      </c:pie3DChart>
      <c:spPr>
        <a:noFill/>
        <a:ln w="25400">
          <a:noFill/>
        </a:ln>
      </c:spPr>
    </c:plotArea>
    <c:plotVisOnly val="1"/>
    <c:dispBlanksAs val="zero"/>
    <c:showDLblsOverMax val="0"/>
  </c:chart>
  <c:spPr>
    <a:noFill/>
    <a:ln>
      <a:noFill/>
    </a:ln>
  </c:spPr>
  <c:txPr>
    <a:bodyPr/>
    <a:lstStyle/>
    <a:p>
      <a:pPr>
        <a:defRPr sz="2375" b="1" i="0" u="none" strike="noStrike" baseline="0">
          <a:solidFill>
            <a:schemeClr val="tx1"/>
          </a:solidFill>
          <a:latin typeface="Arial"/>
          <a:ea typeface="Arial"/>
          <a:cs typeface="Arial"/>
        </a:defRPr>
      </a:pPr>
      <a:endParaRPr lang="pt-BR"/>
    </a:p>
  </c:txPr>
  <c:externalData r:id="rId1">
    <c:autoUpdate val="0"/>
  </c:externalData>
</c:chartSpace>
</file>

<file path=ppt/charts/chart2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view3D>
      <c:rotX val="30"/>
      <c:rotY val="0"/>
      <c:depthPercent val="100"/>
      <c:rAngAx val="0"/>
      <c:perspective val="30"/>
    </c:view3D>
    <c:floor>
      <c:thickness val="0"/>
      <c:spPr>
        <a:noFill/>
        <a:ln>
          <a:noFill/>
        </a:ln>
        <a:effectLst/>
        <a:sp3d/>
      </c:spPr>
    </c:floor>
    <c:sideWall>
      <c:thickness val="0"/>
      <c:spPr>
        <a:noFill/>
        <a:ln>
          <a:noFill/>
        </a:ln>
        <a:effectLst/>
        <a:sp3d/>
      </c:spPr>
    </c:sideWall>
    <c:backWall>
      <c:thickness val="0"/>
      <c:spPr>
        <a:noFill/>
        <a:ln>
          <a:noFill/>
        </a:ln>
        <a:effectLst/>
        <a:sp3d/>
      </c:spPr>
    </c:backWall>
    <c:plotArea>
      <c:layout>
        <c:manualLayout>
          <c:layoutTarget val="inner"/>
          <c:xMode val="edge"/>
          <c:yMode val="edge"/>
          <c:x val="0.1439232409381663"/>
          <c:y val="0.23905109489051096"/>
          <c:w val="0.73134328358208955"/>
          <c:h val="0.4981751824817518"/>
        </c:manualLayout>
      </c:layout>
      <c:pie3D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2014</c:v>
                </c:pt>
              </c:strCache>
            </c:strRef>
          </c:tx>
          <c:dPt>
            <c:idx val="0"/>
            <c:bubble3D val="0"/>
            <c:spPr>
              <a:solidFill>
                <a:srgbClr val="0000FF"/>
              </a:solidFill>
              <a:ln>
                <a:noFill/>
              </a:ln>
              <a:effectLst>
                <a:outerShdw blurRad="40000" dist="23000" dir="5400000" rotWithShape="0">
                  <a:srgbClr val="000000">
                    <a:alpha val="35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threePt" dir="t">
                  <a:rot lat="0" lon="0" rev="1200000"/>
                </a:lightRig>
              </a:scene3d>
              <a:sp3d>
                <a:bevelT w="63500" h="25400"/>
              </a:sp3d>
            </c:spPr>
          </c:dPt>
          <c:dPt>
            <c:idx val="1"/>
            <c:bubble3D val="0"/>
            <c:spPr>
              <a:solidFill>
                <a:srgbClr val="FF0000"/>
              </a:solidFill>
              <a:ln>
                <a:noFill/>
              </a:ln>
              <a:effectLst>
                <a:outerShdw blurRad="40000" dist="23000" dir="5400000" rotWithShape="0">
                  <a:srgbClr val="000000">
                    <a:alpha val="35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threePt" dir="t">
                  <a:rot lat="0" lon="0" rev="1200000"/>
                </a:lightRig>
              </a:scene3d>
              <a:sp3d>
                <a:bevelT w="63500" h="25400"/>
              </a:sp3d>
            </c:spPr>
          </c:dPt>
          <c:dPt>
            <c:idx val="2"/>
            <c:bubble3D val="0"/>
            <c:spPr>
              <a:gradFill rotWithShape="1">
                <a:gsLst>
                  <a:gs pos="0">
                    <a:schemeClr val="accent3">
                      <a:shade val="51000"/>
                      <a:satMod val="130000"/>
                    </a:schemeClr>
                  </a:gs>
                  <a:gs pos="80000">
                    <a:schemeClr val="accent3">
                      <a:shade val="93000"/>
                      <a:satMod val="130000"/>
                    </a:schemeClr>
                  </a:gs>
                  <a:gs pos="100000">
                    <a:schemeClr val="accent3">
                      <a:shade val="94000"/>
                      <a:satMod val="135000"/>
                    </a:schemeClr>
                  </a:gs>
                </a:gsLst>
                <a:lin ang="16200000" scaled="0"/>
              </a:gradFill>
              <a:ln>
                <a:noFill/>
              </a:ln>
              <a:effectLst>
                <a:outerShdw blurRad="40000" dist="23000" dir="5400000" rotWithShape="0">
                  <a:srgbClr val="000000">
                    <a:alpha val="35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threePt" dir="t">
                  <a:rot lat="0" lon="0" rev="1200000"/>
                </a:lightRig>
              </a:scene3d>
              <a:sp3d>
                <a:bevelT w="63500" h="25400"/>
              </a:sp3d>
            </c:spPr>
          </c:dPt>
          <c:dPt>
            <c:idx val="3"/>
            <c:bubble3D val="0"/>
            <c:spPr>
              <a:solidFill>
                <a:srgbClr val="FF9900"/>
              </a:solidFill>
              <a:ln>
                <a:noFill/>
              </a:ln>
              <a:effectLst>
                <a:outerShdw blurRad="40000" dist="23000" dir="5400000" rotWithShape="0">
                  <a:srgbClr val="000000">
                    <a:alpha val="35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threePt" dir="t">
                  <a:rot lat="0" lon="0" rev="1200000"/>
                </a:lightRig>
              </a:scene3d>
              <a:sp3d>
                <a:bevelT w="63500" h="25400"/>
              </a:sp3d>
            </c:spPr>
          </c:dPt>
          <c:dPt>
            <c:idx val="4"/>
            <c:bubble3D val="0"/>
            <c:spPr>
              <a:solidFill>
                <a:srgbClr val="FFFF00"/>
              </a:solidFill>
              <a:ln>
                <a:noFill/>
              </a:ln>
              <a:effectLst>
                <a:outerShdw blurRad="40000" dist="23000" dir="5400000" rotWithShape="0">
                  <a:srgbClr val="000000">
                    <a:alpha val="35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threePt" dir="t">
                  <a:rot lat="0" lon="0" rev="1200000"/>
                </a:lightRig>
              </a:scene3d>
              <a:sp3d>
                <a:bevelT w="63500" h="25400"/>
              </a:sp3d>
            </c:spPr>
          </c:dPt>
          <c:dPt>
            <c:idx val="5"/>
            <c:bubble3D val="0"/>
            <c:spPr>
              <a:solidFill>
                <a:srgbClr val="CC3300"/>
              </a:solidFill>
              <a:ln>
                <a:noFill/>
              </a:ln>
              <a:effectLst>
                <a:outerShdw blurRad="40000" dist="23000" dir="5400000" rotWithShape="0">
                  <a:srgbClr val="000000">
                    <a:alpha val="35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threePt" dir="t">
                  <a:rot lat="0" lon="0" rev="1200000"/>
                </a:lightRig>
              </a:scene3d>
              <a:sp3d>
                <a:bevelT w="63500" h="25400"/>
              </a:sp3d>
            </c:spPr>
          </c:dPt>
          <c:dPt>
            <c:idx val="6"/>
            <c:bubble3D val="0"/>
            <c:spPr>
              <a:solidFill>
                <a:srgbClr val="FF9999"/>
              </a:solidFill>
              <a:ln>
                <a:noFill/>
              </a:ln>
              <a:effectLst>
                <a:outerShdw blurRad="40000" dist="23000" dir="5400000" rotWithShape="0">
                  <a:srgbClr val="000000">
                    <a:alpha val="35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threePt" dir="t">
                  <a:rot lat="0" lon="0" rev="1200000"/>
                </a:lightRig>
              </a:scene3d>
              <a:sp3d>
                <a:bevelT w="63500" h="25400"/>
              </a:sp3d>
            </c:spPr>
          </c:dPt>
          <c:dPt>
            <c:idx val="7"/>
            <c:bubble3D val="0"/>
            <c:spPr>
              <a:solidFill>
                <a:srgbClr val="CC00CC"/>
              </a:solidFill>
              <a:ln>
                <a:noFill/>
              </a:ln>
              <a:effectLst>
                <a:outerShdw blurRad="40000" dist="23000" dir="5400000" rotWithShape="0">
                  <a:srgbClr val="000000">
                    <a:alpha val="35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threePt" dir="t">
                  <a:rot lat="0" lon="0" rev="1200000"/>
                </a:lightRig>
              </a:scene3d>
              <a:sp3d>
                <a:bevelT w="63500" h="25400"/>
              </a:sp3d>
            </c:spPr>
          </c:dPt>
          <c:dLbls>
            <c:dLbl>
              <c:idx val="0"/>
              <c:layout>
                <c:manualLayout>
                  <c:x val="7.2834938222051402E-3"/>
                  <c:y val="-0.18891666390728071"/>
                </c:manualLayout>
              </c:layout>
              <c:dLblPos val="bestFit"/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1"/>
              <c:layout>
                <c:manualLayout>
                  <c:x val="0.22592253670993839"/>
                  <c:y val="-3.691235002445644E-2"/>
                </c:manualLayout>
              </c:layout>
              <c:dLblPos val="bestFit"/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2"/>
              <c:layout>
                <c:manualLayout>
                  <c:x val="-0.19327774106472823"/>
                  <c:y val="-6.6183356191316531E-2"/>
                </c:manualLayout>
              </c:layout>
              <c:dLblPos val="bestFit"/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3"/>
              <c:layout>
                <c:manualLayout>
                  <c:x val="-1.3868572260615386E-2"/>
                  <c:y val="-5.5787353620992304E-2"/>
                </c:manualLayout>
              </c:layout>
              <c:dLblPos val="bestFit"/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4"/>
              <c:layout>
                <c:manualLayout>
                  <c:x val="-0.16598357993302046"/>
                  <c:y val="3.6633258845080417E-2"/>
                </c:manualLayout>
              </c:layout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5"/>
              <c:layout>
                <c:manualLayout>
                  <c:x val="-8.5869221894916054E-2"/>
                  <c:y val="-5.0084686430030598E-2"/>
                </c:manualLayout>
              </c:layout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6"/>
              <c:layout>
                <c:manualLayout>
                  <c:x val="5.2855478769278964E-2"/>
                  <c:y val="7.7337988049910322E-3"/>
                </c:manualLayout>
              </c:layout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7"/>
              <c:layout>
                <c:manualLayout>
                  <c:x val="0.1110044690359651"/>
                  <c:y val="-3.0179251345104383E-2"/>
                </c:manualLayout>
              </c:layout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</c:extLst>
            </c:dLbl>
            <c:numFmt formatCode="0.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pt-BR"/>
              </a:p>
            </c:txPr>
            <c:showLegendKey val="0"/>
            <c:showVal val="0"/>
            <c:showCatName val="1"/>
            <c:showSerName val="0"/>
            <c:showPercent val="1"/>
            <c:showBubbleSize val="0"/>
            <c:showLeaderLines val="1"/>
            <c:leaderLines>
              <c:spPr>
                <a:ln w="9525">
                  <a:solidFill>
                    <a:schemeClr val="tx1">
                      <a:alpha val="54000"/>
                    </a:schemeClr>
                  </a:solidFill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9</c:f>
              <c:strCache>
                <c:ptCount val="8"/>
                <c:pt idx="0">
                  <c:v>Sucroalcooleiro</c:v>
                </c:pt>
                <c:pt idx="1">
                  <c:v>Bovinos</c:v>
                </c:pt>
                <c:pt idx="2">
                  <c:v>Diversos insumos agrícolas</c:v>
                </c:pt>
                <c:pt idx="3">
                  <c:v>Fibras</c:v>
                </c:pt>
                <c:pt idx="4">
                  <c:v>Grãos</c:v>
                </c:pt>
                <c:pt idx="5">
                  <c:v>Fertilizantes</c:v>
                </c:pt>
                <c:pt idx="6">
                  <c:v>Defensivos Agrícolas</c:v>
                </c:pt>
                <c:pt idx="7">
                  <c:v>Frutas</c:v>
                </c:pt>
              </c:strCache>
            </c:strRef>
          </c:cat>
          <c:val>
            <c:numRef>
              <c:f>Sheet1!$B$2:$B$9</c:f>
              <c:numCache>
                <c:formatCode>General</c:formatCode>
                <c:ptCount val="8"/>
                <c:pt idx="0">
                  <c:v>41.7</c:v>
                </c:pt>
                <c:pt idx="1">
                  <c:v>12.5</c:v>
                </c:pt>
                <c:pt idx="2">
                  <c:v>12.3</c:v>
                </c:pt>
                <c:pt idx="3">
                  <c:v>11.2</c:v>
                </c:pt>
                <c:pt idx="4">
                  <c:v>7.9</c:v>
                </c:pt>
                <c:pt idx="5">
                  <c:v>7.1</c:v>
                </c:pt>
                <c:pt idx="6">
                  <c:v>4.8</c:v>
                </c:pt>
                <c:pt idx="7">
                  <c:v>2.5</c:v>
                </c:pt>
              </c:numCache>
            </c:numRef>
          </c:val>
        </c:ser>
        <c:dLbls>
          <c:showLegendKey val="0"/>
          <c:showVal val="0"/>
          <c:showCatName val="1"/>
          <c:showSerName val="0"/>
          <c:showPercent val="1"/>
          <c:showBubbleSize val="0"/>
          <c:showLeaderLines val="1"/>
        </c:dLbls>
      </c:pie3DChart>
      <c:spPr>
        <a:noFill/>
        <a:ln>
          <a:noFill/>
        </a:ln>
        <a:effectLst/>
      </c:spPr>
    </c:plotArea>
    <c:plotVisOnly val="1"/>
    <c:dispBlanksAs val="zero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pt-BR"/>
    </a:p>
  </c:txPr>
  <c:externalData r:id="rId1">
    <c:autoUpdate val="0"/>
  </c:externalData>
</c:chartSpace>
</file>

<file path=ppt/charts/chart2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view3D>
      <c:rotX val="30"/>
      <c:rotY val="0"/>
      <c:depthPercent val="100"/>
      <c:rAngAx val="0"/>
      <c:perspective val="30"/>
    </c:view3D>
    <c:floor>
      <c:thickness val="0"/>
      <c:spPr>
        <a:noFill/>
        <a:ln>
          <a:noFill/>
        </a:ln>
        <a:effectLst/>
        <a:sp3d/>
      </c:spPr>
    </c:floor>
    <c:sideWall>
      <c:thickness val="0"/>
      <c:spPr>
        <a:noFill/>
        <a:ln>
          <a:noFill/>
        </a:ln>
        <a:effectLst/>
        <a:sp3d/>
      </c:spPr>
    </c:sideWall>
    <c:backWall>
      <c:thickness val="0"/>
      <c:spPr>
        <a:noFill/>
        <a:ln>
          <a:noFill/>
        </a:ln>
        <a:effectLst/>
        <a:sp3d/>
      </c:spPr>
    </c:backWall>
    <c:plotArea>
      <c:layout>
        <c:manualLayout>
          <c:layoutTarget val="inner"/>
          <c:xMode val="edge"/>
          <c:yMode val="edge"/>
          <c:x val="0.1439232684819092"/>
          <c:y val="0.31700482837269339"/>
          <c:w val="0.73134328358208955"/>
          <c:h val="0.4981751824817518"/>
        </c:manualLayout>
      </c:layout>
      <c:pie3D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2015</c:v>
                </c:pt>
              </c:strCache>
            </c:strRef>
          </c:tx>
          <c:dPt>
            <c:idx val="0"/>
            <c:bubble3D val="0"/>
            <c:spPr>
              <a:solidFill>
                <a:srgbClr val="0000FF"/>
              </a:solidFill>
              <a:ln>
                <a:noFill/>
              </a:ln>
              <a:effectLst>
                <a:outerShdw blurRad="40000" dist="23000" dir="5400000" rotWithShape="0">
                  <a:srgbClr val="000000">
                    <a:alpha val="35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threePt" dir="t">
                  <a:rot lat="0" lon="0" rev="1200000"/>
                </a:lightRig>
              </a:scene3d>
              <a:sp3d>
                <a:bevelT w="63500" h="25400"/>
              </a:sp3d>
            </c:spPr>
          </c:dPt>
          <c:dPt>
            <c:idx val="1"/>
            <c:bubble3D val="0"/>
            <c:spPr>
              <a:solidFill>
                <a:srgbClr val="FF0000"/>
              </a:solidFill>
              <a:ln>
                <a:noFill/>
              </a:ln>
              <a:effectLst>
                <a:outerShdw blurRad="40000" dist="23000" dir="5400000" rotWithShape="0">
                  <a:srgbClr val="000000">
                    <a:alpha val="35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threePt" dir="t">
                  <a:rot lat="0" lon="0" rev="1200000"/>
                </a:lightRig>
              </a:scene3d>
              <a:sp3d>
                <a:bevelT w="63500" h="25400"/>
              </a:sp3d>
            </c:spPr>
          </c:dPt>
          <c:dPt>
            <c:idx val="2"/>
            <c:bubble3D val="0"/>
            <c:spPr>
              <a:gradFill rotWithShape="1">
                <a:gsLst>
                  <a:gs pos="0">
                    <a:schemeClr val="accent3">
                      <a:shade val="51000"/>
                      <a:satMod val="130000"/>
                    </a:schemeClr>
                  </a:gs>
                  <a:gs pos="80000">
                    <a:schemeClr val="accent3">
                      <a:shade val="93000"/>
                      <a:satMod val="130000"/>
                    </a:schemeClr>
                  </a:gs>
                  <a:gs pos="100000">
                    <a:schemeClr val="accent3">
                      <a:shade val="94000"/>
                      <a:satMod val="135000"/>
                    </a:schemeClr>
                  </a:gs>
                </a:gsLst>
                <a:lin ang="16200000" scaled="0"/>
              </a:gradFill>
              <a:ln>
                <a:noFill/>
              </a:ln>
              <a:effectLst>
                <a:outerShdw blurRad="40000" dist="23000" dir="5400000" rotWithShape="0">
                  <a:srgbClr val="000000">
                    <a:alpha val="35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threePt" dir="t">
                  <a:rot lat="0" lon="0" rev="1200000"/>
                </a:lightRig>
              </a:scene3d>
              <a:sp3d>
                <a:bevelT w="63500" h="25400"/>
              </a:sp3d>
            </c:spPr>
          </c:dPt>
          <c:dPt>
            <c:idx val="3"/>
            <c:bubble3D val="0"/>
            <c:spPr>
              <a:solidFill>
                <a:srgbClr val="FF9900"/>
              </a:solidFill>
              <a:ln>
                <a:noFill/>
              </a:ln>
              <a:effectLst>
                <a:outerShdw blurRad="40000" dist="23000" dir="5400000" rotWithShape="0">
                  <a:srgbClr val="000000">
                    <a:alpha val="35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threePt" dir="t">
                  <a:rot lat="0" lon="0" rev="1200000"/>
                </a:lightRig>
              </a:scene3d>
              <a:sp3d>
                <a:bevelT w="63500" h="25400"/>
              </a:sp3d>
            </c:spPr>
          </c:dPt>
          <c:dPt>
            <c:idx val="4"/>
            <c:bubble3D val="0"/>
            <c:spPr>
              <a:solidFill>
                <a:srgbClr val="FFFF00"/>
              </a:solidFill>
              <a:ln>
                <a:noFill/>
              </a:ln>
              <a:effectLst>
                <a:outerShdw blurRad="40000" dist="23000" dir="5400000" rotWithShape="0">
                  <a:srgbClr val="000000">
                    <a:alpha val="35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threePt" dir="t">
                  <a:rot lat="0" lon="0" rev="1200000"/>
                </a:lightRig>
              </a:scene3d>
              <a:sp3d>
                <a:bevelT w="63500" h="25400"/>
              </a:sp3d>
            </c:spPr>
          </c:dPt>
          <c:dPt>
            <c:idx val="5"/>
            <c:bubble3D val="0"/>
            <c:spPr>
              <a:solidFill>
                <a:srgbClr val="CC3300"/>
              </a:solidFill>
              <a:ln>
                <a:noFill/>
              </a:ln>
              <a:effectLst>
                <a:outerShdw blurRad="40000" dist="23000" dir="5400000" rotWithShape="0">
                  <a:srgbClr val="000000">
                    <a:alpha val="35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threePt" dir="t">
                  <a:rot lat="0" lon="0" rev="1200000"/>
                </a:lightRig>
              </a:scene3d>
              <a:sp3d>
                <a:bevelT w="63500" h="25400"/>
              </a:sp3d>
            </c:spPr>
          </c:dPt>
          <c:dPt>
            <c:idx val="6"/>
            <c:bubble3D val="0"/>
            <c:spPr>
              <a:solidFill>
                <a:srgbClr val="FF9999"/>
              </a:solidFill>
              <a:ln>
                <a:noFill/>
              </a:ln>
              <a:effectLst>
                <a:outerShdw blurRad="40000" dist="23000" dir="5400000" rotWithShape="0">
                  <a:srgbClr val="000000">
                    <a:alpha val="35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threePt" dir="t">
                  <a:rot lat="0" lon="0" rev="1200000"/>
                </a:lightRig>
              </a:scene3d>
              <a:sp3d>
                <a:bevelT w="63500" h="25400"/>
              </a:sp3d>
            </c:spPr>
          </c:dPt>
          <c:dLbls>
            <c:dLbl>
              <c:idx val="0"/>
              <c:layout>
                <c:manualLayout>
                  <c:x val="6.7975791788472961E-2"/>
                  <c:y val="-2.4776388211496993E-2"/>
                </c:manualLayout>
              </c:layout>
              <c:dLblPos val="bestFit"/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1"/>
              <c:layout>
                <c:manualLayout>
                  <c:x val="9.3366785766288318E-2"/>
                  <c:y val="-0.14409875363585747"/>
                </c:manualLayout>
              </c:layout>
              <c:dLblPos val="bestFit"/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2"/>
              <c:layout>
                <c:manualLayout>
                  <c:x val="-7.8669967107596619E-2"/>
                  <c:y val="-0.10840833521525375"/>
                </c:manualLayout>
              </c:layout>
              <c:dLblPos val="bestFit"/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3"/>
              <c:layout>
                <c:manualLayout>
                  <c:x val="-3.662817396758547E-2"/>
                  <c:y val="4.4902919760113333E-2"/>
                </c:manualLayout>
              </c:layout>
              <c:dLblPos val="bestFit"/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4"/>
              <c:layout>
                <c:manualLayout>
                  <c:x val="-0.17167340568915371"/>
                  <c:y val="-2.8328038807032101E-2"/>
                </c:manualLayout>
              </c:layout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5"/>
              <c:layout>
                <c:manualLayout>
                  <c:x val="-1.5693820633729497E-2"/>
                  <c:y val="0"/>
                </c:manualLayout>
              </c:layout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6"/>
              <c:layout>
                <c:manualLayout>
                  <c:x val="0.12113424655488469"/>
                  <c:y val="-1.5002763417922154E-2"/>
                </c:manualLayout>
              </c:layout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7"/>
              <c:layout>
                <c:manualLayout>
                  <c:x val="0.1110044690359651"/>
                  <c:y val="-3.0179251345104383E-2"/>
                </c:manualLayout>
              </c:layout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</c:extLst>
            </c:dLbl>
            <c:numFmt formatCode="0.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pt-BR"/>
              </a:p>
            </c:txPr>
            <c:showLegendKey val="0"/>
            <c:showVal val="0"/>
            <c:showCatName val="1"/>
            <c:showSerName val="0"/>
            <c:showPercent val="1"/>
            <c:showBubbleSize val="0"/>
            <c:showLeaderLines val="1"/>
            <c:leaderLines>
              <c:spPr>
                <a:ln w="9525">
                  <a:solidFill>
                    <a:schemeClr val="tx1">
                      <a:alpha val="54000"/>
                    </a:schemeClr>
                  </a:solidFill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8</c:f>
              <c:strCache>
                <c:ptCount val="7"/>
                <c:pt idx="0">
                  <c:v>Fibras</c:v>
                </c:pt>
                <c:pt idx="1">
                  <c:v>Sucroalcooleiro</c:v>
                </c:pt>
                <c:pt idx="2">
                  <c:v>Atividades Pecuárias</c:v>
                </c:pt>
                <c:pt idx="3">
                  <c:v>Grãos</c:v>
                </c:pt>
                <c:pt idx="4">
                  <c:v>Defensivos Agrícolas</c:v>
                </c:pt>
                <c:pt idx="5">
                  <c:v>Diversos insumos agrícolas</c:v>
                </c:pt>
                <c:pt idx="6">
                  <c:v>Transporte</c:v>
                </c:pt>
              </c:strCache>
            </c:strRef>
          </c:cat>
          <c:val>
            <c:numRef>
              <c:f>Sheet1!$B$2:$B$8</c:f>
              <c:numCache>
                <c:formatCode>General</c:formatCode>
                <c:ptCount val="7"/>
                <c:pt idx="0">
                  <c:v>26.3</c:v>
                </c:pt>
                <c:pt idx="1">
                  <c:v>22.9</c:v>
                </c:pt>
                <c:pt idx="2">
                  <c:v>21.5</c:v>
                </c:pt>
                <c:pt idx="3">
                  <c:v>14.5</c:v>
                </c:pt>
                <c:pt idx="4">
                  <c:v>7.3</c:v>
                </c:pt>
                <c:pt idx="5">
                  <c:v>4.5999999999999996</c:v>
                </c:pt>
                <c:pt idx="6">
                  <c:v>2.9</c:v>
                </c:pt>
              </c:numCache>
            </c:numRef>
          </c:val>
        </c:ser>
        <c:dLbls>
          <c:showLegendKey val="0"/>
          <c:showVal val="0"/>
          <c:showCatName val="1"/>
          <c:showSerName val="0"/>
          <c:showPercent val="1"/>
          <c:showBubbleSize val="0"/>
          <c:showLeaderLines val="1"/>
        </c:dLbls>
      </c:pie3DChart>
      <c:spPr>
        <a:noFill/>
        <a:ln>
          <a:noFill/>
        </a:ln>
        <a:effectLst/>
      </c:spPr>
    </c:plotArea>
    <c:plotVisOnly val="1"/>
    <c:dispBlanksAs val="zero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pt-BR"/>
    </a:p>
  </c:txPr>
  <c:externalData r:id="rId1">
    <c:autoUpdate val="0"/>
  </c:externalData>
</c:chartSpace>
</file>

<file path=ppt/charts/chart2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view3D>
      <c:rotX val="30"/>
      <c:rotY val="0"/>
      <c:depthPercent val="100"/>
      <c:rAngAx val="0"/>
      <c:perspective val="30"/>
    </c:view3D>
    <c:floor>
      <c:thickness val="0"/>
      <c:spPr>
        <a:noFill/>
        <a:ln>
          <a:noFill/>
        </a:ln>
        <a:effectLst/>
        <a:sp3d/>
      </c:spPr>
    </c:floor>
    <c:sideWall>
      <c:thickness val="0"/>
      <c:spPr>
        <a:noFill/>
        <a:ln>
          <a:noFill/>
        </a:ln>
        <a:effectLst/>
        <a:sp3d/>
      </c:spPr>
    </c:sideWall>
    <c:backWall>
      <c:thickness val="0"/>
      <c:spPr>
        <a:noFill/>
        <a:ln>
          <a:noFill/>
        </a:ln>
        <a:effectLst/>
        <a:sp3d/>
      </c:spPr>
    </c:backWall>
    <c:plotArea>
      <c:layout>
        <c:manualLayout>
          <c:layoutTarget val="inner"/>
          <c:xMode val="edge"/>
          <c:yMode val="edge"/>
          <c:x val="0.1439232684819092"/>
          <c:y val="0.31700482837269339"/>
          <c:w val="0.73134328358208955"/>
          <c:h val="0.4981751824817518"/>
        </c:manualLayout>
      </c:layout>
      <c:pie3D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2015</c:v>
                </c:pt>
              </c:strCache>
            </c:strRef>
          </c:tx>
          <c:dPt>
            <c:idx val="0"/>
            <c:bubble3D val="0"/>
            <c:spPr>
              <a:solidFill>
                <a:srgbClr val="0000FF"/>
              </a:solidFill>
              <a:ln>
                <a:noFill/>
              </a:ln>
              <a:effectLst>
                <a:outerShdw blurRad="40000" dist="23000" dir="5400000" rotWithShape="0">
                  <a:srgbClr val="000000">
                    <a:alpha val="35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threePt" dir="t">
                  <a:rot lat="0" lon="0" rev="1200000"/>
                </a:lightRig>
              </a:scene3d>
              <a:sp3d>
                <a:bevelT w="63500" h="25400"/>
              </a:sp3d>
            </c:spPr>
          </c:dPt>
          <c:dPt>
            <c:idx val="1"/>
            <c:bubble3D val="0"/>
            <c:spPr>
              <a:solidFill>
                <a:srgbClr val="FF0000"/>
              </a:solidFill>
              <a:ln>
                <a:noFill/>
              </a:ln>
              <a:effectLst>
                <a:outerShdw blurRad="40000" dist="23000" dir="5400000" rotWithShape="0">
                  <a:srgbClr val="000000">
                    <a:alpha val="35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threePt" dir="t">
                  <a:rot lat="0" lon="0" rev="1200000"/>
                </a:lightRig>
              </a:scene3d>
              <a:sp3d>
                <a:bevelT w="63500" h="25400"/>
              </a:sp3d>
            </c:spPr>
          </c:dPt>
          <c:dPt>
            <c:idx val="2"/>
            <c:bubble3D val="0"/>
            <c:spPr>
              <a:gradFill rotWithShape="1">
                <a:gsLst>
                  <a:gs pos="0">
                    <a:schemeClr val="accent3">
                      <a:shade val="51000"/>
                      <a:satMod val="130000"/>
                    </a:schemeClr>
                  </a:gs>
                  <a:gs pos="80000">
                    <a:schemeClr val="accent3">
                      <a:shade val="93000"/>
                      <a:satMod val="130000"/>
                    </a:schemeClr>
                  </a:gs>
                  <a:gs pos="100000">
                    <a:schemeClr val="accent3">
                      <a:shade val="94000"/>
                      <a:satMod val="135000"/>
                    </a:schemeClr>
                  </a:gs>
                </a:gsLst>
                <a:lin ang="16200000" scaled="0"/>
              </a:gradFill>
              <a:ln>
                <a:noFill/>
              </a:ln>
              <a:effectLst>
                <a:outerShdw blurRad="40000" dist="23000" dir="5400000" rotWithShape="0">
                  <a:srgbClr val="000000">
                    <a:alpha val="35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threePt" dir="t">
                  <a:rot lat="0" lon="0" rev="1200000"/>
                </a:lightRig>
              </a:scene3d>
              <a:sp3d>
                <a:bevelT w="63500" h="25400"/>
              </a:sp3d>
            </c:spPr>
          </c:dPt>
          <c:dPt>
            <c:idx val="3"/>
            <c:bubble3D val="0"/>
            <c:spPr>
              <a:solidFill>
                <a:srgbClr val="FF9900"/>
              </a:solidFill>
              <a:ln>
                <a:noFill/>
              </a:ln>
              <a:effectLst>
                <a:outerShdw blurRad="40000" dist="23000" dir="5400000" rotWithShape="0">
                  <a:srgbClr val="000000">
                    <a:alpha val="35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threePt" dir="t">
                  <a:rot lat="0" lon="0" rev="1200000"/>
                </a:lightRig>
              </a:scene3d>
              <a:sp3d>
                <a:bevelT w="63500" h="25400"/>
              </a:sp3d>
            </c:spPr>
          </c:dPt>
          <c:dPt>
            <c:idx val="4"/>
            <c:bubble3D val="0"/>
            <c:spPr>
              <a:solidFill>
                <a:srgbClr val="FFFF00"/>
              </a:solidFill>
              <a:ln>
                <a:noFill/>
              </a:ln>
              <a:effectLst>
                <a:outerShdw blurRad="40000" dist="23000" dir="5400000" rotWithShape="0">
                  <a:srgbClr val="000000">
                    <a:alpha val="35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threePt" dir="t">
                  <a:rot lat="0" lon="0" rev="1200000"/>
                </a:lightRig>
              </a:scene3d>
              <a:sp3d>
                <a:bevelT w="63500" h="25400"/>
              </a:sp3d>
            </c:spPr>
          </c:dPt>
          <c:dPt>
            <c:idx val="5"/>
            <c:bubble3D val="0"/>
            <c:spPr>
              <a:solidFill>
                <a:srgbClr val="CC3300"/>
              </a:solidFill>
              <a:ln>
                <a:noFill/>
              </a:ln>
              <a:effectLst>
                <a:outerShdw blurRad="40000" dist="23000" dir="5400000" rotWithShape="0">
                  <a:srgbClr val="000000">
                    <a:alpha val="35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threePt" dir="t">
                  <a:rot lat="0" lon="0" rev="1200000"/>
                </a:lightRig>
              </a:scene3d>
              <a:sp3d>
                <a:bevelT w="63500" h="25400"/>
              </a:sp3d>
            </c:spPr>
          </c:dPt>
          <c:dPt>
            <c:idx val="6"/>
            <c:bubble3D val="0"/>
            <c:spPr>
              <a:solidFill>
                <a:srgbClr val="FF9999"/>
              </a:solidFill>
              <a:ln>
                <a:noFill/>
              </a:ln>
              <a:effectLst>
                <a:outerShdw blurRad="40000" dist="23000" dir="5400000" rotWithShape="0">
                  <a:srgbClr val="000000">
                    <a:alpha val="35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threePt" dir="t">
                  <a:rot lat="0" lon="0" rev="1200000"/>
                </a:lightRig>
              </a:scene3d>
              <a:sp3d>
                <a:bevelT w="63500" h="25400"/>
              </a:sp3d>
            </c:spPr>
          </c:dPt>
          <c:dLbls>
            <c:dLbl>
              <c:idx val="0"/>
              <c:layout>
                <c:manualLayout>
                  <c:x val="6.7975791788472961E-2"/>
                  <c:y val="-2.4776388211496993E-2"/>
                </c:manualLayout>
              </c:layout>
              <c:dLblPos val="bestFit"/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1"/>
              <c:layout>
                <c:manualLayout>
                  <c:x val="-8.1742624573429304E-2"/>
                  <c:y val="-7.1017086706803359E-2"/>
                </c:manualLayout>
              </c:layout>
              <c:dLblPos val="bestFit"/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2"/>
              <c:layout>
                <c:manualLayout>
                  <c:x val="-0.12494886075450699"/>
                  <c:y val="3.2882689080401366E-2"/>
                </c:manualLayout>
              </c:layout>
              <c:dLblPos val="bestFit"/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3"/>
              <c:layout>
                <c:manualLayout>
                  <c:x val="-8.5408695395251949E-2"/>
                  <c:y val="8.1443777716098537E-2"/>
                </c:manualLayout>
              </c:layout>
              <c:dLblPos val="bestFit"/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4"/>
              <c:layout>
                <c:manualLayout>
                  <c:x val="-0.17167340568915371"/>
                  <c:y val="-2.8328038807032101E-2"/>
                </c:manualLayout>
              </c:layout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5"/>
              <c:layout>
                <c:manualLayout>
                  <c:x val="3.3086624021903453E-2"/>
                  <c:y val="-3.8976850014510844E-2"/>
                </c:manualLayout>
              </c:layout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6"/>
              <c:layout>
                <c:manualLayout>
                  <c:x val="6.4849093675673278E-2"/>
                  <c:y val="-0.12218916393697643"/>
                </c:manualLayout>
              </c:layout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7"/>
              <c:layout>
                <c:manualLayout>
                  <c:x val="0.17729594776262722"/>
                  <c:y val="-6.9156095570775886E-2"/>
                </c:manualLayout>
              </c:layout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</c:extLst>
            </c:dLbl>
            <c:numFmt formatCode="0.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pt-BR"/>
              </a:p>
            </c:txPr>
            <c:showLegendKey val="0"/>
            <c:showVal val="0"/>
            <c:showCatName val="1"/>
            <c:showSerName val="0"/>
            <c:showPercent val="1"/>
            <c:showBubbleSize val="0"/>
            <c:showLeaderLines val="1"/>
            <c:leaderLines>
              <c:spPr>
                <a:ln w="9525">
                  <a:solidFill>
                    <a:schemeClr val="tx1">
                      <a:alpha val="54000"/>
                    </a:schemeClr>
                  </a:solidFill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9</c:f>
              <c:strCache>
                <c:ptCount val="8"/>
                <c:pt idx="0">
                  <c:v>Fibras</c:v>
                </c:pt>
                <c:pt idx="1">
                  <c:v>Atividades Pecuárias</c:v>
                </c:pt>
                <c:pt idx="2">
                  <c:v>Sucroenergético</c:v>
                </c:pt>
                <c:pt idx="3">
                  <c:v>Diversos insumos agrícolas</c:v>
                </c:pt>
                <c:pt idx="4">
                  <c:v>Diversos produtos agrícolas</c:v>
                </c:pt>
                <c:pt idx="5">
                  <c:v>Serviços logísticos</c:v>
                </c:pt>
                <c:pt idx="6">
                  <c:v>Grãos</c:v>
                </c:pt>
                <c:pt idx="7">
                  <c:v>Locação de equipamentos</c:v>
                </c:pt>
              </c:strCache>
            </c:strRef>
          </c:cat>
          <c:val>
            <c:numRef>
              <c:f>Sheet1!$B$2:$B$9</c:f>
              <c:numCache>
                <c:formatCode>General</c:formatCode>
                <c:ptCount val="8"/>
                <c:pt idx="0">
                  <c:v>47.3</c:v>
                </c:pt>
                <c:pt idx="1">
                  <c:v>19</c:v>
                </c:pt>
                <c:pt idx="2">
                  <c:v>13.2</c:v>
                </c:pt>
                <c:pt idx="3">
                  <c:v>8.3000000000000007</c:v>
                </c:pt>
                <c:pt idx="4">
                  <c:v>7.1</c:v>
                </c:pt>
                <c:pt idx="5">
                  <c:v>3.5</c:v>
                </c:pt>
                <c:pt idx="6">
                  <c:v>1.5</c:v>
                </c:pt>
                <c:pt idx="7">
                  <c:v>0.2</c:v>
                </c:pt>
              </c:numCache>
            </c:numRef>
          </c:val>
        </c:ser>
        <c:dLbls>
          <c:showLegendKey val="0"/>
          <c:showVal val="0"/>
          <c:showCatName val="1"/>
          <c:showSerName val="0"/>
          <c:showPercent val="1"/>
          <c:showBubbleSize val="0"/>
          <c:showLeaderLines val="1"/>
        </c:dLbls>
      </c:pie3DChart>
      <c:spPr>
        <a:noFill/>
        <a:ln>
          <a:noFill/>
        </a:ln>
        <a:effectLst/>
      </c:spPr>
    </c:plotArea>
    <c:plotVisOnly val="1"/>
    <c:dispBlanksAs val="zero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pt-BR"/>
    </a:p>
  </c:txPr>
  <c:externalData r:id="rId1">
    <c:autoUpdate val="0"/>
  </c:externalData>
</c:chartSpace>
</file>

<file path=ppt/charts/chart27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view3D>
      <c:rotX val="30"/>
      <c:rotY val="0"/>
      <c:depthPercent val="100"/>
      <c:rAngAx val="0"/>
      <c:perspective val="30"/>
    </c:view3D>
    <c:floor>
      <c:thickness val="0"/>
      <c:spPr>
        <a:noFill/>
        <a:ln>
          <a:noFill/>
        </a:ln>
        <a:effectLst/>
        <a:sp3d/>
      </c:spPr>
    </c:floor>
    <c:sideWall>
      <c:thickness val="0"/>
      <c:spPr>
        <a:noFill/>
        <a:ln>
          <a:noFill/>
        </a:ln>
        <a:effectLst/>
        <a:sp3d/>
      </c:spPr>
    </c:sideWall>
    <c:backWall>
      <c:thickness val="0"/>
      <c:spPr>
        <a:noFill/>
        <a:ln>
          <a:noFill/>
        </a:ln>
        <a:effectLst/>
        <a:sp3d/>
      </c:spPr>
    </c:backWall>
    <c:plotArea>
      <c:layout>
        <c:manualLayout>
          <c:layoutTarget val="inner"/>
          <c:xMode val="edge"/>
          <c:yMode val="edge"/>
          <c:x val="0.1439232684819092"/>
          <c:y val="0.27802797586606487"/>
          <c:w val="0.73134328358208955"/>
          <c:h val="0.4981751824817518"/>
        </c:manualLayout>
      </c:layout>
      <c:pie3D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2016</c:v>
                </c:pt>
              </c:strCache>
            </c:strRef>
          </c:tx>
          <c:dPt>
            <c:idx val="0"/>
            <c:bubble3D val="0"/>
            <c:spPr>
              <a:solidFill>
                <a:schemeClr val="tx2">
                  <a:lumMod val="50000"/>
                  <a:lumOff val="50000"/>
                </a:schemeClr>
              </a:solidFill>
              <a:ln>
                <a:noFill/>
              </a:ln>
              <a:effectLst>
                <a:outerShdw blurRad="40000" dist="23000" dir="5400000" rotWithShape="0">
                  <a:srgbClr val="000000">
                    <a:alpha val="35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threePt" dir="t">
                  <a:rot lat="0" lon="0" rev="1200000"/>
                </a:lightRig>
              </a:scene3d>
              <a:sp3d>
                <a:bevelT w="63500" h="25400"/>
              </a:sp3d>
            </c:spPr>
          </c:dPt>
          <c:dPt>
            <c:idx val="1"/>
            <c:bubble3D val="0"/>
            <c:spPr>
              <a:solidFill>
                <a:srgbClr val="0066FF"/>
              </a:solidFill>
              <a:ln>
                <a:noFill/>
              </a:ln>
              <a:effectLst>
                <a:outerShdw blurRad="40000" dist="23000" dir="5400000" rotWithShape="0">
                  <a:srgbClr val="000000">
                    <a:alpha val="35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threePt" dir="t">
                  <a:rot lat="0" lon="0" rev="1200000"/>
                </a:lightRig>
              </a:scene3d>
              <a:sp3d>
                <a:bevelT w="63500" h="25400"/>
              </a:sp3d>
            </c:spPr>
          </c:dPt>
          <c:dPt>
            <c:idx val="2"/>
            <c:bubble3D val="0"/>
            <c:spPr>
              <a:solidFill>
                <a:srgbClr val="FFFF00"/>
              </a:solidFill>
              <a:ln>
                <a:noFill/>
              </a:ln>
              <a:effectLst>
                <a:outerShdw blurRad="40000" dist="23000" dir="5400000" rotWithShape="0">
                  <a:srgbClr val="000000">
                    <a:alpha val="35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threePt" dir="t">
                  <a:rot lat="0" lon="0" rev="1200000"/>
                </a:lightRig>
              </a:scene3d>
              <a:sp3d>
                <a:bevelT w="63500" h="25400"/>
              </a:sp3d>
            </c:spPr>
          </c:dPt>
          <c:dPt>
            <c:idx val="3"/>
            <c:bubble3D val="0"/>
            <c:spPr>
              <a:solidFill>
                <a:srgbClr val="FF0000"/>
              </a:solidFill>
              <a:ln>
                <a:noFill/>
              </a:ln>
              <a:effectLst>
                <a:outerShdw blurRad="40000" dist="23000" dir="5400000" rotWithShape="0">
                  <a:srgbClr val="000000">
                    <a:alpha val="35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threePt" dir="t">
                  <a:rot lat="0" lon="0" rev="1200000"/>
                </a:lightRig>
              </a:scene3d>
              <a:sp3d>
                <a:bevelT w="63500" h="25400"/>
              </a:sp3d>
            </c:spPr>
          </c:dPt>
          <c:dLbls>
            <c:dLbl>
              <c:idx val="0"/>
              <c:layout>
                <c:manualLayout>
                  <c:x val="4.1422923130341176E-2"/>
                  <c:y val="-3.3392923935665168E-2"/>
                </c:manualLayout>
              </c:layout>
              <c:dLblPos val="bestFit"/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1"/>
              <c:layout>
                <c:manualLayout>
                  <c:x val="4.7482331067080344E-2"/>
                  <c:y val="-4.665656439717273E-2"/>
                </c:manualLayout>
              </c:layout>
              <c:dLblPos val="bestFit"/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2"/>
              <c:layout>
                <c:manualLayout>
                  <c:x val="-5.6043727108791346E-2"/>
                  <c:y val="6.3739430022355423E-2"/>
                </c:manualLayout>
              </c:layout>
              <c:dLblPos val="bestFit"/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3"/>
              <c:layout>
                <c:manualLayout>
                  <c:x val="-7.503500184809761E-2"/>
                  <c:y val="2.8662564549018124E-2"/>
                </c:manualLayout>
              </c:layout>
              <c:dLblPos val="bestFit"/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4"/>
              <c:layout>
                <c:manualLayout>
                  <c:x val="0.11471824912355372"/>
                  <c:y val="-2.5079967764813065E-2"/>
                </c:manualLayout>
              </c:layout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5"/>
              <c:layout>
                <c:manualLayout>
                  <c:x val="-8.5869221894916054E-2"/>
                  <c:y val="-5.0084686430030598E-2"/>
                </c:manualLayout>
              </c:layout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6"/>
              <c:layout>
                <c:manualLayout>
                  <c:x val="5.2855478769278964E-2"/>
                  <c:y val="7.7337988049910322E-3"/>
                </c:manualLayout>
              </c:layout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7"/>
              <c:layout>
                <c:manualLayout>
                  <c:x val="0.1110044690359651"/>
                  <c:y val="-3.0179251345104383E-2"/>
                </c:manualLayout>
              </c:layout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</c:extLst>
            </c:dLbl>
            <c:numFmt formatCode="0.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24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pt-BR"/>
              </a:p>
            </c:txPr>
            <c:showLegendKey val="0"/>
            <c:showVal val="0"/>
            <c:showCatName val="1"/>
            <c:showSerName val="0"/>
            <c:showPercent val="1"/>
            <c:showBubbleSize val="0"/>
            <c:showLeaderLines val="1"/>
            <c:leaderLines>
              <c:spPr>
                <a:ln w="9525">
                  <a:solidFill>
                    <a:schemeClr val="tx1">
                      <a:alpha val="54000"/>
                    </a:schemeClr>
                  </a:solidFill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5</c:f>
              <c:strCache>
                <c:ptCount val="4"/>
                <c:pt idx="0">
                  <c:v>0 a 2 anos</c:v>
                </c:pt>
                <c:pt idx="1">
                  <c:v>2 a 4 anos</c:v>
                </c:pt>
                <c:pt idx="2">
                  <c:v>4 a 6 anos</c:v>
                </c:pt>
                <c:pt idx="3">
                  <c:v>Acima de 6 anos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2</c:v>
                </c:pt>
                <c:pt idx="1">
                  <c:v>52</c:v>
                </c:pt>
                <c:pt idx="2">
                  <c:v>22</c:v>
                </c:pt>
                <c:pt idx="3">
                  <c:v>24</c:v>
                </c:pt>
              </c:numCache>
            </c:numRef>
          </c:val>
        </c:ser>
        <c:dLbls>
          <c:showLegendKey val="0"/>
          <c:showVal val="0"/>
          <c:showCatName val="1"/>
          <c:showSerName val="0"/>
          <c:showPercent val="1"/>
          <c:showBubbleSize val="0"/>
          <c:showLeaderLines val="1"/>
        </c:dLbls>
      </c:pie3DChart>
      <c:spPr>
        <a:noFill/>
        <a:ln>
          <a:noFill/>
        </a:ln>
        <a:effectLst/>
      </c:spPr>
    </c:plotArea>
    <c:plotVisOnly val="1"/>
    <c:dispBlanksAs val="zero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pt-BR"/>
    </a:p>
  </c:txPr>
  <c:externalData r:id="rId1">
    <c:autoUpdate val="0"/>
  </c:externalData>
</c:chartSpace>
</file>

<file path=ppt/charts/chart28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view3D>
      <c:rotX val="30"/>
      <c:rotY val="0"/>
      <c:depthPercent val="100"/>
      <c:rAngAx val="0"/>
      <c:perspective val="30"/>
    </c:view3D>
    <c:floor>
      <c:thickness val="0"/>
      <c:spPr>
        <a:noFill/>
        <a:ln>
          <a:noFill/>
        </a:ln>
        <a:effectLst/>
        <a:sp3d/>
      </c:spPr>
    </c:floor>
    <c:sideWall>
      <c:thickness val="0"/>
      <c:spPr>
        <a:noFill/>
        <a:ln>
          <a:noFill/>
        </a:ln>
        <a:effectLst/>
        <a:sp3d/>
      </c:spPr>
    </c:sideWall>
    <c:backWall>
      <c:thickness val="0"/>
      <c:spPr>
        <a:noFill/>
        <a:ln>
          <a:noFill/>
        </a:ln>
        <a:effectLst/>
        <a:sp3d/>
      </c:spPr>
    </c:backWall>
    <c:plotArea>
      <c:layout>
        <c:manualLayout>
          <c:layoutTarget val="inner"/>
          <c:xMode val="edge"/>
          <c:yMode val="edge"/>
          <c:x val="0.1439232684819092"/>
          <c:y val="0.29426833107716011"/>
          <c:w val="0.73134328358208955"/>
          <c:h val="0.4981751824817518"/>
        </c:manualLayout>
      </c:layout>
      <c:pie3D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2016</c:v>
                </c:pt>
              </c:strCache>
            </c:strRef>
          </c:tx>
          <c:dPt>
            <c:idx val="0"/>
            <c:bubble3D val="0"/>
            <c:spPr>
              <a:solidFill>
                <a:srgbClr val="0066FF"/>
              </a:solidFill>
              <a:ln>
                <a:noFill/>
              </a:ln>
              <a:effectLst>
                <a:outerShdw blurRad="40000" dist="23000" dir="5400000" rotWithShape="0">
                  <a:srgbClr val="000000">
                    <a:alpha val="35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threePt" dir="t">
                  <a:rot lat="0" lon="0" rev="1200000"/>
                </a:lightRig>
              </a:scene3d>
              <a:sp3d>
                <a:bevelT w="63500" h="25400"/>
              </a:sp3d>
            </c:spPr>
          </c:dPt>
          <c:dPt>
            <c:idx val="1"/>
            <c:bubble3D val="0"/>
            <c:spPr>
              <a:solidFill>
                <a:srgbClr val="FF0000"/>
              </a:solidFill>
              <a:ln>
                <a:noFill/>
              </a:ln>
              <a:effectLst>
                <a:outerShdw blurRad="40000" dist="23000" dir="5400000" rotWithShape="0">
                  <a:srgbClr val="000000">
                    <a:alpha val="35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threePt" dir="t">
                  <a:rot lat="0" lon="0" rev="1200000"/>
                </a:lightRig>
              </a:scene3d>
              <a:sp3d>
                <a:bevelT w="63500" h="25400"/>
              </a:sp3d>
            </c:spPr>
          </c:dPt>
          <c:dPt>
            <c:idx val="2"/>
            <c:bubble3D val="0"/>
            <c:spPr>
              <a:gradFill rotWithShape="1">
                <a:gsLst>
                  <a:gs pos="0">
                    <a:schemeClr val="accent3">
                      <a:shade val="51000"/>
                      <a:satMod val="130000"/>
                    </a:schemeClr>
                  </a:gs>
                  <a:gs pos="80000">
                    <a:schemeClr val="accent3">
                      <a:shade val="93000"/>
                      <a:satMod val="130000"/>
                    </a:schemeClr>
                  </a:gs>
                  <a:gs pos="100000">
                    <a:schemeClr val="accent3">
                      <a:shade val="94000"/>
                      <a:satMod val="135000"/>
                    </a:schemeClr>
                  </a:gs>
                </a:gsLst>
                <a:lin ang="16200000" scaled="0"/>
              </a:gradFill>
              <a:ln>
                <a:noFill/>
              </a:ln>
              <a:effectLst>
                <a:outerShdw blurRad="40000" dist="23000" dir="5400000" rotWithShape="0">
                  <a:srgbClr val="000000">
                    <a:alpha val="35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threePt" dir="t">
                  <a:rot lat="0" lon="0" rev="1200000"/>
                </a:lightRig>
              </a:scene3d>
              <a:sp3d>
                <a:bevelT w="63500" h="25400"/>
              </a:sp3d>
            </c:spPr>
          </c:dPt>
          <c:dLbls>
            <c:dLbl>
              <c:idx val="0"/>
              <c:layout>
                <c:manualLayout>
                  <c:x val="0.18367043379890458"/>
                  <c:y val="-0.19254846467262396"/>
                </c:manualLayout>
              </c:layout>
              <c:dLblPos val="bestFit"/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1"/>
              <c:layout>
                <c:manualLayout>
                  <c:x val="-0.15545748815537463"/>
                  <c:y val="6.8744784224502573E-2"/>
                </c:manualLayout>
              </c:layout>
              <c:dLblPos val="bestFit"/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2"/>
              <c:layout>
                <c:manualLayout>
                  <c:x val="-4.4391975896327394E-2"/>
                  <c:y val="-4.5070949891982466E-2"/>
                </c:manualLayout>
              </c:layout>
              <c:dLblPos val="bestFit"/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3"/>
              <c:layout>
                <c:manualLayout>
                  <c:x val="0.13549131394137598"/>
                  <c:y val="3.5181724459739647E-2"/>
                </c:manualLayout>
              </c:layout>
              <c:dLblPos val="bestFit"/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4"/>
              <c:layout>
                <c:manualLayout>
                  <c:x val="-8.6324973958625012E-2"/>
                  <c:y val="1.7144830099647998E-2"/>
                </c:manualLayout>
              </c:layout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5"/>
              <c:layout>
                <c:manualLayout>
                  <c:x val="-8.5869221894916054E-2"/>
                  <c:y val="-5.0084686430030598E-2"/>
                </c:manualLayout>
              </c:layout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6"/>
              <c:layout>
                <c:manualLayout>
                  <c:x val="5.2855478769278964E-2"/>
                  <c:y val="7.7337988049910322E-3"/>
                </c:manualLayout>
              </c:layout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7"/>
              <c:layout>
                <c:manualLayout>
                  <c:x val="0.1110044690359651"/>
                  <c:y val="-3.0179251345104383E-2"/>
                </c:manualLayout>
              </c:layout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</c:extLst>
            </c:dLbl>
            <c:numFmt formatCode="0.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24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pt-BR"/>
              </a:p>
            </c:txPr>
            <c:showLegendKey val="0"/>
            <c:showVal val="0"/>
            <c:showCatName val="1"/>
            <c:showSerName val="0"/>
            <c:showPercent val="1"/>
            <c:showBubbleSize val="0"/>
            <c:showLeaderLines val="1"/>
            <c:leaderLines>
              <c:spPr>
                <a:ln w="9525">
                  <a:solidFill>
                    <a:schemeClr val="tx1">
                      <a:alpha val="54000"/>
                    </a:schemeClr>
                  </a:solidFill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4</c:f>
              <c:strCache>
                <c:ptCount val="3"/>
                <c:pt idx="0">
                  <c:v>DI</c:v>
                </c:pt>
                <c:pt idx="1">
                  <c:v>IPCA</c:v>
                </c:pt>
                <c:pt idx="2">
                  <c:v>Pré Fixada</c:v>
                </c:pt>
              </c:strCache>
            </c:strRef>
          </c:cat>
          <c:val>
            <c:numRef>
              <c:f>Sheet1!$B$2:$B$4</c:f>
              <c:numCache>
                <c:formatCode>General</c:formatCode>
                <c:ptCount val="3"/>
                <c:pt idx="0">
                  <c:v>83</c:v>
                </c:pt>
                <c:pt idx="1">
                  <c:v>16</c:v>
                </c:pt>
                <c:pt idx="2">
                  <c:v>1</c:v>
                </c:pt>
              </c:numCache>
            </c:numRef>
          </c:val>
        </c:ser>
        <c:dLbls>
          <c:showLegendKey val="0"/>
          <c:showVal val="0"/>
          <c:showCatName val="1"/>
          <c:showSerName val="0"/>
          <c:showPercent val="1"/>
          <c:showBubbleSize val="0"/>
          <c:showLeaderLines val="1"/>
        </c:dLbls>
      </c:pie3DChart>
      <c:spPr>
        <a:noFill/>
        <a:ln>
          <a:noFill/>
        </a:ln>
        <a:effectLst/>
      </c:spPr>
    </c:plotArea>
    <c:plotVisOnly val="1"/>
    <c:dispBlanksAs val="zero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pt-BR"/>
    </a:p>
  </c:txPr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/>
          <a:lstStyle/>
          <a:p>
            <a:pPr>
              <a:defRPr sz="1800" b="1" i="0" u="none" strike="noStrike" baseline="0">
                <a:solidFill>
                  <a:srgbClr val="000000"/>
                </a:solidFill>
                <a:latin typeface="Arial"/>
                <a:ea typeface="Arial"/>
                <a:cs typeface="Arial"/>
              </a:defRPr>
            </a:pPr>
            <a:r>
              <a:rPr lang="pt-BR" sz="1800" dirty="0"/>
              <a:t>Montante registrado na CETIP em </a:t>
            </a:r>
            <a:r>
              <a:rPr lang="pt-BR" sz="1800" dirty="0" smtClean="0"/>
              <a:t>2013 </a:t>
            </a:r>
            <a:endParaRPr lang="pt-BR" sz="1800" dirty="0"/>
          </a:p>
        </c:rich>
      </c:tx>
      <c:layout>
        <c:manualLayout>
          <c:xMode val="edge"/>
          <c:yMode val="edge"/>
          <c:x val="0.24827139784694741"/>
          <c:y val="4.7755375594897703E-3"/>
        </c:manualLayout>
      </c:layout>
      <c:overlay val="0"/>
      <c:spPr>
        <a:noFill/>
        <a:ln w="17501">
          <a:noFill/>
        </a:ln>
      </c:spPr>
    </c:title>
    <c:autoTitleDeleted val="0"/>
    <c:view3D>
      <c:rotX val="30"/>
      <c:rotY val="0"/>
      <c:rAngAx val="0"/>
      <c:perspective val="0"/>
    </c:view3D>
    <c:floor>
      <c:thickness val="0"/>
    </c:floor>
    <c:sideWall>
      <c:thickness val="0"/>
    </c:sideWall>
    <c:backWall>
      <c:thickness val="0"/>
    </c:backWall>
    <c:plotArea>
      <c:layout>
        <c:manualLayout>
          <c:layoutTarget val="inner"/>
          <c:xMode val="edge"/>
          <c:yMode val="edge"/>
          <c:x val="4.3607532210109018E-2"/>
          <c:y val="0.30276381909547734"/>
          <c:w val="0.64321110009910798"/>
          <c:h val="0.50879396984924619"/>
        </c:manualLayout>
      </c:layout>
      <c:pie3DChart>
        <c:varyColors val="1"/>
        <c:ser>
          <c:idx val="0"/>
          <c:order val="0"/>
          <c:tx>
            <c:strRef>
              <c:f>Plan1!$B$1</c:f>
              <c:strCache>
                <c:ptCount val="1"/>
                <c:pt idx="0">
                  <c:v>montante</c:v>
                </c:pt>
              </c:strCache>
            </c:strRef>
          </c:tx>
          <c:spPr>
            <a:solidFill>
              <a:schemeClr val="accent1"/>
            </a:solidFill>
            <a:ln w="8750">
              <a:solidFill>
                <a:srgbClr val="000000"/>
              </a:solidFill>
              <a:prstDash val="solid"/>
            </a:ln>
          </c:spPr>
          <c:dPt>
            <c:idx val="0"/>
            <c:bubble3D val="0"/>
            <c:spPr>
              <a:solidFill>
                <a:srgbClr val="0000FF"/>
              </a:solidFill>
            </c:spPr>
          </c:dPt>
          <c:dPt>
            <c:idx val="1"/>
            <c:bubble3D val="0"/>
            <c:spPr>
              <a:solidFill>
                <a:srgbClr val="FF00FF"/>
              </a:solidFill>
            </c:spPr>
          </c:dPt>
          <c:dPt>
            <c:idx val="2"/>
            <c:bubble3D val="0"/>
            <c:spPr>
              <a:solidFill>
                <a:srgbClr val="A50021"/>
              </a:solidFill>
            </c:spPr>
          </c:dPt>
          <c:dPt>
            <c:idx val="3"/>
            <c:bubble3D val="0"/>
            <c:spPr>
              <a:solidFill>
                <a:srgbClr val="99FF33"/>
              </a:solidFill>
            </c:spPr>
          </c:dPt>
          <c:dPt>
            <c:idx val="4"/>
            <c:bubble3D val="0"/>
            <c:spPr>
              <a:solidFill>
                <a:srgbClr val="006666"/>
              </a:solidFill>
            </c:spPr>
          </c:dPt>
          <c:dPt>
            <c:idx val="5"/>
            <c:bubble3D val="0"/>
            <c:spPr>
              <a:solidFill>
                <a:srgbClr val="66FFFF"/>
              </a:solidFill>
            </c:spPr>
          </c:dPt>
          <c:dPt>
            <c:idx val="6"/>
            <c:bubble3D val="0"/>
            <c:spPr>
              <a:solidFill>
                <a:srgbClr val="FF9900"/>
              </a:solidFill>
            </c:spPr>
          </c:dPt>
          <c:dPt>
            <c:idx val="7"/>
            <c:bubble3D val="0"/>
            <c:spPr>
              <a:solidFill>
                <a:srgbClr val="FF0000"/>
              </a:solidFill>
              <a:ln w="8750">
                <a:solidFill>
                  <a:srgbClr val="000000"/>
                </a:solidFill>
                <a:prstDash val="solid"/>
              </a:ln>
            </c:spPr>
          </c:dPt>
          <c:dLbls>
            <c:dLbl>
              <c:idx val="0"/>
              <c:layout/>
              <c:numFmt formatCode="0.0%" sourceLinked="0"/>
              <c:spPr>
                <a:noFill/>
                <a:ln w="17501">
                  <a:noFill/>
                </a:ln>
              </c:spPr>
              <c:txPr>
                <a:bodyPr/>
                <a:lstStyle/>
                <a:p>
                  <a:pPr>
                    <a:defRPr sz="1800">
                      <a:solidFill>
                        <a:schemeClr val="bg1"/>
                      </a:solidFill>
                      <a:latin typeface="Arial" pitchFamily="34" charset="0"/>
                      <a:cs typeface="Arial" pitchFamily="34" charset="0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1"/>
              <c:layout/>
              <c:numFmt formatCode="0.0%" sourceLinked="0"/>
              <c:spPr>
                <a:noFill/>
                <a:ln w="17501">
                  <a:noFill/>
                </a:ln>
              </c:spPr>
              <c:txPr>
                <a:bodyPr/>
                <a:lstStyle/>
                <a:p>
                  <a:pPr>
                    <a:defRPr sz="1800">
                      <a:solidFill>
                        <a:schemeClr val="bg1"/>
                      </a:solidFill>
                      <a:latin typeface="Arial" pitchFamily="34" charset="0"/>
                      <a:cs typeface="Arial" pitchFamily="34" charset="0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2"/>
              <c:layout>
                <c:manualLayout>
                  <c:x val="0.10406342913776015"/>
                  <c:y val="-7.7854330708661434E-2"/>
                </c:manualLayout>
              </c:layout>
              <c:numFmt formatCode="0.0%" sourceLinked="0"/>
              <c:spPr>
                <a:noFill/>
                <a:ln w="17501">
                  <a:noFill/>
                </a:ln>
              </c:spPr>
              <c:txPr>
                <a:bodyPr/>
                <a:lstStyle/>
                <a:p>
                  <a:pPr>
                    <a:defRPr sz="1800">
                      <a:solidFill>
                        <a:schemeClr val="bg1"/>
                      </a:solidFill>
                      <a:latin typeface="Arial" pitchFamily="34" charset="0"/>
                      <a:cs typeface="Arial" pitchFamily="34" charset="0"/>
                    </a:defRPr>
                  </a:pPr>
                  <a:endParaRPr lang="pt-BR"/>
                </a:p>
              </c:txPr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3"/>
              <c:layout>
                <c:manualLayout>
                  <c:x val="9.5864745187042716E-2"/>
                  <c:y val="2.407068699539781E-2"/>
                </c:manualLayout>
              </c:layout>
              <c:numFmt formatCode="0.0%" sourceLinked="0"/>
              <c:spPr>
                <a:noFill/>
                <a:ln w="17501">
                  <a:noFill/>
                </a:ln>
              </c:spPr>
              <c:txPr>
                <a:bodyPr/>
                <a:lstStyle/>
                <a:p>
                  <a:pPr>
                    <a:defRPr sz="1800" b="0" i="0" u="none" strike="noStrike" baseline="0">
                      <a:solidFill>
                        <a:schemeClr val="tx1"/>
                      </a:solidFill>
                      <a:latin typeface="Arial"/>
                      <a:ea typeface="Arial"/>
                      <a:cs typeface="Arial"/>
                    </a:defRPr>
                  </a:pPr>
                  <a:endParaRPr lang="pt-BR"/>
                </a:p>
              </c:txPr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4"/>
              <c:layout>
                <c:manualLayout>
                  <c:x val="-1.6774998713396105E-2"/>
                  <c:y val="-2.6951397415079181E-2"/>
                </c:manualLayout>
              </c:layout>
              <c:numFmt formatCode="0.0%" sourceLinked="0"/>
              <c:spPr>
                <a:noFill/>
                <a:ln w="17501">
                  <a:noFill/>
                </a:ln>
              </c:spPr>
              <c:txPr>
                <a:bodyPr/>
                <a:lstStyle/>
                <a:p>
                  <a:pPr>
                    <a:defRPr sz="1800">
                      <a:latin typeface="Arial" pitchFamily="34" charset="0"/>
                      <a:cs typeface="Arial" pitchFamily="34" charset="0"/>
                    </a:defRPr>
                  </a:pPr>
                  <a:endParaRPr lang="pt-BR"/>
                </a:p>
              </c:txPr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5"/>
              <c:layout>
                <c:manualLayout>
                  <c:x val="9.1575362878551416E-3"/>
                  <c:y val="-4.691368327715368E-2"/>
                </c:manualLayout>
              </c:layout>
              <c:numFmt formatCode="0.0%" sourceLinked="0"/>
              <c:spPr>
                <a:noFill/>
                <a:ln w="17501">
                  <a:noFill/>
                </a:ln>
              </c:spPr>
              <c:txPr>
                <a:bodyPr/>
                <a:lstStyle/>
                <a:p>
                  <a:pPr>
                    <a:defRPr sz="1800">
                      <a:latin typeface="Arial" pitchFamily="34" charset="0"/>
                      <a:cs typeface="Arial" pitchFamily="34" charset="0"/>
                    </a:defRPr>
                  </a:pPr>
                  <a:endParaRPr lang="pt-BR"/>
                </a:p>
              </c:txPr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6"/>
              <c:layout>
                <c:manualLayout>
                  <c:x val="1.9104755556260903E-2"/>
                  <c:y val="-1.7412519478148616E-2"/>
                </c:manualLayout>
              </c:layout>
              <c:numFmt formatCode="0.0%" sourceLinked="0"/>
              <c:spPr>
                <a:noFill/>
                <a:ln w="17501">
                  <a:noFill/>
                </a:ln>
              </c:spPr>
              <c:txPr>
                <a:bodyPr/>
                <a:lstStyle/>
                <a:p>
                  <a:pPr>
                    <a:defRPr sz="1800">
                      <a:latin typeface="Arial" pitchFamily="34" charset="0"/>
                      <a:cs typeface="Arial" pitchFamily="34" charset="0"/>
                    </a:defRPr>
                  </a:pPr>
                  <a:endParaRPr lang="pt-BR"/>
                </a:p>
              </c:txPr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7"/>
              <c:layout>
                <c:manualLayout>
                  <c:x val="8.2653691036092991E-2"/>
                  <c:y val="-5.2823304667583795E-2"/>
                </c:manualLayout>
              </c:layout>
              <c:numFmt formatCode="0.0%" sourceLinked="0"/>
              <c:spPr>
                <a:noFill/>
                <a:ln>
                  <a:noFill/>
                </a:ln>
                <a:effectLst/>
              </c:spPr>
              <c:txPr>
                <a:bodyPr wrap="square" lIns="38100" tIns="19050" rIns="38100" bIns="19050" anchor="ctr">
                  <a:spAutoFit/>
                </a:bodyPr>
                <a:lstStyle/>
                <a:p>
                  <a:pPr>
                    <a:defRPr sz="1800">
                      <a:latin typeface="Arial" panose="020B0604020202020204" pitchFamily="34" charset="0"/>
                      <a:cs typeface="Arial" panose="020B0604020202020204" pitchFamily="34" charset="0"/>
                    </a:defRPr>
                  </a:pPr>
                  <a:endParaRPr lang="pt-BR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800"/>
                </a:pPr>
                <a:endParaRPr lang="pt-BR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/>
            </c:extLst>
          </c:dLbls>
          <c:cat>
            <c:strRef>
              <c:f>Plan1!$A$2:$A$9</c:f>
              <c:strCache>
                <c:ptCount val="8"/>
                <c:pt idx="0">
                  <c:v>Soja</c:v>
                </c:pt>
                <c:pt idx="1">
                  <c:v>Milho</c:v>
                </c:pt>
                <c:pt idx="2">
                  <c:v>Algodão</c:v>
                </c:pt>
                <c:pt idx="3">
                  <c:v>Cana-de-açúcar</c:v>
                </c:pt>
                <c:pt idx="4">
                  <c:v>Café</c:v>
                </c:pt>
                <c:pt idx="5">
                  <c:v>Boi</c:v>
                </c:pt>
                <c:pt idx="6">
                  <c:v>Eucalipto</c:v>
                </c:pt>
                <c:pt idx="7">
                  <c:v>Feijão</c:v>
                </c:pt>
              </c:strCache>
            </c:strRef>
          </c:cat>
          <c:val>
            <c:numRef>
              <c:f>Plan1!$B$2:$B$9</c:f>
              <c:numCache>
                <c:formatCode>0.00%</c:formatCode>
                <c:ptCount val="8"/>
                <c:pt idx="0" formatCode="0%">
                  <c:v>0.36599999999999999</c:v>
                </c:pt>
                <c:pt idx="1">
                  <c:v>0.217</c:v>
                </c:pt>
                <c:pt idx="2">
                  <c:v>0.192</c:v>
                </c:pt>
                <c:pt idx="3">
                  <c:v>7.2999999999999995E-2</c:v>
                </c:pt>
                <c:pt idx="4">
                  <c:v>6.9000000000000006E-2</c:v>
                </c:pt>
                <c:pt idx="5">
                  <c:v>5.5E-2</c:v>
                </c:pt>
                <c:pt idx="6">
                  <c:v>2.1000000000000001E-2</c:v>
                </c:pt>
                <c:pt idx="7">
                  <c:v>7.0000000000000001E-3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</c:pie3DChart>
      <c:spPr>
        <a:noFill/>
        <a:ln w="17501">
          <a:noFill/>
        </a:ln>
      </c:spPr>
    </c:plotArea>
    <c:legend>
      <c:legendPos val="r"/>
      <c:layout>
        <c:manualLayout>
          <c:xMode val="edge"/>
          <c:yMode val="edge"/>
          <c:x val="0.68069306930693074"/>
          <c:y val="7.8369905956112859E-2"/>
          <c:w val="0.30321782178217821"/>
          <c:h val="0.81818181818181823"/>
        </c:manualLayout>
      </c:layout>
      <c:overlay val="0"/>
      <c:txPr>
        <a:bodyPr/>
        <a:lstStyle/>
        <a:p>
          <a:pPr>
            <a:defRPr sz="2000">
              <a:latin typeface="Arial" pitchFamily="34" charset="0"/>
              <a:cs typeface="Arial" pitchFamily="34" charset="0"/>
            </a:defRPr>
          </a:pPr>
          <a:endParaRPr lang="pt-BR"/>
        </a:p>
      </c:txPr>
    </c:legend>
    <c:plotVisOnly val="1"/>
    <c:dispBlanksAs val="zero"/>
    <c:showDLblsOverMax val="0"/>
  </c:chart>
  <c:spPr>
    <a:noFill/>
    <a:ln>
      <a:noFill/>
    </a:ln>
  </c:spPr>
  <c:txPr>
    <a:bodyPr/>
    <a:lstStyle/>
    <a:p>
      <a:pPr>
        <a:defRPr sz="1240"/>
      </a:pPr>
      <a:endParaRPr lang="pt-BR"/>
    </a:p>
  </c:txPr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/>
          <a:lstStyle/>
          <a:p>
            <a:pPr>
              <a:defRPr sz="1800" b="1" i="0" u="none" strike="noStrike" baseline="0">
                <a:solidFill>
                  <a:srgbClr val="000000"/>
                </a:solidFill>
                <a:latin typeface="Arial"/>
                <a:ea typeface="Arial"/>
                <a:cs typeface="Arial"/>
              </a:defRPr>
            </a:pPr>
            <a:r>
              <a:rPr lang="pt-BR" sz="1800" dirty="0"/>
              <a:t>Montante registrado na CETIP em </a:t>
            </a:r>
            <a:r>
              <a:rPr lang="pt-BR" sz="1800" dirty="0" smtClean="0"/>
              <a:t>2014 </a:t>
            </a:r>
            <a:endParaRPr lang="pt-BR" sz="1800" dirty="0"/>
          </a:p>
        </c:rich>
      </c:tx>
      <c:layout>
        <c:manualLayout>
          <c:xMode val="edge"/>
          <c:yMode val="edge"/>
          <c:x val="0.24390324261379459"/>
          <c:y val="8.9623581344115116E-3"/>
        </c:manualLayout>
      </c:layout>
      <c:overlay val="0"/>
      <c:spPr>
        <a:noFill/>
        <a:ln w="17501">
          <a:noFill/>
        </a:ln>
      </c:spPr>
    </c:title>
    <c:autoTitleDeleted val="0"/>
    <c:view3D>
      <c:rotX val="30"/>
      <c:rotY val="0"/>
      <c:rAngAx val="0"/>
      <c:perspective val="0"/>
    </c:view3D>
    <c:floor>
      <c:thickness val="0"/>
    </c:floor>
    <c:sideWall>
      <c:thickness val="0"/>
    </c:sideWall>
    <c:backWall>
      <c:thickness val="0"/>
    </c:backWall>
    <c:plotArea>
      <c:layout>
        <c:manualLayout>
          <c:layoutTarget val="inner"/>
          <c:xMode val="edge"/>
          <c:yMode val="edge"/>
          <c:x val="4.3607532210109018E-2"/>
          <c:y val="0.30276381909547734"/>
          <c:w val="0.64321110009910798"/>
          <c:h val="0.50879396984924619"/>
        </c:manualLayout>
      </c:layout>
      <c:pie3DChart>
        <c:varyColors val="1"/>
        <c:ser>
          <c:idx val="0"/>
          <c:order val="0"/>
          <c:tx>
            <c:strRef>
              <c:f>Plan1!$B$1</c:f>
              <c:strCache>
                <c:ptCount val="1"/>
                <c:pt idx="0">
                  <c:v>montante</c:v>
                </c:pt>
              </c:strCache>
            </c:strRef>
          </c:tx>
          <c:spPr>
            <a:solidFill>
              <a:schemeClr val="accent1"/>
            </a:solidFill>
            <a:ln w="8750">
              <a:solidFill>
                <a:srgbClr val="000000"/>
              </a:solidFill>
              <a:prstDash val="solid"/>
            </a:ln>
          </c:spPr>
          <c:dPt>
            <c:idx val="0"/>
            <c:bubble3D val="0"/>
            <c:spPr>
              <a:solidFill>
                <a:srgbClr val="0000FF"/>
              </a:solidFill>
            </c:spPr>
          </c:dPt>
          <c:dPt>
            <c:idx val="1"/>
            <c:bubble3D val="0"/>
            <c:spPr>
              <a:solidFill>
                <a:srgbClr val="FF00FF"/>
              </a:solidFill>
            </c:spPr>
          </c:dPt>
          <c:dPt>
            <c:idx val="2"/>
            <c:bubble3D val="0"/>
            <c:spPr>
              <a:solidFill>
                <a:srgbClr val="A50021"/>
              </a:solidFill>
            </c:spPr>
          </c:dPt>
          <c:dPt>
            <c:idx val="3"/>
            <c:bubble3D val="0"/>
            <c:spPr>
              <a:solidFill>
                <a:srgbClr val="99FF33"/>
              </a:solidFill>
            </c:spPr>
          </c:dPt>
          <c:dPt>
            <c:idx val="4"/>
            <c:bubble3D val="0"/>
            <c:spPr>
              <a:solidFill>
                <a:srgbClr val="006666"/>
              </a:solidFill>
            </c:spPr>
          </c:dPt>
          <c:dPt>
            <c:idx val="5"/>
            <c:bubble3D val="0"/>
            <c:spPr>
              <a:solidFill>
                <a:srgbClr val="66FFFF"/>
              </a:solidFill>
            </c:spPr>
          </c:dPt>
          <c:dPt>
            <c:idx val="6"/>
            <c:bubble3D val="0"/>
            <c:spPr>
              <a:solidFill>
                <a:srgbClr val="FF9900"/>
              </a:solidFill>
            </c:spPr>
          </c:dPt>
          <c:dPt>
            <c:idx val="7"/>
            <c:bubble3D val="0"/>
            <c:spPr>
              <a:solidFill>
                <a:srgbClr val="FF0000"/>
              </a:solidFill>
              <a:ln w="8750">
                <a:solidFill>
                  <a:srgbClr val="000000"/>
                </a:solidFill>
                <a:prstDash val="solid"/>
              </a:ln>
            </c:spPr>
          </c:dPt>
          <c:dPt>
            <c:idx val="8"/>
            <c:bubble3D val="0"/>
            <c:spPr>
              <a:solidFill>
                <a:srgbClr val="FFCCCC"/>
              </a:solidFill>
              <a:ln w="8750">
                <a:solidFill>
                  <a:srgbClr val="000000"/>
                </a:solidFill>
                <a:prstDash val="solid"/>
              </a:ln>
            </c:spPr>
          </c:dPt>
          <c:dPt>
            <c:idx val="9"/>
            <c:bubble3D val="0"/>
            <c:spPr>
              <a:solidFill>
                <a:srgbClr val="FFFF00"/>
              </a:solidFill>
              <a:ln w="8750">
                <a:solidFill>
                  <a:srgbClr val="000000"/>
                </a:solidFill>
                <a:prstDash val="solid"/>
              </a:ln>
            </c:spPr>
          </c:dPt>
          <c:dLbls>
            <c:dLbl>
              <c:idx val="0"/>
              <c:layout/>
              <c:numFmt formatCode="0.0%" sourceLinked="0"/>
              <c:spPr>
                <a:noFill/>
                <a:ln w="17501">
                  <a:noFill/>
                </a:ln>
              </c:spPr>
              <c:txPr>
                <a:bodyPr/>
                <a:lstStyle/>
                <a:p>
                  <a:pPr>
                    <a:defRPr sz="1800">
                      <a:solidFill>
                        <a:schemeClr val="bg1"/>
                      </a:solidFill>
                      <a:latin typeface="Arial" pitchFamily="34" charset="0"/>
                      <a:cs typeface="Arial" pitchFamily="34" charset="0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1"/>
              <c:layout/>
              <c:numFmt formatCode="0.0%" sourceLinked="0"/>
              <c:spPr>
                <a:noFill/>
                <a:ln w="17501">
                  <a:noFill/>
                </a:ln>
              </c:spPr>
              <c:txPr>
                <a:bodyPr/>
                <a:lstStyle/>
                <a:p>
                  <a:pPr>
                    <a:defRPr sz="1800">
                      <a:solidFill>
                        <a:schemeClr val="bg1"/>
                      </a:solidFill>
                      <a:latin typeface="Arial" pitchFamily="34" charset="0"/>
                      <a:cs typeface="Arial" pitchFamily="34" charset="0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2"/>
              <c:layout>
                <c:manualLayout>
                  <c:x val="0.11582139021590193"/>
                  <c:y val="1.6361643769167229E-3"/>
                </c:manualLayout>
              </c:layout>
              <c:numFmt formatCode="0.0%" sourceLinked="0"/>
              <c:spPr>
                <a:noFill/>
                <a:ln w="17501">
                  <a:noFill/>
                </a:ln>
              </c:spPr>
              <c:txPr>
                <a:bodyPr/>
                <a:lstStyle/>
                <a:p>
                  <a:pPr>
                    <a:defRPr sz="1800">
                      <a:solidFill>
                        <a:schemeClr val="bg1"/>
                      </a:solidFill>
                      <a:latin typeface="Arial" pitchFamily="34" charset="0"/>
                      <a:cs typeface="Arial" pitchFamily="34" charset="0"/>
                    </a:defRPr>
                  </a:pPr>
                  <a:endParaRPr lang="pt-BR"/>
                </a:p>
              </c:txPr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3"/>
              <c:layout>
                <c:manualLayout>
                  <c:x val="0.12693940091312605"/>
                  <c:y val="5.7605699837283308E-2"/>
                </c:manualLayout>
              </c:layout>
              <c:numFmt formatCode="0.0%" sourceLinked="0"/>
              <c:spPr>
                <a:noFill/>
                <a:ln w="17501">
                  <a:noFill/>
                </a:ln>
              </c:spPr>
              <c:txPr>
                <a:bodyPr/>
                <a:lstStyle/>
                <a:p>
                  <a:pPr>
                    <a:defRPr sz="1800" b="0" i="0" u="none" strike="noStrike" baseline="0">
                      <a:solidFill>
                        <a:schemeClr val="tx1"/>
                      </a:solidFill>
                      <a:latin typeface="Arial"/>
                      <a:ea typeface="Arial"/>
                      <a:cs typeface="Arial"/>
                    </a:defRPr>
                  </a:pPr>
                  <a:endParaRPr lang="pt-BR"/>
                </a:p>
              </c:txPr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12769983229376627"/>
                      <c:h val="9.6133703480071761E-2"/>
                    </c:manualLayout>
                  </c15:layout>
                </c:ext>
              </c:extLst>
            </c:dLbl>
            <c:dLbl>
              <c:idx val="4"/>
              <c:layout>
                <c:manualLayout>
                  <c:x val="-7.8924167156030275E-2"/>
                  <c:y val="-2.1983281588290233E-2"/>
                </c:manualLayout>
              </c:layout>
              <c:numFmt formatCode="0.0%" sourceLinked="0"/>
              <c:spPr>
                <a:noFill/>
                <a:ln w="17501">
                  <a:noFill/>
                </a:ln>
              </c:spPr>
              <c:txPr>
                <a:bodyPr/>
                <a:lstStyle/>
                <a:p>
                  <a:pPr>
                    <a:defRPr sz="1800">
                      <a:latin typeface="Arial" pitchFamily="34" charset="0"/>
                      <a:cs typeface="Arial" pitchFamily="34" charset="0"/>
                    </a:defRPr>
                  </a:pPr>
                  <a:endParaRPr lang="pt-BR"/>
                </a:p>
              </c:txPr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5"/>
              <c:layout>
                <c:manualLayout>
                  <c:x val="-4.7952608440331994E-2"/>
                  <c:y val="-6.5130295602972066E-2"/>
                </c:manualLayout>
              </c:layout>
              <c:numFmt formatCode="0.0%" sourceLinked="0"/>
              <c:spPr>
                <a:noFill/>
                <a:ln w="17501">
                  <a:noFill/>
                </a:ln>
              </c:spPr>
              <c:txPr>
                <a:bodyPr/>
                <a:lstStyle/>
                <a:p>
                  <a:pPr>
                    <a:defRPr sz="1800">
                      <a:latin typeface="Arial" pitchFamily="34" charset="0"/>
                      <a:cs typeface="Arial" pitchFamily="34" charset="0"/>
                    </a:defRPr>
                  </a:pPr>
                  <a:endParaRPr lang="pt-BR"/>
                </a:p>
              </c:txPr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6"/>
              <c:layout>
                <c:manualLayout>
                  <c:x val="1.4065632919093646E-2"/>
                  <c:y val="-7.371815371808331E-2"/>
                </c:manualLayout>
              </c:layout>
              <c:numFmt formatCode="0.0%" sourceLinked="0"/>
              <c:spPr>
                <a:noFill/>
                <a:ln w="17501">
                  <a:noFill/>
                </a:ln>
              </c:spPr>
              <c:txPr>
                <a:bodyPr/>
                <a:lstStyle/>
                <a:p>
                  <a:pPr>
                    <a:defRPr sz="1800">
                      <a:latin typeface="Arial" pitchFamily="34" charset="0"/>
                      <a:cs typeface="Arial" pitchFamily="34" charset="0"/>
                    </a:defRPr>
                  </a:pPr>
                  <a:endParaRPr lang="pt-BR"/>
                </a:p>
              </c:txPr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7"/>
              <c:layout>
                <c:manualLayout>
                  <c:x val="8.8826241528718972E-2"/>
                  <c:y val="-0.1135793428232823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8"/>
              <c:layout>
                <c:manualLayout>
                  <c:x val="8.8841715999809542E-2"/>
                  <c:y val="-4.4025242114186451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9"/>
              <c:layout>
                <c:manualLayout>
                  <c:x val="0.12589077404097951"/>
                  <c:y val="1.1866445955622685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800"/>
                </a:pPr>
                <a:endParaRPr lang="pt-BR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/>
            </c:extLst>
          </c:dLbls>
          <c:cat>
            <c:strRef>
              <c:f>Plan1!$A$2:$A$11</c:f>
              <c:strCache>
                <c:ptCount val="10"/>
                <c:pt idx="0">
                  <c:v>Café</c:v>
                </c:pt>
                <c:pt idx="1">
                  <c:v>Soja</c:v>
                </c:pt>
                <c:pt idx="2">
                  <c:v>Arroz</c:v>
                </c:pt>
                <c:pt idx="3">
                  <c:v>Feijão</c:v>
                </c:pt>
                <c:pt idx="4">
                  <c:v>Cana-de-açúcar</c:v>
                </c:pt>
                <c:pt idx="5">
                  <c:v>Algodão</c:v>
                </c:pt>
                <c:pt idx="6">
                  <c:v>Acácia Negra</c:v>
                </c:pt>
                <c:pt idx="7">
                  <c:v>Milho</c:v>
                </c:pt>
                <c:pt idx="8">
                  <c:v>Batata</c:v>
                </c:pt>
                <c:pt idx="9">
                  <c:v>Madeira</c:v>
                </c:pt>
              </c:strCache>
            </c:strRef>
          </c:cat>
          <c:val>
            <c:numRef>
              <c:f>Plan1!$B$2:$B$11</c:f>
              <c:numCache>
                <c:formatCode>0.00%</c:formatCode>
                <c:ptCount val="10"/>
                <c:pt idx="0" formatCode="0%">
                  <c:v>0.51</c:v>
                </c:pt>
                <c:pt idx="1">
                  <c:v>0.21299999999999999</c:v>
                </c:pt>
                <c:pt idx="2">
                  <c:v>0.108</c:v>
                </c:pt>
                <c:pt idx="3">
                  <c:v>8.2000000000000003E-2</c:v>
                </c:pt>
                <c:pt idx="4">
                  <c:v>4.7E-2</c:v>
                </c:pt>
                <c:pt idx="5">
                  <c:v>1.6E-2</c:v>
                </c:pt>
                <c:pt idx="6">
                  <c:v>1.4E-2</c:v>
                </c:pt>
                <c:pt idx="7">
                  <c:v>4.0000000000000001E-3</c:v>
                </c:pt>
                <c:pt idx="8">
                  <c:v>3.0000000000000001E-3</c:v>
                </c:pt>
                <c:pt idx="9">
                  <c:v>3.0000000000000001E-3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</c:pie3DChart>
      <c:spPr>
        <a:noFill/>
        <a:ln w="17501">
          <a:noFill/>
        </a:ln>
      </c:spPr>
    </c:plotArea>
    <c:legend>
      <c:legendPos val="r"/>
      <c:layout>
        <c:manualLayout>
          <c:xMode val="edge"/>
          <c:yMode val="edge"/>
          <c:x val="0.68069306930693074"/>
          <c:y val="7.8369905956112859E-2"/>
          <c:w val="0.30321782178217821"/>
          <c:h val="0.81818181818181823"/>
        </c:manualLayout>
      </c:layout>
      <c:overlay val="0"/>
      <c:txPr>
        <a:bodyPr/>
        <a:lstStyle/>
        <a:p>
          <a:pPr>
            <a:defRPr sz="2000">
              <a:latin typeface="Arial" pitchFamily="34" charset="0"/>
              <a:cs typeface="Arial" pitchFamily="34" charset="0"/>
            </a:defRPr>
          </a:pPr>
          <a:endParaRPr lang="pt-BR"/>
        </a:p>
      </c:txPr>
    </c:legend>
    <c:plotVisOnly val="1"/>
    <c:dispBlanksAs val="zero"/>
    <c:showDLblsOverMax val="0"/>
  </c:chart>
  <c:spPr>
    <a:noFill/>
    <a:ln>
      <a:noFill/>
    </a:ln>
  </c:spPr>
  <c:txPr>
    <a:bodyPr/>
    <a:lstStyle/>
    <a:p>
      <a:pPr>
        <a:defRPr sz="1240"/>
      </a:pPr>
      <a:endParaRPr lang="pt-BR"/>
    </a:p>
  </c:txPr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/>
          <a:lstStyle/>
          <a:p>
            <a:pPr>
              <a:defRPr sz="1800" b="1" i="0" u="none" strike="noStrike" baseline="0">
                <a:solidFill>
                  <a:srgbClr val="000000"/>
                </a:solidFill>
                <a:latin typeface="Arial"/>
                <a:ea typeface="Arial"/>
                <a:cs typeface="Arial"/>
              </a:defRPr>
            </a:pPr>
            <a:r>
              <a:rPr lang="pt-BR" sz="1800" dirty="0"/>
              <a:t>Montante registrado na CETIP em </a:t>
            </a:r>
            <a:r>
              <a:rPr lang="pt-BR" sz="1800" dirty="0" smtClean="0"/>
              <a:t>2015 </a:t>
            </a:r>
            <a:endParaRPr lang="pt-BR" sz="1800" dirty="0"/>
          </a:p>
        </c:rich>
      </c:tx>
      <c:layout>
        <c:manualLayout>
          <c:xMode val="edge"/>
          <c:yMode val="edge"/>
          <c:x val="0.23362603903510815"/>
          <c:y val="4.063208291213238E-3"/>
        </c:manualLayout>
      </c:layout>
      <c:overlay val="0"/>
      <c:spPr>
        <a:noFill/>
        <a:ln w="17501">
          <a:noFill/>
        </a:ln>
      </c:spPr>
    </c:title>
    <c:autoTitleDeleted val="0"/>
    <c:view3D>
      <c:rotX val="30"/>
      <c:rotY val="0"/>
      <c:rAngAx val="0"/>
      <c:perspective val="0"/>
    </c:view3D>
    <c:floor>
      <c:thickness val="0"/>
    </c:floor>
    <c:sideWall>
      <c:thickness val="0"/>
    </c:sideWall>
    <c:backWall>
      <c:thickness val="0"/>
    </c:backWall>
    <c:plotArea>
      <c:layout>
        <c:manualLayout>
          <c:layoutTarget val="inner"/>
          <c:xMode val="edge"/>
          <c:yMode val="edge"/>
          <c:x val="4.1367890340226754E-2"/>
          <c:y val="0.31601217914028829"/>
          <c:w val="0.64321110009910798"/>
          <c:h val="0.50879396984924619"/>
        </c:manualLayout>
      </c:layout>
      <c:pie3DChart>
        <c:varyColors val="1"/>
        <c:ser>
          <c:idx val="0"/>
          <c:order val="0"/>
          <c:tx>
            <c:strRef>
              <c:f>Plan1!$B$1</c:f>
              <c:strCache>
                <c:ptCount val="1"/>
                <c:pt idx="0">
                  <c:v>montante</c:v>
                </c:pt>
              </c:strCache>
            </c:strRef>
          </c:tx>
          <c:spPr>
            <a:solidFill>
              <a:schemeClr val="accent1"/>
            </a:solidFill>
            <a:ln w="8750">
              <a:solidFill>
                <a:srgbClr val="000000"/>
              </a:solidFill>
              <a:prstDash val="solid"/>
            </a:ln>
          </c:spPr>
          <c:dPt>
            <c:idx val="0"/>
            <c:bubble3D val="0"/>
            <c:spPr>
              <a:solidFill>
                <a:srgbClr val="0000FF"/>
              </a:solidFill>
            </c:spPr>
          </c:dPt>
          <c:dPt>
            <c:idx val="1"/>
            <c:bubble3D val="0"/>
            <c:spPr>
              <a:solidFill>
                <a:srgbClr val="FF00FF"/>
              </a:solidFill>
            </c:spPr>
          </c:dPt>
          <c:dPt>
            <c:idx val="2"/>
            <c:bubble3D val="0"/>
            <c:spPr>
              <a:solidFill>
                <a:srgbClr val="A50021"/>
              </a:solidFill>
            </c:spPr>
          </c:dPt>
          <c:dPt>
            <c:idx val="3"/>
            <c:bubble3D val="0"/>
            <c:spPr>
              <a:solidFill>
                <a:srgbClr val="99FF33"/>
              </a:solidFill>
            </c:spPr>
          </c:dPt>
          <c:dPt>
            <c:idx val="4"/>
            <c:bubble3D val="0"/>
            <c:spPr>
              <a:solidFill>
                <a:srgbClr val="006666"/>
              </a:solidFill>
            </c:spPr>
          </c:dPt>
          <c:dPt>
            <c:idx val="5"/>
            <c:bubble3D val="0"/>
            <c:spPr>
              <a:solidFill>
                <a:srgbClr val="66FFFF"/>
              </a:solidFill>
            </c:spPr>
          </c:dPt>
          <c:dLbls>
            <c:dLbl>
              <c:idx val="0"/>
              <c:layout/>
              <c:numFmt formatCode="0.0%" sourceLinked="0"/>
              <c:spPr>
                <a:noFill/>
                <a:ln w="17501">
                  <a:noFill/>
                </a:ln>
              </c:spPr>
              <c:txPr>
                <a:bodyPr/>
                <a:lstStyle/>
                <a:p>
                  <a:pPr>
                    <a:defRPr sz="1800">
                      <a:solidFill>
                        <a:schemeClr val="bg1"/>
                      </a:solidFill>
                      <a:latin typeface="Arial" pitchFamily="34" charset="0"/>
                      <a:cs typeface="Arial" pitchFamily="34" charset="0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1"/>
              <c:layout/>
              <c:numFmt formatCode="0.0%" sourceLinked="0"/>
              <c:spPr>
                <a:noFill/>
                <a:ln w="17501">
                  <a:noFill/>
                </a:ln>
              </c:spPr>
              <c:txPr>
                <a:bodyPr/>
                <a:lstStyle/>
                <a:p>
                  <a:pPr>
                    <a:defRPr sz="1800">
                      <a:solidFill>
                        <a:schemeClr val="bg1"/>
                      </a:solidFill>
                      <a:latin typeface="Arial" pitchFamily="34" charset="0"/>
                      <a:cs typeface="Arial" pitchFamily="34" charset="0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2"/>
              <c:layout>
                <c:manualLayout>
                  <c:x val="-2.0794867589668167E-2"/>
                  <c:y val="1.8196730930974004E-2"/>
                </c:manualLayout>
              </c:layout>
              <c:numFmt formatCode="0.0%" sourceLinked="0"/>
              <c:spPr>
                <a:noFill/>
                <a:ln w="17501">
                  <a:noFill/>
                </a:ln>
              </c:spPr>
              <c:txPr>
                <a:bodyPr/>
                <a:lstStyle/>
                <a:p>
                  <a:pPr>
                    <a:defRPr sz="18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pPr>
                  <a:endParaRPr lang="pt-BR"/>
                </a:p>
              </c:txPr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3"/>
              <c:layout>
                <c:manualLayout>
                  <c:x val="1.9438051856672009E-2"/>
                  <c:y val="1.3000645468355448E-3"/>
                </c:manualLayout>
              </c:layout>
              <c:numFmt formatCode="0.0%" sourceLinked="0"/>
              <c:spPr>
                <a:noFill/>
                <a:ln w="17501">
                  <a:noFill/>
                </a:ln>
              </c:spPr>
              <c:txPr>
                <a:bodyPr/>
                <a:lstStyle/>
                <a:p>
                  <a:pPr>
                    <a:defRPr sz="1800" b="0" i="0" u="none" strike="noStrike" baseline="0">
                      <a:solidFill>
                        <a:schemeClr val="tx1"/>
                      </a:solidFill>
                      <a:latin typeface="Arial"/>
                      <a:ea typeface="Arial"/>
                      <a:cs typeface="Arial"/>
                    </a:defRPr>
                  </a:pPr>
                  <a:endParaRPr lang="pt-BR"/>
                </a:p>
              </c:txPr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12769983229376627"/>
                      <c:h val="9.6133703480071761E-2"/>
                    </c:manualLayout>
                  </c15:layout>
                </c:ext>
              </c:extLst>
            </c:dLbl>
            <c:dLbl>
              <c:idx val="4"/>
              <c:layout>
                <c:manualLayout>
                  <c:x val="1.9618631439540228E-2"/>
                  <c:y val="-8.4913122567268892E-2"/>
                </c:manualLayout>
              </c:layout>
              <c:numFmt formatCode="0.0%" sourceLinked="0"/>
              <c:spPr>
                <a:noFill/>
                <a:ln w="17501">
                  <a:noFill/>
                </a:ln>
              </c:spPr>
              <c:txPr>
                <a:bodyPr/>
                <a:lstStyle/>
                <a:p>
                  <a:pPr>
                    <a:defRPr sz="1800">
                      <a:latin typeface="Arial" pitchFamily="34" charset="0"/>
                      <a:cs typeface="Arial" pitchFamily="34" charset="0"/>
                    </a:defRPr>
                  </a:pPr>
                  <a:endParaRPr lang="pt-BR"/>
                </a:p>
              </c:txPr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5"/>
              <c:layout>
                <c:manualLayout>
                  <c:x val="7.2986423025307598E-2"/>
                  <c:y val="-1.5448730904894476E-2"/>
                </c:manualLayout>
              </c:layout>
              <c:numFmt formatCode="0.0%" sourceLinked="0"/>
              <c:spPr>
                <a:noFill/>
                <a:ln w="17501">
                  <a:noFill/>
                </a:ln>
              </c:spPr>
              <c:txPr>
                <a:bodyPr/>
                <a:lstStyle/>
                <a:p>
                  <a:pPr>
                    <a:defRPr sz="1800">
                      <a:latin typeface="Arial" pitchFamily="34" charset="0"/>
                      <a:cs typeface="Arial" pitchFamily="34" charset="0"/>
                    </a:defRPr>
                  </a:pPr>
                  <a:endParaRPr lang="pt-BR"/>
                </a:p>
              </c:txPr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6"/>
              <c:layout>
                <c:manualLayout>
                  <c:x val="1.4065632919093646E-2"/>
                  <c:y val="-7.371815371808331E-2"/>
                </c:manualLayout>
              </c:layout>
              <c:numFmt formatCode="0.0%" sourceLinked="0"/>
              <c:spPr>
                <a:noFill/>
                <a:ln w="17501">
                  <a:noFill/>
                </a:ln>
              </c:spPr>
              <c:txPr>
                <a:bodyPr/>
                <a:lstStyle/>
                <a:p>
                  <a:pPr>
                    <a:defRPr sz="1800">
                      <a:latin typeface="Arial" pitchFamily="34" charset="0"/>
                      <a:cs typeface="Arial" pitchFamily="34" charset="0"/>
                    </a:defRPr>
                  </a:pPr>
                  <a:endParaRPr lang="pt-BR"/>
                </a:p>
              </c:txPr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7"/>
              <c:layout>
                <c:manualLayout>
                  <c:x val="8.8826241528718972E-2"/>
                  <c:y val="-0.1135793428232823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8"/>
              <c:layout>
                <c:manualLayout>
                  <c:x val="8.8841715999809542E-2"/>
                  <c:y val="-4.4025242114186451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9"/>
              <c:layout>
                <c:manualLayout>
                  <c:x val="0.12589077404097951"/>
                  <c:y val="1.1866445955622685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800"/>
                </a:pPr>
                <a:endParaRPr lang="pt-BR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/>
            </c:extLst>
          </c:dLbls>
          <c:cat>
            <c:strRef>
              <c:f>Plan1!$A$2:$A$7</c:f>
              <c:strCache>
                <c:ptCount val="6"/>
                <c:pt idx="0">
                  <c:v>Soja</c:v>
                </c:pt>
                <c:pt idx="1">
                  <c:v>Feijão</c:v>
                </c:pt>
                <c:pt idx="2">
                  <c:v>Cana-de-açúcar</c:v>
                </c:pt>
                <c:pt idx="3">
                  <c:v>Arroz</c:v>
                </c:pt>
                <c:pt idx="4">
                  <c:v>Boi</c:v>
                </c:pt>
                <c:pt idx="5">
                  <c:v>Café</c:v>
                </c:pt>
              </c:strCache>
            </c:strRef>
          </c:cat>
          <c:val>
            <c:numRef>
              <c:f>Plan1!$B$2:$B$7</c:f>
              <c:numCache>
                <c:formatCode>0.00%</c:formatCode>
                <c:ptCount val="6"/>
                <c:pt idx="0">
                  <c:v>0.68799999999999994</c:v>
                </c:pt>
                <c:pt idx="1">
                  <c:v>0.21099999999999999</c:v>
                </c:pt>
                <c:pt idx="2">
                  <c:v>5.0999999999999997E-2</c:v>
                </c:pt>
                <c:pt idx="3">
                  <c:v>3.1E-2</c:v>
                </c:pt>
                <c:pt idx="4">
                  <c:v>0.01</c:v>
                </c:pt>
                <c:pt idx="5">
                  <c:v>8.9999999999999993E-3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</c:pie3DChart>
      <c:spPr>
        <a:noFill/>
        <a:ln w="17501">
          <a:noFill/>
        </a:ln>
      </c:spPr>
    </c:plotArea>
    <c:legend>
      <c:legendPos val="r"/>
      <c:layout>
        <c:manualLayout>
          <c:xMode val="edge"/>
          <c:yMode val="edge"/>
          <c:x val="0.68069306930693074"/>
          <c:y val="7.8369905956112859E-2"/>
          <c:w val="0.30321782178217821"/>
          <c:h val="0.81818181818181823"/>
        </c:manualLayout>
      </c:layout>
      <c:overlay val="0"/>
      <c:txPr>
        <a:bodyPr/>
        <a:lstStyle/>
        <a:p>
          <a:pPr>
            <a:defRPr sz="2000">
              <a:latin typeface="Arial" pitchFamily="34" charset="0"/>
              <a:cs typeface="Arial" pitchFamily="34" charset="0"/>
            </a:defRPr>
          </a:pPr>
          <a:endParaRPr lang="pt-BR"/>
        </a:p>
      </c:txPr>
    </c:legend>
    <c:plotVisOnly val="1"/>
    <c:dispBlanksAs val="zero"/>
    <c:showDLblsOverMax val="0"/>
  </c:chart>
  <c:spPr>
    <a:noFill/>
    <a:ln>
      <a:noFill/>
    </a:ln>
  </c:spPr>
  <c:txPr>
    <a:bodyPr/>
    <a:lstStyle/>
    <a:p>
      <a:pPr>
        <a:defRPr sz="1240"/>
      </a:pPr>
      <a:endParaRPr lang="pt-BR"/>
    </a:p>
  </c:txPr>
  <c:externalData r:id="rId1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/>
          <a:lstStyle/>
          <a:p>
            <a:pPr>
              <a:defRPr sz="1800" b="1" i="0" u="none" strike="noStrike" baseline="0">
                <a:solidFill>
                  <a:srgbClr val="000000"/>
                </a:solidFill>
                <a:latin typeface="Arial"/>
                <a:ea typeface="Arial"/>
                <a:cs typeface="Arial"/>
              </a:defRPr>
            </a:pPr>
            <a:r>
              <a:rPr lang="pt-BR" sz="1800" dirty="0"/>
              <a:t>Montante registrado na CETIP em </a:t>
            </a:r>
            <a:r>
              <a:rPr lang="pt-BR" sz="1800" dirty="0" smtClean="0"/>
              <a:t>2016 </a:t>
            </a:r>
            <a:endParaRPr lang="pt-BR" sz="1800" dirty="0"/>
          </a:p>
        </c:rich>
      </c:tx>
      <c:layout>
        <c:manualLayout>
          <c:xMode val="edge"/>
          <c:yMode val="edge"/>
          <c:x val="0.25711679007210575"/>
          <c:y val="4.2310771963753671E-3"/>
        </c:manualLayout>
      </c:layout>
      <c:overlay val="0"/>
      <c:spPr>
        <a:noFill/>
        <a:ln w="17501">
          <a:noFill/>
        </a:ln>
      </c:spPr>
    </c:title>
    <c:autoTitleDeleted val="0"/>
    <c:view3D>
      <c:rotX val="30"/>
      <c:rotY val="0"/>
      <c:rAngAx val="0"/>
      <c:perspective val="0"/>
    </c:view3D>
    <c:floor>
      <c:thickness val="0"/>
    </c:floor>
    <c:sideWall>
      <c:thickness val="0"/>
    </c:sideWall>
    <c:backWall>
      <c:thickness val="0"/>
    </c:backWall>
    <c:plotArea>
      <c:layout>
        <c:manualLayout>
          <c:layoutTarget val="inner"/>
          <c:xMode val="edge"/>
          <c:yMode val="edge"/>
          <c:x val="4.1367890340226754E-2"/>
          <c:y val="0.31601217914028829"/>
          <c:w val="0.64321110009910798"/>
          <c:h val="0.50879396984924619"/>
        </c:manualLayout>
      </c:layout>
      <c:pie3DChart>
        <c:varyColors val="1"/>
        <c:ser>
          <c:idx val="0"/>
          <c:order val="0"/>
          <c:tx>
            <c:strRef>
              <c:f>Plan1!$B$1</c:f>
              <c:strCache>
                <c:ptCount val="1"/>
                <c:pt idx="0">
                  <c:v>montante</c:v>
                </c:pt>
              </c:strCache>
            </c:strRef>
          </c:tx>
          <c:spPr>
            <a:solidFill>
              <a:schemeClr val="accent1"/>
            </a:solidFill>
            <a:ln w="8750">
              <a:solidFill>
                <a:srgbClr val="000000"/>
              </a:solidFill>
              <a:prstDash val="solid"/>
            </a:ln>
          </c:spPr>
          <c:dPt>
            <c:idx val="0"/>
            <c:bubble3D val="0"/>
            <c:spPr>
              <a:solidFill>
                <a:srgbClr val="008000"/>
              </a:solidFill>
            </c:spPr>
          </c:dPt>
          <c:dPt>
            <c:idx val="1"/>
            <c:bubble3D val="0"/>
            <c:spPr>
              <a:solidFill>
                <a:srgbClr val="FFFF00"/>
              </a:solidFill>
            </c:spPr>
          </c:dPt>
          <c:dPt>
            <c:idx val="2"/>
            <c:bubble3D val="0"/>
            <c:spPr>
              <a:solidFill>
                <a:srgbClr val="A50021"/>
              </a:solidFill>
            </c:spPr>
          </c:dPt>
          <c:dLbls>
            <c:dLbl>
              <c:idx val="0"/>
              <c:layout/>
              <c:numFmt formatCode="0.0%" sourceLinked="0"/>
              <c:spPr>
                <a:noFill/>
                <a:ln w="17501">
                  <a:noFill/>
                </a:ln>
              </c:spPr>
              <c:txPr>
                <a:bodyPr/>
                <a:lstStyle/>
                <a:p>
                  <a:pPr>
                    <a:defRPr sz="1800">
                      <a:solidFill>
                        <a:schemeClr val="bg1"/>
                      </a:solidFill>
                      <a:latin typeface="Arial" pitchFamily="34" charset="0"/>
                      <a:cs typeface="Arial" pitchFamily="34" charset="0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1"/>
              <c:layout>
                <c:manualLayout>
                  <c:x val="6.7972791264935148E-2"/>
                  <c:y val="8.5514184948578625E-2"/>
                </c:manualLayout>
              </c:layout>
              <c:numFmt formatCode="0.0%" sourceLinked="0"/>
              <c:spPr>
                <a:noFill/>
                <a:ln w="17501">
                  <a:noFill/>
                </a:ln>
              </c:spPr>
              <c:txPr>
                <a:bodyPr/>
                <a:lstStyle/>
                <a:p>
                  <a:pPr>
                    <a:defRPr sz="18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pPr>
                  <a:endParaRPr lang="pt-BR"/>
                </a:p>
              </c:txPr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2"/>
              <c:layout>
                <c:manualLayout>
                  <c:x val="3.298872494238772E-2"/>
                  <c:y val="-4.1599454833550799E-3"/>
                </c:manualLayout>
              </c:layout>
              <c:numFmt formatCode="0.0%" sourceLinked="0"/>
              <c:spPr>
                <a:noFill/>
                <a:ln w="17501">
                  <a:noFill/>
                </a:ln>
              </c:spPr>
              <c:txPr>
                <a:bodyPr/>
                <a:lstStyle/>
                <a:p>
                  <a:pPr>
                    <a:defRPr sz="18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pPr>
                  <a:endParaRPr lang="pt-BR"/>
                </a:p>
              </c:txPr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3"/>
              <c:layout>
                <c:manualLayout>
                  <c:x val="1.9438051856672009E-2"/>
                  <c:y val="1.3000645468355448E-3"/>
                </c:manualLayout>
              </c:layout>
              <c:numFmt formatCode="0.0%" sourceLinked="0"/>
              <c:spPr>
                <a:noFill/>
                <a:ln w="17501">
                  <a:noFill/>
                </a:ln>
              </c:spPr>
              <c:txPr>
                <a:bodyPr/>
                <a:lstStyle/>
                <a:p>
                  <a:pPr>
                    <a:defRPr sz="1800" b="0" i="0" u="none" strike="noStrike" baseline="0">
                      <a:solidFill>
                        <a:schemeClr val="tx1"/>
                      </a:solidFill>
                      <a:latin typeface="Arial"/>
                      <a:ea typeface="Arial"/>
                      <a:cs typeface="Arial"/>
                    </a:defRPr>
                  </a:pPr>
                  <a:endParaRPr lang="pt-BR"/>
                </a:p>
              </c:txPr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12769983229376627"/>
                      <c:h val="9.6133703480071761E-2"/>
                    </c:manualLayout>
                  </c15:layout>
                </c:ext>
              </c:extLst>
            </c:dLbl>
            <c:dLbl>
              <c:idx val="4"/>
              <c:layout>
                <c:manualLayout>
                  <c:x val="1.9618631439540228E-2"/>
                  <c:y val="-8.4913122567268892E-2"/>
                </c:manualLayout>
              </c:layout>
              <c:numFmt formatCode="0.0%" sourceLinked="0"/>
              <c:spPr>
                <a:noFill/>
                <a:ln w="17501">
                  <a:noFill/>
                </a:ln>
              </c:spPr>
              <c:txPr>
                <a:bodyPr/>
                <a:lstStyle/>
                <a:p>
                  <a:pPr>
                    <a:defRPr sz="1800">
                      <a:latin typeface="Arial" pitchFamily="34" charset="0"/>
                      <a:cs typeface="Arial" pitchFamily="34" charset="0"/>
                    </a:defRPr>
                  </a:pPr>
                  <a:endParaRPr lang="pt-BR"/>
                </a:p>
              </c:txPr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5"/>
              <c:layout>
                <c:manualLayout>
                  <c:x val="7.2986423025307598E-2"/>
                  <c:y val="-1.5448730904894476E-2"/>
                </c:manualLayout>
              </c:layout>
              <c:numFmt formatCode="0.0%" sourceLinked="0"/>
              <c:spPr>
                <a:noFill/>
                <a:ln w="17501">
                  <a:noFill/>
                </a:ln>
              </c:spPr>
              <c:txPr>
                <a:bodyPr/>
                <a:lstStyle/>
                <a:p>
                  <a:pPr>
                    <a:defRPr sz="1800">
                      <a:latin typeface="Arial" pitchFamily="34" charset="0"/>
                      <a:cs typeface="Arial" pitchFamily="34" charset="0"/>
                    </a:defRPr>
                  </a:pPr>
                  <a:endParaRPr lang="pt-BR"/>
                </a:p>
              </c:txPr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6"/>
              <c:layout>
                <c:manualLayout>
                  <c:x val="1.4065632919093646E-2"/>
                  <c:y val="-7.371815371808331E-2"/>
                </c:manualLayout>
              </c:layout>
              <c:numFmt formatCode="0.0%" sourceLinked="0"/>
              <c:spPr>
                <a:noFill/>
                <a:ln w="17501">
                  <a:noFill/>
                </a:ln>
              </c:spPr>
              <c:txPr>
                <a:bodyPr/>
                <a:lstStyle/>
                <a:p>
                  <a:pPr>
                    <a:defRPr sz="1800">
                      <a:latin typeface="Arial" pitchFamily="34" charset="0"/>
                      <a:cs typeface="Arial" pitchFamily="34" charset="0"/>
                    </a:defRPr>
                  </a:pPr>
                  <a:endParaRPr lang="pt-BR"/>
                </a:p>
              </c:txPr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7"/>
              <c:layout>
                <c:manualLayout>
                  <c:x val="8.8826241528718972E-2"/>
                  <c:y val="-0.1135793428232823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8"/>
              <c:layout>
                <c:manualLayout>
                  <c:x val="8.8841715999809542E-2"/>
                  <c:y val="-4.4025242114186451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9"/>
              <c:layout>
                <c:manualLayout>
                  <c:x val="0.12589077404097951"/>
                  <c:y val="1.1866445955622685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800"/>
                </a:pPr>
                <a:endParaRPr lang="pt-BR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/>
            </c:extLst>
          </c:dLbls>
          <c:cat>
            <c:strRef>
              <c:f>Plan1!$A$2:$A$4</c:f>
              <c:strCache>
                <c:ptCount val="3"/>
                <c:pt idx="0">
                  <c:v>Soja</c:v>
                </c:pt>
                <c:pt idx="1">
                  <c:v>Milho</c:v>
                </c:pt>
                <c:pt idx="2">
                  <c:v>Madeira</c:v>
                </c:pt>
              </c:strCache>
            </c:strRef>
          </c:cat>
          <c:val>
            <c:numRef>
              <c:f>Plan1!$B$2:$B$4</c:f>
              <c:numCache>
                <c:formatCode>0.00%</c:formatCode>
                <c:ptCount val="3"/>
                <c:pt idx="0">
                  <c:v>0.876</c:v>
                </c:pt>
                <c:pt idx="1">
                  <c:v>7.9000000000000001E-2</c:v>
                </c:pt>
                <c:pt idx="2">
                  <c:v>4.4999999999999998E-2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</c:pie3DChart>
      <c:spPr>
        <a:noFill/>
        <a:ln w="17501">
          <a:noFill/>
        </a:ln>
      </c:spPr>
    </c:plotArea>
    <c:legend>
      <c:legendPos val="r"/>
      <c:layout>
        <c:manualLayout>
          <c:xMode val="edge"/>
          <c:yMode val="edge"/>
          <c:x val="0.69831112829244779"/>
          <c:y val="7.8369905956112859E-2"/>
          <c:w val="0.2415546299264538"/>
          <c:h val="0.81818181818181823"/>
        </c:manualLayout>
      </c:layout>
      <c:overlay val="0"/>
      <c:txPr>
        <a:bodyPr/>
        <a:lstStyle/>
        <a:p>
          <a:pPr>
            <a:defRPr sz="2000">
              <a:latin typeface="Arial" pitchFamily="34" charset="0"/>
              <a:cs typeface="Arial" pitchFamily="34" charset="0"/>
            </a:defRPr>
          </a:pPr>
          <a:endParaRPr lang="pt-BR"/>
        </a:p>
      </c:txPr>
    </c:legend>
    <c:plotVisOnly val="1"/>
    <c:dispBlanksAs val="zero"/>
    <c:showDLblsOverMax val="0"/>
  </c:chart>
  <c:spPr>
    <a:noFill/>
    <a:ln>
      <a:noFill/>
    </a:ln>
  </c:spPr>
  <c:txPr>
    <a:bodyPr/>
    <a:lstStyle/>
    <a:p>
      <a:pPr>
        <a:defRPr sz="1240"/>
      </a:pPr>
      <a:endParaRPr lang="pt-BR"/>
    </a:p>
  </c:txPr>
  <c:externalData r:id="rId1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Plan1!$B$1</c:f>
              <c:strCache>
                <c:ptCount val="1"/>
                <c:pt idx="0">
                  <c:v>PIB</c:v>
                </c:pt>
              </c:strCache>
            </c:strRef>
          </c:tx>
          <c:spPr>
            <a:solidFill>
              <a:srgbClr val="0070C0"/>
            </a:solidFill>
            <a:ln>
              <a:noFill/>
            </a:ln>
            <a:effectLst/>
          </c:spPr>
          <c:invertIfNegative val="0"/>
          <c:cat>
            <c:numRef>
              <c:f>Plan1!$A$2:$A$38</c:f>
              <c:numCache>
                <c:formatCode>mmm\-yy</c:formatCode>
                <c:ptCount val="37"/>
                <c:pt idx="0">
                  <c:v>41609</c:v>
                </c:pt>
                <c:pt idx="1">
                  <c:v>41640</c:v>
                </c:pt>
                <c:pt idx="2">
                  <c:v>41671</c:v>
                </c:pt>
                <c:pt idx="3">
                  <c:v>41699</c:v>
                </c:pt>
                <c:pt idx="4">
                  <c:v>41730</c:v>
                </c:pt>
                <c:pt idx="5">
                  <c:v>41760</c:v>
                </c:pt>
                <c:pt idx="6">
                  <c:v>41791</c:v>
                </c:pt>
                <c:pt idx="7">
                  <c:v>41821</c:v>
                </c:pt>
                <c:pt idx="8">
                  <c:v>41852</c:v>
                </c:pt>
                <c:pt idx="9">
                  <c:v>41883</c:v>
                </c:pt>
                <c:pt idx="10">
                  <c:v>41913</c:v>
                </c:pt>
                <c:pt idx="11">
                  <c:v>41944</c:v>
                </c:pt>
                <c:pt idx="12">
                  <c:v>41974</c:v>
                </c:pt>
                <c:pt idx="13">
                  <c:v>42005</c:v>
                </c:pt>
                <c:pt idx="14">
                  <c:v>42036</c:v>
                </c:pt>
                <c:pt idx="15">
                  <c:v>42064</c:v>
                </c:pt>
                <c:pt idx="16">
                  <c:v>42095</c:v>
                </c:pt>
                <c:pt idx="17">
                  <c:v>42125</c:v>
                </c:pt>
                <c:pt idx="18">
                  <c:v>42156</c:v>
                </c:pt>
                <c:pt idx="19">
                  <c:v>42186</c:v>
                </c:pt>
                <c:pt idx="20">
                  <c:v>42217</c:v>
                </c:pt>
                <c:pt idx="21">
                  <c:v>42248</c:v>
                </c:pt>
                <c:pt idx="22">
                  <c:v>42278</c:v>
                </c:pt>
                <c:pt idx="23">
                  <c:v>42309</c:v>
                </c:pt>
                <c:pt idx="24">
                  <c:v>42339</c:v>
                </c:pt>
                <c:pt idx="25">
                  <c:v>42370</c:v>
                </c:pt>
                <c:pt idx="26">
                  <c:v>42401</c:v>
                </c:pt>
                <c:pt idx="27">
                  <c:v>42430</c:v>
                </c:pt>
                <c:pt idx="28">
                  <c:v>42461</c:v>
                </c:pt>
                <c:pt idx="29">
                  <c:v>42491</c:v>
                </c:pt>
                <c:pt idx="30">
                  <c:v>42522</c:v>
                </c:pt>
                <c:pt idx="31">
                  <c:v>42552</c:v>
                </c:pt>
                <c:pt idx="32">
                  <c:v>42583</c:v>
                </c:pt>
                <c:pt idx="33">
                  <c:v>42614</c:v>
                </c:pt>
                <c:pt idx="34">
                  <c:v>42644</c:v>
                </c:pt>
                <c:pt idx="35">
                  <c:v>42675</c:v>
                </c:pt>
                <c:pt idx="36">
                  <c:v>42705</c:v>
                </c:pt>
              </c:numCache>
            </c:numRef>
          </c:cat>
          <c:val>
            <c:numRef>
              <c:f>Plan1!$B$2:$B$38</c:f>
              <c:numCache>
                <c:formatCode>General</c:formatCode>
                <c:ptCount val="37"/>
                <c:pt idx="3" formatCode="0.00%">
                  <c:v>3.2000000000000001E-2</c:v>
                </c:pt>
                <c:pt idx="6" formatCode="0.00%">
                  <c:v>2.1000000000000001E-2</c:v>
                </c:pt>
                <c:pt idx="9" formatCode="0.00%">
                  <c:v>1.2E-2</c:v>
                </c:pt>
                <c:pt idx="12" formatCode="0.00%">
                  <c:v>5.0000000000000001E-3</c:v>
                </c:pt>
                <c:pt idx="15" formatCode="0.00%">
                  <c:v>-8.0000000000000002E-3</c:v>
                </c:pt>
                <c:pt idx="18" formatCode="0.00%">
                  <c:v>-1.4147969246027826E-2</c:v>
                </c:pt>
                <c:pt idx="21" formatCode="0.00%">
                  <c:v>-2.3996120042740047E-2</c:v>
                </c:pt>
                <c:pt idx="24" formatCode="0.00%">
                  <c:v>-3.7692556174104226E-2</c:v>
                </c:pt>
                <c:pt idx="27" formatCode="0.00%">
                  <c:v>-4.6678938433238532E-2</c:v>
                </c:pt>
                <c:pt idx="30" formatCode="0.00%">
                  <c:v>-4.8325686509339646E-2</c:v>
                </c:pt>
                <c:pt idx="33" formatCode="0.00%">
                  <c:v>-4.4257810109256751E-2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0"/>
        <c:overlap val="100"/>
        <c:axId val="187358208"/>
        <c:axId val="187356288"/>
      </c:barChart>
      <c:lineChart>
        <c:grouping val="standard"/>
        <c:varyColors val="0"/>
        <c:ser>
          <c:idx val="1"/>
          <c:order val="1"/>
          <c:tx>
            <c:strRef>
              <c:f>Plan1!$C$1</c:f>
              <c:strCache>
                <c:ptCount val="1"/>
                <c:pt idx="0">
                  <c:v>IPCA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2"/>
              </a:solidFill>
              <a:ln w="9525">
                <a:solidFill>
                  <a:schemeClr val="accent2"/>
                </a:solidFill>
              </a:ln>
              <a:effectLst/>
            </c:spPr>
          </c:marker>
          <c:cat>
            <c:numRef>
              <c:f>Plan1!$A$2:$A$38</c:f>
              <c:numCache>
                <c:formatCode>mmm\-yy</c:formatCode>
                <c:ptCount val="37"/>
                <c:pt idx="0">
                  <c:v>41609</c:v>
                </c:pt>
                <c:pt idx="1">
                  <c:v>41640</c:v>
                </c:pt>
                <c:pt idx="2">
                  <c:v>41671</c:v>
                </c:pt>
                <c:pt idx="3">
                  <c:v>41699</c:v>
                </c:pt>
                <c:pt idx="4">
                  <c:v>41730</c:v>
                </c:pt>
                <c:pt idx="5">
                  <c:v>41760</c:v>
                </c:pt>
                <c:pt idx="6">
                  <c:v>41791</c:v>
                </c:pt>
                <c:pt idx="7">
                  <c:v>41821</c:v>
                </c:pt>
                <c:pt idx="8">
                  <c:v>41852</c:v>
                </c:pt>
                <c:pt idx="9">
                  <c:v>41883</c:v>
                </c:pt>
                <c:pt idx="10">
                  <c:v>41913</c:v>
                </c:pt>
                <c:pt idx="11">
                  <c:v>41944</c:v>
                </c:pt>
                <c:pt idx="12">
                  <c:v>41974</c:v>
                </c:pt>
                <c:pt idx="13">
                  <c:v>42005</c:v>
                </c:pt>
                <c:pt idx="14">
                  <c:v>42036</c:v>
                </c:pt>
                <c:pt idx="15">
                  <c:v>42064</c:v>
                </c:pt>
                <c:pt idx="16">
                  <c:v>42095</c:v>
                </c:pt>
                <c:pt idx="17">
                  <c:v>42125</c:v>
                </c:pt>
                <c:pt idx="18">
                  <c:v>42156</c:v>
                </c:pt>
                <c:pt idx="19">
                  <c:v>42186</c:v>
                </c:pt>
                <c:pt idx="20">
                  <c:v>42217</c:v>
                </c:pt>
                <c:pt idx="21">
                  <c:v>42248</c:v>
                </c:pt>
                <c:pt idx="22">
                  <c:v>42278</c:v>
                </c:pt>
                <c:pt idx="23">
                  <c:v>42309</c:v>
                </c:pt>
                <c:pt idx="24">
                  <c:v>42339</c:v>
                </c:pt>
                <c:pt idx="25">
                  <c:v>42370</c:v>
                </c:pt>
                <c:pt idx="26">
                  <c:v>42401</c:v>
                </c:pt>
                <c:pt idx="27">
                  <c:v>42430</c:v>
                </c:pt>
                <c:pt idx="28">
                  <c:v>42461</c:v>
                </c:pt>
                <c:pt idx="29">
                  <c:v>42491</c:v>
                </c:pt>
                <c:pt idx="30">
                  <c:v>42522</c:v>
                </c:pt>
                <c:pt idx="31">
                  <c:v>42552</c:v>
                </c:pt>
                <c:pt idx="32">
                  <c:v>42583</c:v>
                </c:pt>
                <c:pt idx="33">
                  <c:v>42614</c:v>
                </c:pt>
                <c:pt idx="34">
                  <c:v>42644</c:v>
                </c:pt>
                <c:pt idx="35">
                  <c:v>42675</c:v>
                </c:pt>
                <c:pt idx="36">
                  <c:v>42705</c:v>
                </c:pt>
              </c:numCache>
            </c:numRef>
          </c:cat>
          <c:val>
            <c:numRef>
              <c:f>Plan1!$C$2:$C$38</c:f>
              <c:numCache>
                <c:formatCode>0.00%</c:formatCode>
                <c:ptCount val="37"/>
                <c:pt idx="1">
                  <c:v>5.5850653925756166E-2</c:v>
                </c:pt>
                <c:pt idx="2">
                  <c:v>5.6795176240137524E-2</c:v>
                </c:pt>
                <c:pt idx="3">
                  <c:v>6.1528910091982913E-2</c:v>
                </c:pt>
                <c:pt idx="4">
                  <c:v>6.2795521878774352E-2</c:v>
                </c:pt>
                <c:pt idx="5">
                  <c:v>6.3748556504095832E-2</c:v>
                </c:pt>
                <c:pt idx="6">
                  <c:v>6.5232836013692452E-2</c:v>
                </c:pt>
                <c:pt idx="7">
                  <c:v>6.5022343107265623E-2</c:v>
                </c:pt>
                <c:pt idx="8">
                  <c:v>6.5129698466163122E-2</c:v>
                </c:pt>
                <c:pt idx="9">
                  <c:v>6.7464743152562567E-2</c:v>
                </c:pt>
                <c:pt idx="10">
                  <c:v>6.5872403797569312E-2</c:v>
                </c:pt>
                <c:pt idx="11">
                  <c:v>6.5552913418734038E-2</c:v>
                </c:pt>
                <c:pt idx="12">
                  <c:v>6.4074707959081545E-2</c:v>
                </c:pt>
                <c:pt idx="13">
                  <c:v>7.1377369753178099E-2</c:v>
                </c:pt>
                <c:pt idx="14">
                  <c:v>7.7015874330803147E-2</c:v>
                </c:pt>
                <c:pt idx="15">
                  <c:v>8.1285046609104405E-2</c:v>
                </c:pt>
                <c:pt idx="16">
                  <c:v>8.1714868136068208E-2</c:v>
                </c:pt>
                <c:pt idx="17">
                  <c:v>8.4729426386475737E-2</c:v>
                </c:pt>
                <c:pt idx="18">
                  <c:v>8.894429960185124E-2</c:v>
                </c:pt>
                <c:pt idx="19">
                  <c:v>9.5583926117532858E-2</c:v>
                </c:pt>
                <c:pt idx="20">
                  <c:v>9.5254773699673834E-2</c:v>
                </c:pt>
                <c:pt idx="21">
                  <c:v>9.4927892083663146E-2</c:v>
                </c:pt>
                <c:pt idx="22">
                  <c:v>9.9288922155688519E-2</c:v>
                </c:pt>
                <c:pt idx="23">
                  <c:v>0.10475767294535854</c:v>
                </c:pt>
                <c:pt idx="24">
                  <c:v>0.1067302813397506</c:v>
                </c:pt>
                <c:pt idx="25">
                  <c:v>0.10705805070312868</c:v>
                </c:pt>
                <c:pt idx="26">
                  <c:v>0.10355884374834745</c:v>
                </c:pt>
                <c:pt idx="27">
                  <c:v>9.3863723708620617E-2</c:v>
                </c:pt>
                <c:pt idx="28">
                  <c:v>9.277794397895045E-2</c:v>
                </c:pt>
                <c:pt idx="29">
                  <c:v>9.3211897301594515E-2</c:v>
                </c:pt>
                <c:pt idx="30">
                  <c:v>8.8444570099512843E-2</c:v>
                </c:pt>
                <c:pt idx="31">
                  <c:v>8.7362832303747237E-2</c:v>
                </c:pt>
                <c:pt idx="32">
                  <c:v>8.9749779251530548E-2</c:v>
                </c:pt>
                <c:pt idx="33">
                  <c:v>8.4763854261917113E-2</c:v>
                </c:pt>
                <c:pt idx="34">
                  <c:v>7.8738583895058695E-2</c:v>
                </c:pt>
                <c:pt idx="35">
                  <c:v>6.9874580087189178E-2</c:v>
                </c:pt>
                <c:pt idx="36">
                  <c:v>6.2880550542244715E-2</c:v>
                </c:pt>
              </c:numCache>
            </c:numRef>
          </c:val>
          <c:smooth val="0"/>
        </c:ser>
        <c:ser>
          <c:idx val="2"/>
          <c:order val="2"/>
          <c:tx>
            <c:strRef>
              <c:f>Plan1!$D$1</c:f>
              <c:strCache>
                <c:ptCount val="1"/>
                <c:pt idx="0">
                  <c:v>SELIC</c:v>
                </c:pt>
              </c:strCache>
            </c:strRef>
          </c:tx>
          <c:spPr>
            <a:ln w="28575" cap="rnd">
              <a:solidFill>
                <a:srgbClr val="FF0000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rgbClr val="FF0000"/>
              </a:solidFill>
              <a:ln w="9525">
                <a:solidFill>
                  <a:srgbClr val="FF0000"/>
                </a:solidFill>
              </a:ln>
              <a:effectLst/>
            </c:spPr>
          </c:marker>
          <c:cat>
            <c:numRef>
              <c:f>Plan1!$A$2:$A$38</c:f>
              <c:numCache>
                <c:formatCode>mmm\-yy</c:formatCode>
                <c:ptCount val="37"/>
                <c:pt idx="0">
                  <c:v>41609</c:v>
                </c:pt>
                <c:pt idx="1">
                  <c:v>41640</c:v>
                </c:pt>
                <c:pt idx="2">
                  <c:v>41671</c:v>
                </c:pt>
                <c:pt idx="3">
                  <c:v>41699</c:v>
                </c:pt>
                <c:pt idx="4">
                  <c:v>41730</c:v>
                </c:pt>
                <c:pt idx="5">
                  <c:v>41760</c:v>
                </c:pt>
                <c:pt idx="6">
                  <c:v>41791</c:v>
                </c:pt>
                <c:pt idx="7">
                  <c:v>41821</c:v>
                </c:pt>
                <c:pt idx="8">
                  <c:v>41852</c:v>
                </c:pt>
                <c:pt idx="9">
                  <c:v>41883</c:v>
                </c:pt>
                <c:pt idx="10">
                  <c:v>41913</c:v>
                </c:pt>
                <c:pt idx="11">
                  <c:v>41944</c:v>
                </c:pt>
                <c:pt idx="12">
                  <c:v>41974</c:v>
                </c:pt>
                <c:pt idx="13">
                  <c:v>42005</c:v>
                </c:pt>
                <c:pt idx="14">
                  <c:v>42036</c:v>
                </c:pt>
                <c:pt idx="15">
                  <c:v>42064</c:v>
                </c:pt>
                <c:pt idx="16">
                  <c:v>42095</c:v>
                </c:pt>
                <c:pt idx="17">
                  <c:v>42125</c:v>
                </c:pt>
                <c:pt idx="18">
                  <c:v>42156</c:v>
                </c:pt>
                <c:pt idx="19">
                  <c:v>42186</c:v>
                </c:pt>
                <c:pt idx="20">
                  <c:v>42217</c:v>
                </c:pt>
                <c:pt idx="21">
                  <c:v>42248</c:v>
                </c:pt>
                <c:pt idx="22">
                  <c:v>42278</c:v>
                </c:pt>
                <c:pt idx="23">
                  <c:v>42309</c:v>
                </c:pt>
                <c:pt idx="24">
                  <c:v>42339</c:v>
                </c:pt>
                <c:pt idx="25">
                  <c:v>42370</c:v>
                </c:pt>
                <c:pt idx="26">
                  <c:v>42401</c:v>
                </c:pt>
                <c:pt idx="27">
                  <c:v>42430</c:v>
                </c:pt>
                <c:pt idx="28">
                  <c:v>42461</c:v>
                </c:pt>
                <c:pt idx="29">
                  <c:v>42491</c:v>
                </c:pt>
                <c:pt idx="30">
                  <c:v>42522</c:v>
                </c:pt>
                <c:pt idx="31">
                  <c:v>42552</c:v>
                </c:pt>
                <c:pt idx="32">
                  <c:v>42583</c:v>
                </c:pt>
                <c:pt idx="33">
                  <c:v>42614</c:v>
                </c:pt>
                <c:pt idx="34">
                  <c:v>42644</c:v>
                </c:pt>
                <c:pt idx="35">
                  <c:v>42675</c:v>
                </c:pt>
                <c:pt idx="36">
                  <c:v>42705</c:v>
                </c:pt>
              </c:numCache>
            </c:numRef>
          </c:cat>
          <c:val>
            <c:numRef>
              <c:f>Plan1!$D$2:$D$38</c:f>
              <c:numCache>
                <c:formatCode>0.00%</c:formatCode>
                <c:ptCount val="37"/>
                <c:pt idx="1">
                  <c:v>0.105</c:v>
                </c:pt>
                <c:pt idx="2">
                  <c:v>0.1075</c:v>
                </c:pt>
                <c:pt idx="3">
                  <c:v>0.1075</c:v>
                </c:pt>
                <c:pt idx="4">
                  <c:v>0.11</c:v>
                </c:pt>
                <c:pt idx="5">
                  <c:v>0.11</c:v>
                </c:pt>
                <c:pt idx="6">
                  <c:v>0.11</c:v>
                </c:pt>
                <c:pt idx="7">
                  <c:v>0.11</c:v>
                </c:pt>
                <c:pt idx="8">
                  <c:v>0.11</c:v>
                </c:pt>
                <c:pt idx="9">
                  <c:v>0.11</c:v>
                </c:pt>
                <c:pt idx="10">
                  <c:v>0.1125</c:v>
                </c:pt>
                <c:pt idx="11">
                  <c:v>0.1125</c:v>
                </c:pt>
                <c:pt idx="12">
                  <c:v>0.11749999999999999</c:v>
                </c:pt>
                <c:pt idx="13">
                  <c:v>0.1225</c:v>
                </c:pt>
                <c:pt idx="14">
                  <c:v>0.1225</c:v>
                </c:pt>
                <c:pt idx="15">
                  <c:v>0.1275</c:v>
                </c:pt>
                <c:pt idx="16">
                  <c:v>0.13250000000000001</c:v>
                </c:pt>
                <c:pt idx="17">
                  <c:v>0.13250000000000001</c:v>
                </c:pt>
                <c:pt idx="18">
                  <c:v>0.13750000000000001</c:v>
                </c:pt>
                <c:pt idx="19">
                  <c:v>0.14249999999999999</c:v>
                </c:pt>
                <c:pt idx="20">
                  <c:v>0.14249999999999999</c:v>
                </c:pt>
                <c:pt idx="21">
                  <c:v>0.14249999999999999</c:v>
                </c:pt>
                <c:pt idx="22">
                  <c:v>0.14249999999999999</c:v>
                </c:pt>
                <c:pt idx="23">
                  <c:v>0.14249999999999999</c:v>
                </c:pt>
                <c:pt idx="24">
                  <c:v>0.14249999999999999</c:v>
                </c:pt>
                <c:pt idx="25">
                  <c:v>0.14249999999999999</c:v>
                </c:pt>
                <c:pt idx="26">
                  <c:v>0.14249999999999999</c:v>
                </c:pt>
                <c:pt idx="27">
                  <c:v>0.14249999999999999</c:v>
                </c:pt>
                <c:pt idx="28">
                  <c:v>0.14249999999999999</c:v>
                </c:pt>
                <c:pt idx="29">
                  <c:v>0.14249999999999999</c:v>
                </c:pt>
                <c:pt idx="30">
                  <c:v>0.14249999999999999</c:v>
                </c:pt>
                <c:pt idx="31">
                  <c:v>0.14249999999999999</c:v>
                </c:pt>
                <c:pt idx="32">
                  <c:v>0.14249999999999999</c:v>
                </c:pt>
                <c:pt idx="33">
                  <c:v>0.14249999999999999</c:v>
                </c:pt>
                <c:pt idx="34">
                  <c:v>0.14000000000000001</c:v>
                </c:pt>
                <c:pt idx="35">
                  <c:v>0.14000000000000001</c:v>
                </c:pt>
                <c:pt idx="36">
                  <c:v>0.13750000000000001</c:v>
                </c:pt>
              </c:numCache>
            </c:numRef>
          </c:val>
          <c:smooth val="0"/>
        </c:ser>
        <c:ser>
          <c:idx val="3"/>
          <c:order val="3"/>
          <c:tx>
            <c:strRef>
              <c:f>Plan1!$E$1</c:f>
              <c:strCache>
                <c:ptCount val="1"/>
                <c:pt idx="0">
                  <c:v>Desocupados</c:v>
                </c:pt>
              </c:strCache>
            </c:strRef>
          </c:tx>
          <c:spPr>
            <a:ln w="47625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rgbClr val="00B050"/>
              </a:solidFill>
              <a:ln w="53975">
                <a:solidFill>
                  <a:srgbClr val="00B050"/>
                </a:solidFill>
              </a:ln>
              <a:effectLst/>
            </c:spPr>
          </c:marker>
          <c:cat>
            <c:numRef>
              <c:f>Plan1!$A$2:$A$38</c:f>
              <c:numCache>
                <c:formatCode>mmm\-yy</c:formatCode>
                <c:ptCount val="37"/>
                <c:pt idx="0">
                  <c:v>41609</c:v>
                </c:pt>
                <c:pt idx="1">
                  <c:v>41640</c:v>
                </c:pt>
                <c:pt idx="2">
                  <c:v>41671</c:v>
                </c:pt>
                <c:pt idx="3">
                  <c:v>41699</c:v>
                </c:pt>
                <c:pt idx="4">
                  <c:v>41730</c:v>
                </c:pt>
                <c:pt idx="5">
                  <c:v>41760</c:v>
                </c:pt>
                <c:pt idx="6">
                  <c:v>41791</c:v>
                </c:pt>
                <c:pt idx="7">
                  <c:v>41821</c:v>
                </c:pt>
                <c:pt idx="8">
                  <c:v>41852</c:v>
                </c:pt>
                <c:pt idx="9">
                  <c:v>41883</c:v>
                </c:pt>
                <c:pt idx="10">
                  <c:v>41913</c:v>
                </c:pt>
                <c:pt idx="11">
                  <c:v>41944</c:v>
                </c:pt>
                <c:pt idx="12">
                  <c:v>41974</c:v>
                </c:pt>
                <c:pt idx="13">
                  <c:v>42005</c:v>
                </c:pt>
                <c:pt idx="14">
                  <c:v>42036</c:v>
                </c:pt>
                <c:pt idx="15">
                  <c:v>42064</c:v>
                </c:pt>
                <c:pt idx="16">
                  <c:v>42095</c:v>
                </c:pt>
                <c:pt idx="17">
                  <c:v>42125</c:v>
                </c:pt>
                <c:pt idx="18">
                  <c:v>42156</c:v>
                </c:pt>
                <c:pt idx="19">
                  <c:v>42186</c:v>
                </c:pt>
                <c:pt idx="20">
                  <c:v>42217</c:v>
                </c:pt>
                <c:pt idx="21">
                  <c:v>42248</c:v>
                </c:pt>
                <c:pt idx="22">
                  <c:v>42278</c:v>
                </c:pt>
                <c:pt idx="23">
                  <c:v>42309</c:v>
                </c:pt>
                <c:pt idx="24">
                  <c:v>42339</c:v>
                </c:pt>
                <c:pt idx="25">
                  <c:v>42370</c:v>
                </c:pt>
                <c:pt idx="26">
                  <c:v>42401</c:v>
                </c:pt>
                <c:pt idx="27">
                  <c:v>42430</c:v>
                </c:pt>
                <c:pt idx="28">
                  <c:v>42461</c:v>
                </c:pt>
                <c:pt idx="29">
                  <c:v>42491</c:v>
                </c:pt>
                <c:pt idx="30">
                  <c:v>42522</c:v>
                </c:pt>
                <c:pt idx="31">
                  <c:v>42552</c:v>
                </c:pt>
                <c:pt idx="32">
                  <c:v>42583</c:v>
                </c:pt>
                <c:pt idx="33">
                  <c:v>42614</c:v>
                </c:pt>
                <c:pt idx="34">
                  <c:v>42644</c:v>
                </c:pt>
                <c:pt idx="35">
                  <c:v>42675</c:v>
                </c:pt>
                <c:pt idx="36">
                  <c:v>42705</c:v>
                </c:pt>
              </c:numCache>
            </c:numRef>
          </c:cat>
          <c:val>
            <c:numRef>
              <c:f>Plan1!$E$2:$E$38</c:f>
              <c:numCache>
                <c:formatCode>General</c:formatCode>
                <c:ptCount val="37"/>
                <c:pt idx="3" formatCode="0.00%">
                  <c:v>7.1704628466501164E-2</c:v>
                </c:pt>
                <c:pt idx="6" formatCode="0.00%">
                  <c:v>6.848011725910419E-2</c:v>
                </c:pt>
                <c:pt idx="9" formatCode="0.00%">
                  <c:v>6.7742917236337408E-2</c:v>
                </c:pt>
                <c:pt idx="12" formatCode="0.00%">
                  <c:v>6.4956335656304875E-2</c:v>
                </c:pt>
                <c:pt idx="15" formatCode="0.00%">
                  <c:v>7.9369791191296724E-2</c:v>
                </c:pt>
                <c:pt idx="18" formatCode="0.00%">
                  <c:v>8.3073322524850793E-2</c:v>
                </c:pt>
                <c:pt idx="21" formatCode="0.00%">
                  <c:v>8.8839663682172332E-2</c:v>
                </c:pt>
                <c:pt idx="24" formatCode="0.00%">
                  <c:v>8.9647163523366866E-2</c:v>
                </c:pt>
                <c:pt idx="27" formatCode="0.00%">
                  <c:v>0.10900599514270726</c:v>
                </c:pt>
                <c:pt idx="30" formatCode="0.00%">
                  <c:v>0.11316221284575714</c:v>
                </c:pt>
                <c:pt idx="33" formatCode="0.00%">
                  <c:v>0.11802821602835348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87348096"/>
        <c:axId val="187350016"/>
      </c:lineChart>
      <c:dateAx>
        <c:axId val="187348096"/>
        <c:scaling>
          <c:orientation val="minMax"/>
        </c:scaling>
        <c:delete val="0"/>
        <c:axPos val="b"/>
        <c:numFmt formatCode="mmm\-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5400000" spcFirstLastPara="1" vertOverflow="ellipsis" vert="horz" wrap="square" anchor="ctr" anchorCtr="1"/>
          <a:lstStyle/>
          <a:p>
            <a:pPr>
              <a:defRPr sz="1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pPr>
            <a:endParaRPr lang="pt-BR"/>
          </a:p>
        </c:txPr>
        <c:crossAx val="187350016"/>
        <c:crosses val="autoZero"/>
        <c:auto val="1"/>
        <c:lblOffset val="100"/>
        <c:baseTimeUnit val="months"/>
        <c:majorUnit val="3"/>
        <c:majorTimeUnit val="months"/>
      </c:dateAx>
      <c:valAx>
        <c:axId val="187350016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0" vert="wordArtVert"/>
              <a:lstStyle/>
              <a:p>
                <a:pPr>
                  <a:defRPr sz="1600" b="0">
                    <a:latin typeface="Arial" pitchFamily="34" charset="0"/>
                    <a:cs typeface="Arial" pitchFamily="34" charset="0"/>
                  </a:defRPr>
                </a:pPr>
                <a:r>
                  <a:rPr lang="pt-BR" sz="1600" b="0" dirty="0" smtClean="0">
                    <a:latin typeface="Arial" pitchFamily="34" charset="0"/>
                    <a:cs typeface="Arial" pitchFamily="34" charset="0"/>
                  </a:rPr>
                  <a:t>IPCA / SELIC / Desocupados</a:t>
                </a:r>
                <a:endParaRPr lang="pt-BR" sz="1600" b="0" dirty="0">
                  <a:latin typeface="Arial" pitchFamily="34" charset="0"/>
                  <a:cs typeface="Arial" pitchFamily="34" charset="0"/>
                </a:endParaRPr>
              </a:p>
            </c:rich>
          </c:tx>
          <c:layout/>
          <c:overlay val="0"/>
        </c:title>
        <c:numFmt formatCode="0%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pPr>
            <a:endParaRPr lang="pt-BR"/>
          </a:p>
        </c:txPr>
        <c:crossAx val="187348096"/>
        <c:crosses val="autoZero"/>
        <c:crossBetween val="between"/>
      </c:valAx>
      <c:valAx>
        <c:axId val="187356288"/>
        <c:scaling>
          <c:orientation val="minMax"/>
        </c:scaling>
        <c:delete val="0"/>
        <c:axPos val="r"/>
        <c:title>
          <c:tx>
            <c:rich>
              <a:bodyPr rot="0" vert="wordArtVert"/>
              <a:lstStyle/>
              <a:p>
                <a:pPr>
                  <a:defRPr sz="1600" b="0">
                    <a:latin typeface="Arial" pitchFamily="34" charset="0"/>
                    <a:cs typeface="Arial" pitchFamily="34" charset="0"/>
                  </a:defRPr>
                </a:pPr>
                <a:r>
                  <a:rPr lang="pt-BR" sz="1600" b="0" dirty="0" smtClean="0">
                    <a:latin typeface="Arial" pitchFamily="34" charset="0"/>
                    <a:cs typeface="Arial" pitchFamily="34" charset="0"/>
                  </a:rPr>
                  <a:t>PIB</a:t>
                </a:r>
                <a:endParaRPr lang="pt-BR" sz="1600" b="0" dirty="0">
                  <a:latin typeface="Arial" pitchFamily="34" charset="0"/>
                  <a:cs typeface="Arial" pitchFamily="34" charset="0"/>
                </a:endParaRPr>
              </a:p>
            </c:rich>
          </c:tx>
          <c:layout/>
          <c:overlay val="0"/>
        </c:title>
        <c:numFmt formatCode="0%" sourceLinked="0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pPr>
            <a:endParaRPr lang="pt-BR"/>
          </a:p>
        </c:txPr>
        <c:crossAx val="187358208"/>
        <c:crosses val="max"/>
        <c:crossBetween val="between"/>
      </c:valAx>
      <c:dateAx>
        <c:axId val="187358208"/>
        <c:scaling>
          <c:orientation val="minMax"/>
        </c:scaling>
        <c:delete val="1"/>
        <c:axPos val="b"/>
        <c:numFmt formatCode="mmm\-yy" sourceLinked="1"/>
        <c:majorTickMark val="out"/>
        <c:minorTickMark val="none"/>
        <c:tickLblPos val="nextTo"/>
        <c:crossAx val="187356288"/>
        <c:crosses val="autoZero"/>
        <c:auto val="1"/>
        <c:lblOffset val="100"/>
        <c:baseTimeUnit val="months"/>
      </c:date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6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Arial" pitchFamily="34" charset="0"/>
              <a:ea typeface="+mn-ea"/>
              <a:cs typeface="Arial" pitchFamily="34" charset="0"/>
            </a:defRPr>
          </a:pPr>
          <a:endParaRPr lang="pt-BR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pt-BR"/>
    </a:p>
  </c:txPr>
  <c:externalData r:id="rId1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2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pPr>
            <a:r>
              <a:rPr lang="pt-BR" sz="2400" dirty="0" smtClean="0">
                <a:latin typeface="Arial" pitchFamily="34" charset="0"/>
                <a:cs typeface="Arial" pitchFamily="34" charset="0"/>
              </a:rPr>
              <a:t>Operações de crédito -  R$ (trilhões) </a:t>
            </a:r>
            <a:endParaRPr lang="pt-BR" sz="2400" dirty="0">
              <a:latin typeface="Arial" pitchFamily="34" charset="0"/>
              <a:cs typeface="Arial" pitchFamily="34" charset="0"/>
            </a:endParaRPr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/>
      <c:areaChart>
        <c:grouping val="stacked"/>
        <c:varyColors val="0"/>
        <c:ser>
          <c:idx val="0"/>
          <c:order val="0"/>
          <c:tx>
            <c:strRef>
              <c:f>Plan1!$B$1</c:f>
              <c:strCache>
                <c:ptCount val="1"/>
                <c:pt idx="0">
                  <c:v>Recursos Livres</c:v>
                </c:pt>
              </c:strCache>
            </c:strRef>
          </c:tx>
          <c:spPr>
            <a:solidFill>
              <a:srgbClr val="00B0F0"/>
            </a:solidFill>
            <a:ln>
              <a:solidFill>
                <a:srgbClr val="00B0F0"/>
              </a:solidFill>
            </a:ln>
            <a:effectLst/>
          </c:spPr>
          <c:cat>
            <c:numRef>
              <c:f>Plan1!$A$2:$A$118</c:f>
              <c:numCache>
                <c:formatCode>mmm\-yy</c:formatCode>
                <c:ptCount val="117"/>
                <c:pt idx="0">
                  <c:v>39142</c:v>
                </c:pt>
                <c:pt idx="1">
                  <c:v>39173</c:v>
                </c:pt>
                <c:pt idx="2">
                  <c:v>39203</c:v>
                </c:pt>
                <c:pt idx="3">
                  <c:v>39234</c:v>
                </c:pt>
                <c:pt idx="4">
                  <c:v>39264</c:v>
                </c:pt>
                <c:pt idx="5">
                  <c:v>39295</c:v>
                </c:pt>
                <c:pt idx="6">
                  <c:v>39326</c:v>
                </c:pt>
                <c:pt idx="7">
                  <c:v>39356</c:v>
                </c:pt>
                <c:pt idx="8">
                  <c:v>39387</c:v>
                </c:pt>
                <c:pt idx="9">
                  <c:v>39417</c:v>
                </c:pt>
                <c:pt idx="10">
                  <c:v>39448</c:v>
                </c:pt>
                <c:pt idx="11">
                  <c:v>39479</c:v>
                </c:pt>
                <c:pt idx="12">
                  <c:v>39508</c:v>
                </c:pt>
                <c:pt idx="13">
                  <c:v>39539</c:v>
                </c:pt>
                <c:pt idx="14">
                  <c:v>39569</c:v>
                </c:pt>
                <c:pt idx="15">
                  <c:v>39600</c:v>
                </c:pt>
                <c:pt idx="16">
                  <c:v>39630</c:v>
                </c:pt>
                <c:pt idx="17">
                  <c:v>39661</c:v>
                </c:pt>
                <c:pt idx="18">
                  <c:v>39692</c:v>
                </c:pt>
                <c:pt idx="19">
                  <c:v>39722</c:v>
                </c:pt>
                <c:pt idx="20">
                  <c:v>39753</c:v>
                </c:pt>
                <c:pt idx="21">
                  <c:v>39783</c:v>
                </c:pt>
                <c:pt idx="22">
                  <c:v>39814</c:v>
                </c:pt>
                <c:pt idx="23">
                  <c:v>39845</c:v>
                </c:pt>
                <c:pt idx="24">
                  <c:v>39873</c:v>
                </c:pt>
                <c:pt idx="25">
                  <c:v>39904</c:v>
                </c:pt>
                <c:pt idx="26">
                  <c:v>39934</c:v>
                </c:pt>
                <c:pt idx="27">
                  <c:v>39965</c:v>
                </c:pt>
                <c:pt idx="28">
                  <c:v>39995</c:v>
                </c:pt>
                <c:pt idx="29">
                  <c:v>40026</c:v>
                </c:pt>
                <c:pt idx="30">
                  <c:v>40057</c:v>
                </c:pt>
                <c:pt idx="31">
                  <c:v>40087</c:v>
                </c:pt>
                <c:pt idx="32">
                  <c:v>40118</c:v>
                </c:pt>
                <c:pt idx="33">
                  <c:v>40148</c:v>
                </c:pt>
                <c:pt idx="34">
                  <c:v>40179</c:v>
                </c:pt>
                <c:pt idx="35">
                  <c:v>40210</c:v>
                </c:pt>
                <c:pt idx="36">
                  <c:v>40238</c:v>
                </c:pt>
                <c:pt idx="37">
                  <c:v>40269</c:v>
                </c:pt>
                <c:pt idx="38">
                  <c:v>40299</c:v>
                </c:pt>
                <c:pt idx="39">
                  <c:v>40330</c:v>
                </c:pt>
                <c:pt idx="40">
                  <c:v>40360</c:v>
                </c:pt>
                <c:pt idx="41">
                  <c:v>40391</c:v>
                </c:pt>
                <c:pt idx="42">
                  <c:v>40422</c:v>
                </c:pt>
                <c:pt idx="43">
                  <c:v>40452</c:v>
                </c:pt>
                <c:pt idx="44">
                  <c:v>40483</c:v>
                </c:pt>
                <c:pt idx="45">
                  <c:v>40513</c:v>
                </c:pt>
                <c:pt idx="46">
                  <c:v>40544</c:v>
                </c:pt>
                <c:pt idx="47">
                  <c:v>40575</c:v>
                </c:pt>
                <c:pt idx="48">
                  <c:v>40603</c:v>
                </c:pt>
                <c:pt idx="49">
                  <c:v>40634</c:v>
                </c:pt>
                <c:pt idx="50">
                  <c:v>40664</c:v>
                </c:pt>
                <c:pt idx="51">
                  <c:v>40695</c:v>
                </c:pt>
                <c:pt idx="52">
                  <c:v>40725</c:v>
                </c:pt>
                <c:pt idx="53">
                  <c:v>40756</c:v>
                </c:pt>
                <c:pt idx="54">
                  <c:v>40787</c:v>
                </c:pt>
                <c:pt idx="55">
                  <c:v>40817</c:v>
                </c:pt>
                <c:pt idx="56">
                  <c:v>40848</c:v>
                </c:pt>
                <c:pt idx="57">
                  <c:v>40878</c:v>
                </c:pt>
                <c:pt idx="58">
                  <c:v>40909</c:v>
                </c:pt>
                <c:pt idx="59">
                  <c:v>40940</c:v>
                </c:pt>
                <c:pt idx="60">
                  <c:v>40969</c:v>
                </c:pt>
                <c:pt idx="61">
                  <c:v>41000</c:v>
                </c:pt>
                <c:pt idx="62">
                  <c:v>41030</c:v>
                </c:pt>
                <c:pt idx="63">
                  <c:v>41061</c:v>
                </c:pt>
                <c:pt idx="64">
                  <c:v>41091</c:v>
                </c:pt>
                <c:pt idx="65">
                  <c:v>41122</c:v>
                </c:pt>
                <c:pt idx="66">
                  <c:v>41153</c:v>
                </c:pt>
                <c:pt idx="67">
                  <c:v>41183</c:v>
                </c:pt>
                <c:pt idx="68">
                  <c:v>41214</c:v>
                </c:pt>
                <c:pt idx="69">
                  <c:v>41244</c:v>
                </c:pt>
                <c:pt idx="70">
                  <c:v>41275</c:v>
                </c:pt>
                <c:pt idx="71">
                  <c:v>41306</c:v>
                </c:pt>
                <c:pt idx="72">
                  <c:v>41334</c:v>
                </c:pt>
                <c:pt idx="73">
                  <c:v>41365</c:v>
                </c:pt>
                <c:pt idx="74">
                  <c:v>41395</c:v>
                </c:pt>
                <c:pt idx="75">
                  <c:v>41426</c:v>
                </c:pt>
                <c:pt idx="76">
                  <c:v>41456</c:v>
                </c:pt>
                <c:pt idx="77">
                  <c:v>41487</c:v>
                </c:pt>
                <c:pt idx="78">
                  <c:v>41518</c:v>
                </c:pt>
                <c:pt idx="79">
                  <c:v>41548</c:v>
                </c:pt>
                <c:pt idx="80">
                  <c:v>41579</c:v>
                </c:pt>
                <c:pt idx="81">
                  <c:v>41609</c:v>
                </c:pt>
                <c:pt idx="82">
                  <c:v>41640</c:v>
                </c:pt>
                <c:pt idx="83">
                  <c:v>41671</c:v>
                </c:pt>
                <c:pt idx="84">
                  <c:v>41699</c:v>
                </c:pt>
                <c:pt idx="85">
                  <c:v>41730</c:v>
                </c:pt>
                <c:pt idx="86">
                  <c:v>41760</c:v>
                </c:pt>
                <c:pt idx="87">
                  <c:v>41791</c:v>
                </c:pt>
                <c:pt idx="88">
                  <c:v>41821</c:v>
                </c:pt>
                <c:pt idx="89">
                  <c:v>41852</c:v>
                </c:pt>
                <c:pt idx="90">
                  <c:v>41883</c:v>
                </c:pt>
                <c:pt idx="91">
                  <c:v>41913</c:v>
                </c:pt>
                <c:pt idx="92">
                  <c:v>41944</c:v>
                </c:pt>
                <c:pt idx="93">
                  <c:v>41974</c:v>
                </c:pt>
                <c:pt idx="94">
                  <c:v>42005</c:v>
                </c:pt>
                <c:pt idx="95">
                  <c:v>42036</c:v>
                </c:pt>
                <c:pt idx="96">
                  <c:v>42064</c:v>
                </c:pt>
                <c:pt idx="97">
                  <c:v>42095</c:v>
                </c:pt>
                <c:pt idx="98">
                  <c:v>42125</c:v>
                </c:pt>
                <c:pt idx="99">
                  <c:v>42156</c:v>
                </c:pt>
                <c:pt idx="100">
                  <c:v>42186</c:v>
                </c:pt>
                <c:pt idx="101">
                  <c:v>42217</c:v>
                </c:pt>
                <c:pt idx="102">
                  <c:v>42248</c:v>
                </c:pt>
                <c:pt idx="103">
                  <c:v>42278</c:v>
                </c:pt>
                <c:pt idx="104">
                  <c:v>42309</c:v>
                </c:pt>
                <c:pt idx="105">
                  <c:v>42339</c:v>
                </c:pt>
                <c:pt idx="106">
                  <c:v>42370</c:v>
                </c:pt>
                <c:pt idx="107">
                  <c:v>42401</c:v>
                </c:pt>
                <c:pt idx="108">
                  <c:v>42430</c:v>
                </c:pt>
                <c:pt idx="109">
                  <c:v>42461</c:v>
                </c:pt>
                <c:pt idx="110" formatCode="m/d/yyyy">
                  <c:v>42491</c:v>
                </c:pt>
                <c:pt idx="111" formatCode="m/d/yyyy">
                  <c:v>42522</c:v>
                </c:pt>
                <c:pt idx="112" formatCode="m/d/yyyy">
                  <c:v>42552</c:v>
                </c:pt>
                <c:pt idx="113" formatCode="m/d/yyyy">
                  <c:v>42583</c:v>
                </c:pt>
                <c:pt idx="114" formatCode="m/d/yyyy">
                  <c:v>42614</c:v>
                </c:pt>
                <c:pt idx="115" formatCode="m/d/yyyy">
                  <c:v>42644</c:v>
                </c:pt>
                <c:pt idx="116" formatCode="m/d/yyyy">
                  <c:v>42675</c:v>
                </c:pt>
              </c:numCache>
            </c:numRef>
          </c:cat>
          <c:val>
            <c:numRef>
              <c:f>Plan1!$B$2:$B$118</c:f>
              <c:numCache>
                <c:formatCode>_(* #,##0.00_);_(* \(#,##0.00\);_(* "-"??_);_(@_)</c:formatCode>
                <c:ptCount val="117"/>
                <c:pt idx="0">
                  <c:v>0.88459062419747114</c:v>
                </c:pt>
                <c:pt idx="1">
                  <c:v>0.90989813603315117</c:v>
                </c:pt>
                <c:pt idx="2">
                  <c:v>0.92331491733441529</c:v>
                </c:pt>
                <c:pt idx="3">
                  <c:v>0.93934253729330397</c:v>
                </c:pt>
                <c:pt idx="4">
                  <c:v>0.96618779635173158</c:v>
                </c:pt>
                <c:pt idx="5">
                  <c:v>0.99364766408641658</c:v>
                </c:pt>
                <c:pt idx="6">
                  <c:v>1.0131780516187003</c:v>
                </c:pt>
                <c:pt idx="7">
                  <c:v>1.0376034714525282</c:v>
                </c:pt>
                <c:pt idx="8">
                  <c:v>1.0694535138573877</c:v>
                </c:pt>
                <c:pt idx="9">
                  <c:v>1.0970847371889207</c:v>
                </c:pt>
                <c:pt idx="10">
                  <c:v>1.1077418362056095</c:v>
                </c:pt>
                <c:pt idx="11">
                  <c:v>1.1251377056557832</c:v>
                </c:pt>
                <c:pt idx="12">
                  <c:v>1.1637457888701372</c:v>
                </c:pt>
                <c:pt idx="13">
                  <c:v>1.189558355036886</c:v>
                </c:pt>
                <c:pt idx="14">
                  <c:v>1.2141112182425025</c:v>
                </c:pt>
                <c:pt idx="15">
                  <c:v>1.2326344913745604</c:v>
                </c:pt>
                <c:pt idx="16">
                  <c:v>1.2537789768319418</c:v>
                </c:pt>
                <c:pt idx="17">
                  <c:v>1.2816765820757989</c:v>
                </c:pt>
                <c:pt idx="18">
                  <c:v>1.3256253728573675</c:v>
                </c:pt>
                <c:pt idx="19">
                  <c:v>1.3536535842584443</c:v>
                </c:pt>
                <c:pt idx="20">
                  <c:v>1.3668516338854262</c:v>
                </c:pt>
                <c:pt idx="21">
                  <c:v>1.3754780677253653</c:v>
                </c:pt>
                <c:pt idx="22">
                  <c:v>1.3609727998720216</c:v>
                </c:pt>
                <c:pt idx="23">
                  <c:v>1.350528672439808</c:v>
                </c:pt>
                <c:pt idx="24">
                  <c:v>1.3608014346592363</c:v>
                </c:pt>
                <c:pt idx="25">
                  <c:v>1.3611222954635818</c:v>
                </c:pt>
                <c:pt idx="26">
                  <c:v>1.3693998215771563</c:v>
                </c:pt>
                <c:pt idx="27">
                  <c:v>1.3749287137946142</c:v>
                </c:pt>
                <c:pt idx="28">
                  <c:v>1.3686651175770455</c:v>
                </c:pt>
                <c:pt idx="29">
                  <c:v>1.380970096854983</c:v>
                </c:pt>
                <c:pt idx="30">
                  <c:v>1.3928947727097658</c:v>
                </c:pt>
                <c:pt idx="31">
                  <c:v>1.4035567917533622</c:v>
                </c:pt>
                <c:pt idx="32">
                  <c:v>1.4174288782858304</c:v>
                </c:pt>
                <c:pt idx="33">
                  <c:v>1.4290414855232154</c:v>
                </c:pt>
                <c:pt idx="34">
                  <c:v>1.4202846534790248</c:v>
                </c:pt>
                <c:pt idx="35">
                  <c:v>1.4215763170829621</c:v>
                </c:pt>
                <c:pt idx="36">
                  <c:v>1.4312105481093296</c:v>
                </c:pt>
                <c:pt idx="37">
                  <c:v>1.4356410218504432</c:v>
                </c:pt>
                <c:pt idx="38">
                  <c:v>1.4537933075409708</c:v>
                </c:pt>
                <c:pt idx="39">
                  <c:v>1.4762291523238844</c:v>
                </c:pt>
                <c:pt idx="40">
                  <c:v>1.4880725369248322</c:v>
                </c:pt>
                <c:pt idx="41">
                  <c:v>1.5075028918577638</c:v>
                </c:pt>
                <c:pt idx="42">
                  <c:v>1.531219916194595</c:v>
                </c:pt>
                <c:pt idx="43">
                  <c:v>1.5444781857867631</c:v>
                </c:pt>
                <c:pt idx="44">
                  <c:v>1.5637128819098958</c:v>
                </c:pt>
                <c:pt idx="45">
                  <c:v>1.5775056603324897</c:v>
                </c:pt>
                <c:pt idx="46">
                  <c:v>1.566010543225278</c:v>
                </c:pt>
                <c:pt idx="47">
                  <c:v>1.575088551905671</c:v>
                </c:pt>
                <c:pt idx="48">
                  <c:v>1.5816572365647887</c:v>
                </c:pt>
                <c:pt idx="49">
                  <c:v>1.5938614841455316</c:v>
                </c:pt>
                <c:pt idx="50">
                  <c:v>1.6105153431203951</c:v>
                </c:pt>
                <c:pt idx="51">
                  <c:v>1.6316808355349368</c:v>
                </c:pt>
                <c:pt idx="52">
                  <c:v>1.6432532654908778</c:v>
                </c:pt>
                <c:pt idx="53">
                  <c:v>1.6589874732407197</c:v>
                </c:pt>
                <c:pt idx="54">
                  <c:v>1.6800596151243721</c:v>
                </c:pt>
                <c:pt idx="55">
                  <c:v>1.684488530338826</c:v>
                </c:pt>
                <c:pt idx="56">
                  <c:v>1.7016780218790595</c:v>
                </c:pt>
                <c:pt idx="57">
                  <c:v>1.7253781208556496</c:v>
                </c:pt>
                <c:pt idx="58">
                  <c:v>1.7114100510986652</c:v>
                </c:pt>
                <c:pt idx="59">
                  <c:v>1.7138912326834759</c:v>
                </c:pt>
                <c:pt idx="60">
                  <c:v>1.7433056343657214</c:v>
                </c:pt>
                <c:pt idx="61">
                  <c:v>1.7541627352875016</c:v>
                </c:pt>
                <c:pt idx="62">
                  <c:v>1.7752927865997687</c:v>
                </c:pt>
                <c:pt idx="63">
                  <c:v>1.8034043229429872</c:v>
                </c:pt>
                <c:pt idx="64">
                  <c:v>1.8028448413242988</c:v>
                </c:pt>
                <c:pt idx="65">
                  <c:v>1.8114967496668601</c:v>
                </c:pt>
                <c:pt idx="66">
                  <c:v>1.8178855662134843</c:v>
                </c:pt>
                <c:pt idx="67">
                  <c:v>1.8223027586760112</c:v>
                </c:pt>
                <c:pt idx="68">
                  <c:v>1.8311170223713147</c:v>
                </c:pt>
                <c:pt idx="69">
                  <c:v>1.8511455058210224</c:v>
                </c:pt>
                <c:pt idx="70">
                  <c:v>1.8210484460731426</c:v>
                </c:pt>
                <c:pt idx="71">
                  <c:v>1.8125603071480942</c:v>
                </c:pt>
                <c:pt idx="72">
                  <c:v>1.8316122017089547</c:v>
                </c:pt>
                <c:pt idx="73">
                  <c:v>1.8266494437012202</c:v>
                </c:pt>
                <c:pt idx="74">
                  <c:v>1.8405363383770248</c:v>
                </c:pt>
                <c:pt idx="75">
                  <c:v>1.8532646769844345</c:v>
                </c:pt>
                <c:pt idx="76">
                  <c:v>1.8518144432248327</c:v>
                </c:pt>
                <c:pt idx="77">
                  <c:v>1.8567096671989696</c:v>
                </c:pt>
                <c:pt idx="78">
                  <c:v>1.8671172126964768</c:v>
                </c:pt>
                <c:pt idx="79">
                  <c:v>1.8580740791426216</c:v>
                </c:pt>
                <c:pt idx="80">
                  <c:v>1.8703044928199419</c:v>
                </c:pt>
                <c:pt idx="81">
                  <c:v>1.8853550214001713</c:v>
                </c:pt>
                <c:pt idx="82">
                  <c:v>1.85368046661297</c:v>
                </c:pt>
                <c:pt idx="83">
                  <c:v>1.8420512988630127</c:v>
                </c:pt>
                <c:pt idx="84">
                  <c:v>1.8380806107152199</c:v>
                </c:pt>
                <c:pt idx="85">
                  <c:v>1.827315826500191</c:v>
                </c:pt>
                <c:pt idx="86">
                  <c:v>1.8312000140010902</c:v>
                </c:pt>
                <c:pt idx="87">
                  <c:v>1.8369527503334748</c:v>
                </c:pt>
                <c:pt idx="88">
                  <c:v>1.8276831374029989</c:v>
                </c:pt>
                <c:pt idx="89">
                  <c:v>1.8306689551279789</c:v>
                </c:pt>
                <c:pt idx="90">
                  <c:v>1.8335036621952077</c:v>
                </c:pt>
                <c:pt idx="91">
                  <c:v>1.8309614377245507</c:v>
                </c:pt>
                <c:pt idx="92">
                  <c:v>1.8379635510271968</c:v>
                </c:pt>
                <c:pt idx="93">
                  <c:v>1.854128300310848</c:v>
                </c:pt>
                <c:pt idx="94">
                  <c:v>1.8178729587368012</c:v>
                </c:pt>
                <c:pt idx="95">
                  <c:v>1.7960961461082507</c:v>
                </c:pt>
                <c:pt idx="96">
                  <c:v>1.788289067649445</c:v>
                </c:pt>
                <c:pt idx="97">
                  <c:v>1.7723545071952023</c:v>
                </c:pt>
                <c:pt idx="98">
                  <c:v>1.768429448580648</c:v>
                </c:pt>
                <c:pt idx="99">
                  <c:v>1.7681398853700012</c:v>
                </c:pt>
                <c:pt idx="100">
                  <c:v>1.7549674279647045</c:v>
                </c:pt>
                <c:pt idx="101">
                  <c:v>1.7593504544879388</c:v>
                </c:pt>
                <c:pt idx="102">
                  <c:v>1.7599785320998051</c:v>
                </c:pt>
                <c:pt idx="103">
                  <c:v>1.7373144530010554</c:v>
                </c:pt>
                <c:pt idx="104">
                  <c:v>1.7326419234010042</c:v>
                </c:pt>
                <c:pt idx="105">
                  <c:v>1.7402670484535414</c:v>
                </c:pt>
                <c:pt idx="106">
                  <c:v>1.6943253655529502</c:v>
                </c:pt>
                <c:pt idx="107">
                  <c:v>1.6673872892807513</c:v>
                </c:pt>
                <c:pt idx="108">
                  <c:v>1.648937685993251</c:v>
                </c:pt>
                <c:pt idx="109">
                  <c:v>1.6223636756232418</c:v>
                </c:pt>
                <c:pt idx="110">
                  <c:v>1.6144514314589871</c:v>
                </c:pt>
                <c:pt idx="111">
                  <c:v>1.5972549789730131</c:v>
                </c:pt>
                <c:pt idx="112">
                  <c:v>1.5739387661975535</c:v>
                </c:pt>
                <c:pt idx="113">
                  <c:v>1.5624443686163902</c:v>
                </c:pt>
                <c:pt idx="114">
                  <c:v>1.5590635134468087</c:v>
                </c:pt>
                <c:pt idx="115">
                  <c:v>1.5508258945771598</c:v>
                </c:pt>
                <c:pt idx="116">
                  <c:v>1.5528843378025883</c:v>
                </c:pt>
              </c:numCache>
            </c:numRef>
          </c:val>
        </c:ser>
        <c:ser>
          <c:idx val="1"/>
          <c:order val="1"/>
          <c:tx>
            <c:strRef>
              <c:f>Plan1!$C$1</c:f>
              <c:strCache>
                <c:ptCount val="1"/>
                <c:pt idx="0">
                  <c:v>Recursos Direcionados</c:v>
                </c:pt>
              </c:strCache>
            </c:strRef>
          </c:tx>
          <c:spPr>
            <a:solidFill>
              <a:srgbClr val="FF0000"/>
            </a:solidFill>
            <a:ln>
              <a:noFill/>
            </a:ln>
            <a:effectLst/>
          </c:spPr>
          <c:cat>
            <c:numRef>
              <c:f>Plan1!$A$2:$A$118</c:f>
              <c:numCache>
                <c:formatCode>mmm\-yy</c:formatCode>
                <c:ptCount val="117"/>
                <c:pt idx="0">
                  <c:v>39142</c:v>
                </c:pt>
                <c:pt idx="1">
                  <c:v>39173</c:v>
                </c:pt>
                <c:pt idx="2">
                  <c:v>39203</c:v>
                </c:pt>
                <c:pt idx="3">
                  <c:v>39234</c:v>
                </c:pt>
                <c:pt idx="4">
                  <c:v>39264</c:v>
                </c:pt>
                <c:pt idx="5">
                  <c:v>39295</c:v>
                </c:pt>
                <c:pt idx="6">
                  <c:v>39326</c:v>
                </c:pt>
                <c:pt idx="7">
                  <c:v>39356</c:v>
                </c:pt>
                <c:pt idx="8">
                  <c:v>39387</c:v>
                </c:pt>
                <c:pt idx="9">
                  <c:v>39417</c:v>
                </c:pt>
                <c:pt idx="10">
                  <c:v>39448</c:v>
                </c:pt>
                <c:pt idx="11">
                  <c:v>39479</c:v>
                </c:pt>
                <c:pt idx="12">
                  <c:v>39508</c:v>
                </c:pt>
                <c:pt idx="13">
                  <c:v>39539</c:v>
                </c:pt>
                <c:pt idx="14">
                  <c:v>39569</c:v>
                </c:pt>
                <c:pt idx="15">
                  <c:v>39600</c:v>
                </c:pt>
                <c:pt idx="16">
                  <c:v>39630</c:v>
                </c:pt>
                <c:pt idx="17">
                  <c:v>39661</c:v>
                </c:pt>
                <c:pt idx="18">
                  <c:v>39692</c:v>
                </c:pt>
                <c:pt idx="19">
                  <c:v>39722</c:v>
                </c:pt>
                <c:pt idx="20">
                  <c:v>39753</c:v>
                </c:pt>
                <c:pt idx="21">
                  <c:v>39783</c:v>
                </c:pt>
                <c:pt idx="22">
                  <c:v>39814</c:v>
                </c:pt>
                <c:pt idx="23">
                  <c:v>39845</c:v>
                </c:pt>
                <c:pt idx="24">
                  <c:v>39873</c:v>
                </c:pt>
                <c:pt idx="25">
                  <c:v>39904</c:v>
                </c:pt>
                <c:pt idx="26">
                  <c:v>39934</c:v>
                </c:pt>
                <c:pt idx="27">
                  <c:v>39965</c:v>
                </c:pt>
                <c:pt idx="28">
                  <c:v>39995</c:v>
                </c:pt>
                <c:pt idx="29">
                  <c:v>40026</c:v>
                </c:pt>
                <c:pt idx="30">
                  <c:v>40057</c:v>
                </c:pt>
                <c:pt idx="31">
                  <c:v>40087</c:v>
                </c:pt>
                <c:pt idx="32">
                  <c:v>40118</c:v>
                </c:pt>
                <c:pt idx="33">
                  <c:v>40148</c:v>
                </c:pt>
                <c:pt idx="34">
                  <c:v>40179</c:v>
                </c:pt>
                <c:pt idx="35">
                  <c:v>40210</c:v>
                </c:pt>
                <c:pt idx="36">
                  <c:v>40238</c:v>
                </c:pt>
                <c:pt idx="37">
                  <c:v>40269</c:v>
                </c:pt>
                <c:pt idx="38">
                  <c:v>40299</c:v>
                </c:pt>
                <c:pt idx="39">
                  <c:v>40330</c:v>
                </c:pt>
                <c:pt idx="40">
                  <c:v>40360</c:v>
                </c:pt>
                <c:pt idx="41">
                  <c:v>40391</c:v>
                </c:pt>
                <c:pt idx="42">
                  <c:v>40422</c:v>
                </c:pt>
                <c:pt idx="43">
                  <c:v>40452</c:v>
                </c:pt>
                <c:pt idx="44">
                  <c:v>40483</c:v>
                </c:pt>
                <c:pt idx="45">
                  <c:v>40513</c:v>
                </c:pt>
                <c:pt idx="46">
                  <c:v>40544</c:v>
                </c:pt>
                <c:pt idx="47">
                  <c:v>40575</c:v>
                </c:pt>
                <c:pt idx="48">
                  <c:v>40603</c:v>
                </c:pt>
                <c:pt idx="49">
                  <c:v>40634</c:v>
                </c:pt>
                <c:pt idx="50">
                  <c:v>40664</c:v>
                </c:pt>
                <c:pt idx="51">
                  <c:v>40695</c:v>
                </c:pt>
                <c:pt idx="52">
                  <c:v>40725</c:v>
                </c:pt>
                <c:pt idx="53">
                  <c:v>40756</c:v>
                </c:pt>
                <c:pt idx="54">
                  <c:v>40787</c:v>
                </c:pt>
                <c:pt idx="55">
                  <c:v>40817</c:v>
                </c:pt>
                <c:pt idx="56">
                  <c:v>40848</c:v>
                </c:pt>
                <c:pt idx="57">
                  <c:v>40878</c:v>
                </c:pt>
                <c:pt idx="58">
                  <c:v>40909</c:v>
                </c:pt>
                <c:pt idx="59">
                  <c:v>40940</c:v>
                </c:pt>
                <c:pt idx="60">
                  <c:v>40969</c:v>
                </c:pt>
                <c:pt idx="61">
                  <c:v>41000</c:v>
                </c:pt>
                <c:pt idx="62">
                  <c:v>41030</c:v>
                </c:pt>
                <c:pt idx="63">
                  <c:v>41061</c:v>
                </c:pt>
                <c:pt idx="64">
                  <c:v>41091</c:v>
                </c:pt>
                <c:pt idx="65">
                  <c:v>41122</c:v>
                </c:pt>
                <c:pt idx="66">
                  <c:v>41153</c:v>
                </c:pt>
                <c:pt idx="67">
                  <c:v>41183</c:v>
                </c:pt>
                <c:pt idx="68">
                  <c:v>41214</c:v>
                </c:pt>
                <c:pt idx="69">
                  <c:v>41244</c:v>
                </c:pt>
                <c:pt idx="70">
                  <c:v>41275</c:v>
                </c:pt>
                <c:pt idx="71">
                  <c:v>41306</c:v>
                </c:pt>
                <c:pt idx="72">
                  <c:v>41334</c:v>
                </c:pt>
                <c:pt idx="73">
                  <c:v>41365</c:v>
                </c:pt>
                <c:pt idx="74">
                  <c:v>41395</c:v>
                </c:pt>
                <c:pt idx="75">
                  <c:v>41426</c:v>
                </c:pt>
                <c:pt idx="76">
                  <c:v>41456</c:v>
                </c:pt>
                <c:pt idx="77">
                  <c:v>41487</c:v>
                </c:pt>
                <c:pt idx="78">
                  <c:v>41518</c:v>
                </c:pt>
                <c:pt idx="79">
                  <c:v>41548</c:v>
                </c:pt>
                <c:pt idx="80">
                  <c:v>41579</c:v>
                </c:pt>
                <c:pt idx="81">
                  <c:v>41609</c:v>
                </c:pt>
                <c:pt idx="82">
                  <c:v>41640</c:v>
                </c:pt>
                <c:pt idx="83">
                  <c:v>41671</c:v>
                </c:pt>
                <c:pt idx="84">
                  <c:v>41699</c:v>
                </c:pt>
                <c:pt idx="85">
                  <c:v>41730</c:v>
                </c:pt>
                <c:pt idx="86">
                  <c:v>41760</c:v>
                </c:pt>
                <c:pt idx="87">
                  <c:v>41791</c:v>
                </c:pt>
                <c:pt idx="88">
                  <c:v>41821</c:v>
                </c:pt>
                <c:pt idx="89">
                  <c:v>41852</c:v>
                </c:pt>
                <c:pt idx="90">
                  <c:v>41883</c:v>
                </c:pt>
                <c:pt idx="91">
                  <c:v>41913</c:v>
                </c:pt>
                <c:pt idx="92">
                  <c:v>41944</c:v>
                </c:pt>
                <c:pt idx="93">
                  <c:v>41974</c:v>
                </c:pt>
                <c:pt idx="94">
                  <c:v>42005</c:v>
                </c:pt>
                <c:pt idx="95">
                  <c:v>42036</c:v>
                </c:pt>
                <c:pt idx="96">
                  <c:v>42064</c:v>
                </c:pt>
                <c:pt idx="97">
                  <c:v>42095</c:v>
                </c:pt>
                <c:pt idx="98">
                  <c:v>42125</c:v>
                </c:pt>
                <c:pt idx="99">
                  <c:v>42156</c:v>
                </c:pt>
                <c:pt idx="100">
                  <c:v>42186</c:v>
                </c:pt>
                <c:pt idx="101">
                  <c:v>42217</c:v>
                </c:pt>
                <c:pt idx="102">
                  <c:v>42248</c:v>
                </c:pt>
                <c:pt idx="103">
                  <c:v>42278</c:v>
                </c:pt>
                <c:pt idx="104">
                  <c:v>42309</c:v>
                </c:pt>
                <c:pt idx="105">
                  <c:v>42339</c:v>
                </c:pt>
                <c:pt idx="106">
                  <c:v>42370</c:v>
                </c:pt>
                <c:pt idx="107">
                  <c:v>42401</c:v>
                </c:pt>
                <c:pt idx="108">
                  <c:v>42430</c:v>
                </c:pt>
                <c:pt idx="109">
                  <c:v>42461</c:v>
                </c:pt>
                <c:pt idx="110" formatCode="m/d/yyyy">
                  <c:v>42491</c:v>
                </c:pt>
                <c:pt idx="111" formatCode="m/d/yyyy">
                  <c:v>42522</c:v>
                </c:pt>
                <c:pt idx="112" formatCode="m/d/yyyy">
                  <c:v>42552</c:v>
                </c:pt>
                <c:pt idx="113" formatCode="m/d/yyyy">
                  <c:v>42583</c:v>
                </c:pt>
                <c:pt idx="114" formatCode="m/d/yyyy">
                  <c:v>42614</c:v>
                </c:pt>
                <c:pt idx="115" formatCode="m/d/yyyy">
                  <c:v>42644</c:v>
                </c:pt>
                <c:pt idx="116" formatCode="m/d/yyyy">
                  <c:v>42675</c:v>
                </c:pt>
              </c:numCache>
            </c:numRef>
          </c:cat>
          <c:val>
            <c:numRef>
              <c:f>Plan1!$C$2:$C$118</c:f>
              <c:numCache>
                <c:formatCode>_(* #,##0.00_);_(* \(#,##0.00\);_(* "-"??_);_(@_)</c:formatCode>
                <c:ptCount val="117"/>
                <c:pt idx="0">
                  <c:v>0.49038453408009425</c:v>
                </c:pt>
                <c:pt idx="1">
                  <c:v>0.49679333942362025</c:v>
                </c:pt>
                <c:pt idx="2">
                  <c:v>0.49962455443982379</c:v>
                </c:pt>
                <c:pt idx="3">
                  <c:v>0.50172956244521194</c:v>
                </c:pt>
                <c:pt idx="4">
                  <c:v>0.50525909735068897</c:v>
                </c:pt>
                <c:pt idx="5">
                  <c:v>0.51601193619181884</c:v>
                </c:pt>
                <c:pt idx="6">
                  <c:v>0.52157642612347344</c:v>
                </c:pt>
                <c:pt idx="7">
                  <c:v>0.53415269882167415</c:v>
                </c:pt>
                <c:pt idx="8">
                  <c:v>0.5488017349117662</c:v>
                </c:pt>
                <c:pt idx="9">
                  <c:v>0.55317537208689349</c:v>
                </c:pt>
                <c:pt idx="10">
                  <c:v>0.55016268496233212</c:v>
                </c:pt>
                <c:pt idx="11">
                  <c:v>0.54895726943326217</c:v>
                </c:pt>
                <c:pt idx="12">
                  <c:v>0.56117247684884675</c:v>
                </c:pt>
                <c:pt idx="13">
                  <c:v>0.56916934860651358</c:v>
                </c:pt>
                <c:pt idx="14">
                  <c:v>0.57678307903613768</c:v>
                </c:pt>
                <c:pt idx="15">
                  <c:v>0.58380518639003098</c:v>
                </c:pt>
                <c:pt idx="16">
                  <c:v>0.58251203748208114</c:v>
                </c:pt>
                <c:pt idx="17">
                  <c:v>0.59146542438501404</c:v>
                </c:pt>
                <c:pt idx="18">
                  <c:v>0.61146917586622629</c:v>
                </c:pt>
                <c:pt idx="19">
                  <c:v>0.62856853494431941</c:v>
                </c:pt>
                <c:pt idx="20">
                  <c:v>0.64584804175708377</c:v>
                </c:pt>
                <c:pt idx="21">
                  <c:v>0.66166043590080403</c:v>
                </c:pt>
                <c:pt idx="22">
                  <c:v>0.66849843573900658</c:v>
                </c:pt>
                <c:pt idx="23">
                  <c:v>0.66715813150718684</c:v>
                </c:pt>
                <c:pt idx="24">
                  <c:v>0.67484075149304945</c:v>
                </c:pt>
                <c:pt idx="25">
                  <c:v>0.67495471550959496</c:v>
                </c:pt>
                <c:pt idx="26">
                  <c:v>0.67710698619294696</c:v>
                </c:pt>
                <c:pt idx="27">
                  <c:v>0.69000020514980964</c:v>
                </c:pt>
                <c:pt idx="28">
                  <c:v>0.7404741941752796</c:v>
                </c:pt>
                <c:pt idx="29">
                  <c:v>0.75673396131843629</c:v>
                </c:pt>
                <c:pt idx="30">
                  <c:v>0.77134505430650768</c:v>
                </c:pt>
                <c:pt idx="31">
                  <c:v>0.78515564636846691</c:v>
                </c:pt>
                <c:pt idx="32">
                  <c:v>0.79518382594870396</c:v>
                </c:pt>
                <c:pt idx="33">
                  <c:v>0.81909635334820163</c:v>
                </c:pt>
                <c:pt idx="34">
                  <c:v>0.82687932126622421</c:v>
                </c:pt>
                <c:pt idx="35">
                  <c:v>0.82529691053646792</c:v>
                </c:pt>
                <c:pt idx="36">
                  <c:v>0.8297380627690869</c:v>
                </c:pt>
                <c:pt idx="37">
                  <c:v>0.8374967079375738</c:v>
                </c:pt>
                <c:pt idx="38">
                  <c:v>0.85752089322797787</c:v>
                </c:pt>
                <c:pt idx="39">
                  <c:v>0.88253438844133536</c:v>
                </c:pt>
                <c:pt idx="40">
                  <c:v>0.9009349108178909</c:v>
                </c:pt>
                <c:pt idx="41">
                  <c:v>0.93207699141146871</c:v>
                </c:pt>
                <c:pt idx="42">
                  <c:v>0.94583390094968789</c:v>
                </c:pt>
                <c:pt idx="43">
                  <c:v>0.96003435940744319</c:v>
                </c:pt>
                <c:pt idx="44">
                  <c:v>0.97116085336977453</c:v>
                </c:pt>
                <c:pt idx="45">
                  <c:v>0.98183761981795381</c:v>
                </c:pt>
                <c:pt idx="46">
                  <c:v>0.98115839276072014</c:v>
                </c:pt>
                <c:pt idx="47">
                  <c:v>0.98538178723600767</c:v>
                </c:pt>
                <c:pt idx="48">
                  <c:v>0.98525124464699154</c:v>
                </c:pt>
                <c:pt idx="49">
                  <c:v>0.98789606143549535</c:v>
                </c:pt>
                <c:pt idx="50">
                  <c:v>1.0004277294860888</c:v>
                </c:pt>
                <c:pt idx="51">
                  <c:v>1.0156773259327316</c:v>
                </c:pt>
                <c:pt idx="52">
                  <c:v>1.0306739280150141</c:v>
                </c:pt>
                <c:pt idx="53">
                  <c:v>1.052474031182203</c:v>
                </c:pt>
                <c:pt idx="54">
                  <c:v>1.0755656204897386</c:v>
                </c:pt>
                <c:pt idx="55">
                  <c:v>1.0804218987736249</c:v>
                </c:pt>
                <c:pt idx="56">
                  <c:v>1.1024495038384314</c:v>
                </c:pt>
                <c:pt idx="57">
                  <c:v>1.1284173747036339</c:v>
                </c:pt>
                <c:pt idx="58">
                  <c:v>1.1254223588651362</c:v>
                </c:pt>
                <c:pt idx="59">
                  <c:v>1.1211454371922436</c:v>
                </c:pt>
                <c:pt idx="60">
                  <c:v>1.1382846664693027</c:v>
                </c:pt>
                <c:pt idx="61">
                  <c:v>1.1472183217975116</c:v>
                </c:pt>
                <c:pt idx="62">
                  <c:v>1.1643672988327385</c:v>
                </c:pt>
                <c:pt idx="63">
                  <c:v>1.1792621617299124</c:v>
                </c:pt>
                <c:pt idx="64">
                  <c:v>1.1912857147268205</c:v>
                </c:pt>
                <c:pt idx="65">
                  <c:v>1.2070947402364438</c:v>
                </c:pt>
                <c:pt idx="66">
                  <c:v>1.2168687929423623</c:v>
                </c:pt>
                <c:pt idx="67">
                  <c:v>1.2374102291649074</c:v>
                </c:pt>
                <c:pt idx="68">
                  <c:v>1.2565170246934996</c:v>
                </c:pt>
                <c:pt idx="69">
                  <c:v>1.2885067836145301</c:v>
                </c:pt>
                <c:pt idx="70">
                  <c:v>1.2889779175106786</c:v>
                </c:pt>
                <c:pt idx="71">
                  <c:v>1.3016932556548955</c:v>
                </c:pt>
                <c:pt idx="72">
                  <c:v>1.3245954198049241</c:v>
                </c:pt>
                <c:pt idx="73">
                  <c:v>1.3408565828057044</c:v>
                </c:pt>
                <c:pt idx="74">
                  <c:v>1.3644481624701856</c:v>
                </c:pt>
                <c:pt idx="75">
                  <c:v>1.400316536604663</c:v>
                </c:pt>
                <c:pt idx="76">
                  <c:v>1.4182057110112103</c:v>
                </c:pt>
                <c:pt idx="77">
                  <c:v>1.447455139575142</c:v>
                </c:pt>
                <c:pt idx="78">
                  <c:v>1.4501677272471976</c:v>
                </c:pt>
                <c:pt idx="79">
                  <c:v>1.4493944057389037</c:v>
                </c:pt>
                <c:pt idx="80">
                  <c:v>1.4732476351170842</c:v>
                </c:pt>
                <c:pt idx="81">
                  <c:v>1.5084512434115516</c:v>
                </c:pt>
                <c:pt idx="82">
                  <c:v>1.5239325087778288</c:v>
                </c:pt>
                <c:pt idx="83">
                  <c:v>1.5277223020109556</c:v>
                </c:pt>
                <c:pt idx="84">
                  <c:v>1.5336024477860031</c:v>
                </c:pt>
                <c:pt idx="85">
                  <c:v>1.5451193545164987</c:v>
                </c:pt>
                <c:pt idx="86">
                  <c:v>1.5580988498053288</c:v>
                </c:pt>
                <c:pt idx="87">
                  <c:v>1.5709491848814645</c:v>
                </c:pt>
                <c:pt idx="88">
                  <c:v>1.5873768987955703</c:v>
                </c:pt>
                <c:pt idx="89">
                  <c:v>1.6081570654534827</c:v>
                </c:pt>
                <c:pt idx="90">
                  <c:v>1.6323739470189718</c:v>
                </c:pt>
                <c:pt idx="91">
                  <c:v>1.6476808432634729</c:v>
                </c:pt>
                <c:pt idx="92">
                  <c:v>1.6670742849589419</c:v>
                </c:pt>
                <c:pt idx="93">
                  <c:v>1.6953696181395417</c:v>
                </c:pt>
                <c:pt idx="94">
                  <c:v>1.6826517007444892</c:v>
                </c:pt>
                <c:pt idx="95">
                  <c:v>1.6755505695207604</c:v>
                </c:pt>
                <c:pt idx="96">
                  <c:v>1.6793814999312022</c:v>
                </c:pt>
                <c:pt idx="97">
                  <c:v>1.6717228058814799</c:v>
                </c:pt>
                <c:pt idx="98">
                  <c:v>1.673735109947154</c:v>
                </c:pt>
                <c:pt idx="99">
                  <c:v>1.6669751147575973</c:v>
                </c:pt>
                <c:pt idx="100">
                  <c:v>1.6691402443101513</c:v>
                </c:pt>
                <c:pt idx="101">
                  <c:v>1.6853052127270429</c:v>
                </c:pt>
                <c:pt idx="102">
                  <c:v>1.6979912111337905</c:v>
                </c:pt>
                <c:pt idx="103">
                  <c:v>1.6850781510911381</c:v>
                </c:pt>
                <c:pt idx="104">
                  <c:v>1.676572289835859</c:v>
                </c:pt>
                <c:pt idx="105">
                  <c:v>1.6816449714344213</c:v>
                </c:pt>
                <c:pt idx="106">
                  <c:v>1.6620600582168374</c:v>
                </c:pt>
                <c:pt idx="107">
                  <c:v>1.6428273607438608</c:v>
                </c:pt>
                <c:pt idx="108">
                  <c:v>1.6245812969862847</c:v>
                </c:pt>
                <c:pt idx="109">
                  <c:v>1.6096643007081191</c:v>
                </c:pt>
                <c:pt idx="110">
                  <c:v>1.6007992195891969</c:v>
                </c:pt>
                <c:pt idx="111">
                  <c:v>1.588500799686247</c:v>
                </c:pt>
                <c:pt idx="112">
                  <c:v>1.5817362572863809</c:v>
                </c:pt>
                <c:pt idx="113">
                  <c:v>1.5780748818174526</c:v>
                </c:pt>
                <c:pt idx="114">
                  <c:v>1.5745958996145999</c:v>
                </c:pt>
                <c:pt idx="115">
                  <c:v>1.5581911190946083</c:v>
                </c:pt>
                <c:pt idx="116">
                  <c:v>1.5604258880754061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187478400"/>
        <c:axId val="187479936"/>
      </c:areaChart>
      <c:dateAx>
        <c:axId val="187478400"/>
        <c:scaling>
          <c:orientation val="minMax"/>
        </c:scaling>
        <c:delete val="0"/>
        <c:axPos val="b"/>
        <c:numFmt formatCode="mmm\-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pPr>
            <a:endParaRPr lang="pt-BR"/>
          </a:p>
        </c:txPr>
        <c:crossAx val="187479936"/>
        <c:crosses val="autoZero"/>
        <c:auto val="1"/>
        <c:lblOffset val="100"/>
        <c:baseTimeUnit val="months"/>
      </c:dateAx>
      <c:valAx>
        <c:axId val="187479936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.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pPr>
            <a:endParaRPr lang="pt-BR"/>
          </a:p>
        </c:txPr>
        <c:crossAx val="187478400"/>
        <c:crosses val="autoZero"/>
        <c:crossBetween val="midCat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6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Arial" pitchFamily="34" charset="0"/>
              <a:ea typeface="+mn-ea"/>
              <a:cs typeface="Arial" pitchFamily="34" charset="0"/>
            </a:defRPr>
          </a:pPr>
          <a:endParaRPr lang="pt-BR"/>
        </a:p>
      </c:txPr>
    </c:legend>
    <c:plotVisOnly val="1"/>
    <c:dispBlanksAs val="zero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pt-BR"/>
    </a:p>
  </c:txPr>
  <c:externalData r:id="rId1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2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pPr>
            <a:r>
              <a:rPr lang="pt-BR" sz="2400" dirty="0" smtClean="0">
                <a:latin typeface="Arial" pitchFamily="34" charset="0"/>
                <a:cs typeface="Arial" pitchFamily="34" charset="0"/>
              </a:rPr>
              <a:t>Operações de crédito -  R$ (trilhões) </a:t>
            </a:r>
            <a:endParaRPr lang="pt-BR" sz="2400" dirty="0">
              <a:latin typeface="Arial" pitchFamily="34" charset="0"/>
              <a:cs typeface="Arial" pitchFamily="34" charset="0"/>
            </a:endParaRPr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/>
      <c:areaChart>
        <c:grouping val="percentStacked"/>
        <c:varyColors val="0"/>
        <c:ser>
          <c:idx val="0"/>
          <c:order val="0"/>
          <c:tx>
            <c:strRef>
              <c:f>Plan1!$B$1</c:f>
              <c:strCache>
                <c:ptCount val="1"/>
                <c:pt idx="0">
                  <c:v>Recursos Livres</c:v>
                </c:pt>
              </c:strCache>
            </c:strRef>
          </c:tx>
          <c:spPr>
            <a:solidFill>
              <a:srgbClr val="00B0F0"/>
            </a:solidFill>
            <a:ln>
              <a:solidFill>
                <a:srgbClr val="00B0F0"/>
              </a:solidFill>
            </a:ln>
            <a:effectLst/>
          </c:spPr>
          <c:cat>
            <c:numRef>
              <c:f>Plan1!$A$2:$A$118</c:f>
              <c:numCache>
                <c:formatCode>mmm\-yy</c:formatCode>
                <c:ptCount val="117"/>
                <c:pt idx="0">
                  <c:v>39142</c:v>
                </c:pt>
                <c:pt idx="1">
                  <c:v>39173</c:v>
                </c:pt>
                <c:pt idx="2">
                  <c:v>39203</c:v>
                </c:pt>
                <c:pt idx="3">
                  <c:v>39234</c:v>
                </c:pt>
                <c:pt idx="4">
                  <c:v>39264</c:v>
                </c:pt>
                <c:pt idx="5">
                  <c:v>39295</c:v>
                </c:pt>
                <c:pt idx="6">
                  <c:v>39326</c:v>
                </c:pt>
                <c:pt idx="7">
                  <c:v>39356</c:v>
                </c:pt>
                <c:pt idx="8">
                  <c:v>39387</c:v>
                </c:pt>
                <c:pt idx="9">
                  <c:v>39417</c:v>
                </c:pt>
                <c:pt idx="10">
                  <c:v>39448</c:v>
                </c:pt>
                <c:pt idx="11">
                  <c:v>39479</c:v>
                </c:pt>
                <c:pt idx="12">
                  <c:v>39508</c:v>
                </c:pt>
                <c:pt idx="13">
                  <c:v>39539</c:v>
                </c:pt>
                <c:pt idx="14">
                  <c:v>39569</c:v>
                </c:pt>
                <c:pt idx="15">
                  <c:v>39600</c:v>
                </c:pt>
                <c:pt idx="16">
                  <c:v>39630</c:v>
                </c:pt>
                <c:pt idx="17">
                  <c:v>39661</c:v>
                </c:pt>
                <c:pt idx="18">
                  <c:v>39692</c:v>
                </c:pt>
                <c:pt idx="19">
                  <c:v>39722</c:v>
                </c:pt>
                <c:pt idx="20">
                  <c:v>39753</c:v>
                </c:pt>
                <c:pt idx="21">
                  <c:v>39783</c:v>
                </c:pt>
                <c:pt idx="22">
                  <c:v>39814</c:v>
                </c:pt>
                <c:pt idx="23">
                  <c:v>39845</c:v>
                </c:pt>
                <c:pt idx="24">
                  <c:v>39873</c:v>
                </c:pt>
                <c:pt idx="25">
                  <c:v>39904</c:v>
                </c:pt>
                <c:pt idx="26">
                  <c:v>39934</c:v>
                </c:pt>
                <c:pt idx="27">
                  <c:v>39965</c:v>
                </c:pt>
                <c:pt idx="28">
                  <c:v>39995</c:v>
                </c:pt>
                <c:pt idx="29">
                  <c:v>40026</c:v>
                </c:pt>
                <c:pt idx="30">
                  <c:v>40057</c:v>
                </c:pt>
                <c:pt idx="31">
                  <c:v>40087</c:v>
                </c:pt>
                <c:pt idx="32">
                  <c:v>40118</c:v>
                </c:pt>
                <c:pt idx="33">
                  <c:v>40148</c:v>
                </c:pt>
                <c:pt idx="34">
                  <c:v>40179</c:v>
                </c:pt>
                <c:pt idx="35">
                  <c:v>40210</c:v>
                </c:pt>
                <c:pt idx="36">
                  <c:v>40238</c:v>
                </c:pt>
                <c:pt idx="37">
                  <c:v>40269</c:v>
                </c:pt>
                <c:pt idx="38">
                  <c:v>40299</c:v>
                </c:pt>
                <c:pt idx="39">
                  <c:v>40330</c:v>
                </c:pt>
                <c:pt idx="40">
                  <c:v>40360</c:v>
                </c:pt>
                <c:pt idx="41">
                  <c:v>40391</c:v>
                </c:pt>
                <c:pt idx="42">
                  <c:v>40422</c:v>
                </c:pt>
                <c:pt idx="43">
                  <c:v>40452</c:v>
                </c:pt>
                <c:pt idx="44">
                  <c:v>40483</c:v>
                </c:pt>
                <c:pt idx="45">
                  <c:v>40513</c:v>
                </c:pt>
                <c:pt idx="46">
                  <c:v>40544</c:v>
                </c:pt>
                <c:pt idx="47">
                  <c:v>40575</c:v>
                </c:pt>
                <c:pt idx="48">
                  <c:v>40603</c:v>
                </c:pt>
                <c:pt idx="49">
                  <c:v>40634</c:v>
                </c:pt>
                <c:pt idx="50">
                  <c:v>40664</c:v>
                </c:pt>
                <c:pt idx="51">
                  <c:v>40695</c:v>
                </c:pt>
                <c:pt idx="52">
                  <c:v>40725</c:v>
                </c:pt>
                <c:pt idx="53">
                  <c:v>40756</c:v>
                </c:pt>
                <c:pt idx="54">
                  <c:v>40787</c:v>
                </c:pt>
                <c:pt idx="55">
                  <c:v>40817</c:v>
                </c:pt>
                <c:pt idx="56">
                  <c:v>40848</c:v>
                </c:pt>
                <c:pt idx="57">
                  <c:v>40878</c:v>
                </c:pt>
                <c:pt idx="58">
                  <c:v>40909</c:v>
                </c:pt>
                <c:pt idx="59">
                  <c:v>40940</c:v>
                </c:pt>
                <c:pt idx="60">
                  <c:v>40969</c:v>
                </c:pt>
                <c:pt idx="61">
                  <c:v>41000</c:v>
                </c:pt>
                <c:pt idx="62">
                  <c:v>41030</c:v>
                </c:pt>
                <c:pt idx="63">
                  <c:v>41061</c:v>
                </c:pt>
                <c:pt idx="64">
                  <c:v>41091</c:v>
                </c:pt>
                <c:pt idx="65">
                  <c:v>41122</c:v>
                </c:pt>
                <c:pt idx="66">
                  <c:v>41153</c:v>
                </c:pt>
                <c:pt idx="67">
                  <c:v>41183</c:v>
                </c:pt>
                <c:pt idx="68">
                  <c:v>41214</c:v>
                </c:pt>
                <c:pt idx="69">
                  <c:v>41244</c:v>
                </c:pt>
                <c:pt idx="70">
                  <c:v>41275</c:v>
                </c:pt>
                <c:pt idx="71">
                  <c:v>41306</c:v>
                </c:pt>
                <c:pt idx="72">
                  <c:v>41334</c:v>
                </c:pt>
                <c:pt idx="73">
                  <c:v>41365</c:v>
                </c:pt>
                <c:pt idx="74">
                  <c:v>41395</c:v>
                </c:pt>
                <c:pt idx="75">
                  <c:v>41426</c:v>
                </c:pt>
                <c:pt idx="76">
                  <c:v>41456</c:v>
                </c:pt>
                <c:pt idx="77">
                  <c:v>41487</c:v>
                </c:pt>
                <c:pt idx="78">
                  <c:v>41518</c:v>
                </c:pt>
                <c:pt idx="79">
                  <c:v>41548</c:v>
                </c:pt>
                <c:pt idx="80">
                  <c:v>41579</c:v>
                </c:pt>
                <c:pt idx="81">
                  <c:v>41609</c:v>
                </c:pt>
                <c:pt idx="82">
                  <c:v>41640</c:v>
                </c:pt>
                <c:pt idx="83">
                  <c:v>41671</c:v>
                </c:pt>
                <c:pt idx="84">
                  <c:v>41699</c:v>
                </c:pt>
                <c:pt idx="85">
                  <c:v>41730</c:v>
                </c:pt>
                <c:pt idx="86">
                  <c:v>41760</c:v>
                </c:pt>
                <c:pt idx="87">
                  <c:v>41791</c:v>
                </c:pt>
                <c:pt idx="88">
                  <c:v>41821</c:v>
                </c:pt>
                <c:pt idx="89">
                  <c:v>41852</c:v>
                </c:pt>
                <c:pt idx="90">
                  <c:v>41883</c:v>
                </c:pt>
                <c:pt idx="91">
                  <c:v>41913</c:v>
                </c:pt>
                <c:pt idx="92">
                  <c:v>41944</c:v>
                </c:pt>
                <c:pt idx="93">
                  <c:v>41974</c:v>
                </c:pt>
                <c:pt idx="94">
                  <c:v>42005</c:v>
                </c:pt>
                <c:pt idx="95">
                  <c:v>42036</c:v>
                </c:pt>
                <c:pt idx="96">
                  <c:v>42064</c:v>
                </c:pt>
                <c:pt idx="97">
                  <c:v>42095</c:v>
                </c:pt>
                <c:pt idx="98">
                  <c:v>42125</c:v>
                </c:pt>
                <c:pt idx="99">
                  <c:v>42156</c:v>
                </c:pt>
                <c:pt idx="100">
                  <c:v>42186</c:v>
                </c:pt>
                <c:pt idx="101">
                  <c:v>42217</c:v>
                </c:pt>
                <c:pt idx="102">
                  <c:v>42248</c:v>
                </c:pt>
                <c:pt idx="103">
                  <c:v>42278</c:v>
                </c:pt>
                <c:pt idx="104">
                  <c:v>42309</c:v>
                </c:pt>
                <c:pt idx="105">
                  <c:v>42339</c:v>
                </c:pt>
                <c:pt idx="106">
                  <c:v>42370</c:v>
                </c:pt>
                <c:pt idx="107">
                  <c:v>42401</c:v>
                </c:pt>
                <c:pt idx="108">
                  <c:v>42430</c:v>
                </c:pt>
                <c:pt idx="109">
                  <c:v>42461</c:v>
                </c:pt>
                <c:pt idx="110" formatCode="m/d/yyyy">
                  <c:v>42491</c:v>
                </c:pt>
                <c:pt idx="111" formatCode="m/d/yyyy">
                  <c:v>42522</c:v>
                </c:pt>
                <c:pt idx="112" formatCode="m/d/yyyy">
                  <c:v>42552</c:v>
                </c:pt>
                <c:pt idx="113" formatCode="m/d/yyyy">
                  <c:v>42583</c:v>
                </c:pt>
                <c:pt idx="114" formatCode="m/d/yyyy">
                  <c:v>42614</c:v>
                </c:pt>
                <c:pt idx="115" formatCode="m/d/yyyy">
                  <c:v>42644</c:v>
                </c:pt>
                <c:pt idx="116" formatCode="m/d/yyyy">
                  <c:v>42675</c:v>
                </c:pt>
              </c:numCache>
            </c:numRef>
          </c:cat>
          <c:val>
            <c:numRef>
              <c:f>Plan1!$B$2:$B$118</c:f>
              <c:numCache>
                <c:formatCode>_(* #,##0.00_);_(* \(#,##0.00\);_(* "-"??_);_(@_)</c:formatCode>
                <c:ptCount val="117"/>
                <c:pt idx="0">
                  <c:v>0.88459062419747114</c:v>
                </c:pt>
                <c:pt idx="1">
                  <c:v>0.90989813603315117</c:v>
                </c:pt>
                <c:pt idx="2">
                  <c:v>0.92331491733441529</c:v>
                </c:pt>
                <c:pt idx="3">
                  <c:v>0.93934253729330397</c:v>
                </c:pt>
                <c:pt idx="4">
                  <c:v>0.96618779635173158</c:v>
                </c:pt>
                <c:pt idx="5">
                  <c:v>0.99364766408641658</c:v>
                </c:pt>
                <c:pt idx="6">
                  <c:v>1.0131780516187003</c:v>
                </c:pt>
                <c:pt idx="7">
                  <c:v>1.0376034714525282</c:v>
                </c:pt>
                <c:pt idx="8">
                  <c:v>1.0694535138573877</c:v>
                </c:pt>
                <c:pt idx="9">
                  <c:v>1.0970847371889207</c:v>
                </c:pt>
                <c:pt idx="10">
                  <c:v>1.1077418362056095</c:v>
                </c:pt>
                <c:pt idx="11">
                  <c:v>1.1251377056557832</c:v>
                </c:pt>
                <c:pt idx="12">
                  <c:v>1.1637457888701372</c:v>
                </c:pt>
                <c:pt idx="13">
                  <c:v>1.189558355036886</c:v>
                </c:pt>
                <c:pt idx="14">
                  <c:v>1.2141112182425025</c:v>
                </c:pt>
                <c:pt idx="15">
                  <c:v>1.2326344913745604</c:v>
                </c:pt>
                <c:pt idx="16">
                  <c:v>1.2537789768319418</c:v>
                </c:pt>
                <c:pt idx="17">
                  <c:v>1.2816765820757989</c:v>
                </c:pt>
                <c:pt idx="18">
                  <c:v>1.3256253728573675</c:v>
                </c:pt>
                <c:pt idx="19">
                  <c:v>1.3536535842584443</c:v>
                </c:pt>
                <c:pt idx="20">
                  <c:v>1.3668516338854262</c:v>
                </c:pt>
                <c:pt idx="21">
                  <c:v>1.3754780677253653</c:v>
                </c:pt>
                <c:pt idx="22">
                  <c:v>1.3609727998720216</c:v>
                </c:pt>
                <c:pt idx="23">
                  <c:v>1.350528672439808</c:v>
                </c:pt>
                <c:pt idx="24">
                  <c:v>1.3608014346592363</c:v>
                </c:pt>
                <c:pt idx="25">
                  <c:v>1.3611222954635818</c:v>
                </c:pt>
                <c:pt idx="26">
                  <c:v>1.3693998215771563</c:v>
                </c:pt>
                <c:pt idx="27">
                  <c:v>1.3749287137946142</c:v>
                </c:pt>
                <c:pt idx="28">
                  <c:v>1.3686651175770455</c:v>
                </c:pt>
                <c:pt idx="29">
                  <c:v>1.380970096854983</c:v>
                </c:pt>
                <c:pt idx="30">
                  <c:v>1.3928947727097658</c:v>
                </c:pt>
                <c:pt idx="31">
                  <c:v>1.4035567917533622</c:v>
                </c:pt>
                <c:pt idx="32">
                  <c:v>1.4174288782858304</c:v>
                </c:pt>
                <c:pt idx="33">
                  <c:v>1.4290414855232154</c:v>
                </c:pt>
                <c:pt idx="34">
                  <c:v>1.4202846534790248</c:v>
                </c:pt>
                <c:pt idx="35">
                  <c:v>1.4215763170829621</c:v>
                </c:pt>
                <c:pt idx="36">
                  <c:v>1.4312105481093296</c:v>
                </c:pt>
                <c:pt idx="37">
                  <c:v>1.4356410218504432</c:v>
                </c:pt>
                <c:pt idx="38">
                  <c:v>1.4537933075409708</c:v>
                </c:pt>
                <c:pt idx="39">
                  <c:v>1.4762291523238844</c:v>
                </c:pt>
                <c:pt idx="40">
                  <c:v>1.4880725369248322</c:v>
                </c:pt>
                <c:pt idx="41">
                  <c:v>1.5075028918577638</c:v>
                </c:pt>
                <c:pt idx="42">
                  <c:v>1.531219916194595</c:v>
                </c:pt>
                <c:pt idx="43">
                  <c:v>1.5444781857867631</c:v>
                </c:pt>
                <c:pt idx="44">
                  <c:v>1.5637128819098958</c:v>
                </c:pt>
                <c:pt idx="45">
                  <c:v>1.5775056603324897</c:v>
                </c:pt>
                <c:pt idx="46">
                  <c:v>1.566010543225278</c:v>
                </c:pt>
                <c:pt idx="47">
                  <c:v>1.575088551905671</c:v>
                </c:pt>
                <c:pt idx="48">
                  <c:v>1.5816572365647887</c:v>
                </c:pt>
                <c:pt idx="49">
                  <c:v>1.5938614841455316</c:v>
                </c:pt>
                <c:pt idx="50">
                  <c:v>1.6105153431203951</c:v>
                </c:pt>
                <c:pt idx="51">
                  <c:v>1.6316808355349368</c:v>
                </c:pt>
                <c:pt idx="52">
                  <c:v>1.6432532654908778</c:v>
                </c:pt>
                <c:pt idx="53">
                  <c:v>1.6589874732407197</c:v>
                </c:pt>
                <c:pt idx="54">
                  <c:v>1.6800596151243721</c:v>
                </c:pt>
                <c:pt idx="55">
                  <c:v>1.684488530338826</c:v>
                </c:pt>
                <c:pt idx="56">
                  <c:v>1.7016780218790595</c:v>
                </c:pt>
                <c:pt idx="57">
                  <c:v>1.7253781208556496</c:v>
                </c:pt>
                <c:pt idx="58">
                  <c:v>1.7114100510986652</c:v>
                </c:pt>
                <c:pt idx="59">
                  <c:v>1.7138912326834759</c:v>
                </c:pt>
                <c:pt idx="60">
                  <c:v>1.7433056343657214</c:v>
                </c:pt>
                <c:pt idx="61">
                  <c:v>1.7541627352875016</c:v>
                </c:pt>
                <c:pt idx="62">
                  <c:v>1.7752927865997687</c:v>
                </c:pt>
                <c:pt idx="63">
                  <c:v>1.8034043229429872</c:v>
                </c:pt>
                <c:pt idx="64">
                  <c:v>1.8028448413242988</c:v>
                </c:pt>
                <c:pt idx="65">
                  <c:v>1.8114967496668601</c:v>
                </c:pt>
                <c:pt idx="66">
                  <c:v>1.8178855662134843</c:v>
                </c:pt>
                <c:pt idx="67">
                  <c:v>1.8223027586760112</c:v>
                </c:pt>
                <c:pt idx="68">
                  <c:v>1.8311170223713147</c:v>
                </c:pt>
                <c:pt idx="69">
                  <c:v>1.8511455058210224</c:v>
                </c:pt>
                <c:pt idx="70">
                  <c:v>1.8210484460731426</c:v>
                </c:pt>
                <c:pt idx="71">
                  <c:v>1.8125603071480942</c:v>
                </c:pt>
                <c:pt idx="72">
                  <c:v>1.8316122017089547</c:v>
                </c:pt>
                <c:pt idx="73">
                  <c:v>1.8266494437012202</c:v>
                </c:pt>
                <c:pt idx="74">
                  <c:v>1.8405363383770248</c:v>
                </c:pt>
                <c:pt idx="75">
                  <c:v>1.8532646769844345</c:v>
                </c:pt>
                <c:pt idx="76">
                  <c:v>1.8518144432248327</c:v>
                </c:pt>
                <c:pt idx="77">
                  <c:v>1.8567096671989696</c:v>
                </c:pt>
                <c:pt idx="78">
                  <c:v>1.8671172126964768</c:v>
                </c:pt>
                <c:pt idx="79">
                  <c:v>1.8580740791426216</c:v>
                </c:pt>
                <c:pt idx="80">
                  <c:v>1.8703044928199419</c:v>
                </c:pt>
                <c:pt idx="81">
                  <c:v>1.8853550214001713</c:v>
                </c:pt>
                <c:pt idx="82">
                  <c:v>1.85368046661297</c:v>
                </c:pt>
                <c:pt idx="83">
                  <c:v>1.8420512988630127</c:v>
                </c:pt>
                <c:pt idx="84">
                  <c:v>1.8380806107152199</c:v>
                </c:pt>
                <c:pt idx="85">
                  <c:v>1.827315826500191</c:v>
                </c:pt>
                <c:pt idx="86">
                  <c:v>1.8312000140010902</c:v>
                </c:pt>
                <c:pt idx="87">
                  <c:v>1.8369527503334748</c:v>
                </c:pt>
                <c:pt idx="88">
                  <c:v>1.8276831374029989</c:v>
                </c:pt>
                <c:pt idx="89">
                  <c:v>1.8306689551279789</c:v>
                </c:pt>
                <c:pt idx="90">
                  <c:v>1.8335036621952077</c:v>
                </c:pt>
                <c:pt idx="91">
                  <c:v>1.8309614377245507</c:v>
                </c:pt>
                <c:pt idx="92">
                  <c:v>1.8379635510271968</c:v>
                </c:pt>
                <c:pt idx="93">
                  <c:v>1.854128300310848</c:v>
                </c:pt>
                <c:pt idx="94">
                  <c:v>1.8178729587368012</c:v>
                </c:pt>
                <c:pt idx="95">
                  <c:v>1.7960961461082507</c:v>
                </c:pt>
                <c:pt idx="96">
                  <c:v>1.788289067649445</c:v>
                </c:pt>
                <c:pt idx="97">
                  <c:v>1.7723545071952023</c:v>
                </c:pt>
                <c:pt idx="98">
                  <c:v>1.768429448580648</c:v>
                </c:pt>
                <c:pt idx="99">
                  <c:v>1.7681398853700012</c:v>
                </c:pt>
                <c:pt idx="100">
                  <c:v>1.7549674279647045</c:v>
                </c:pt>
                <c:pt idx="101">
                  <c:v>1.7593504544879388</c:v>
                </c:pt>
                <c:pt idx="102">
                  <c:v>1.7599785320998051</c:v>
                </c:pt>
                <c:pt idx="103">
                  <c:v>1.7373144530010554</c:v>
                </c:pt>
                <c:pt idx="104">
                  <c:v>1.7326419234010042</c:v>
                </c:pt>
                <c:pt idx="105">
                  <c:v>1.7402670484535414</c:v>
                </c:pt>
                <c:pt idx="106">
                  <c:v>1.6943253655529502</c:v>
                </c:pt>
                <c:pt idx="107">
                  <c:v>1.6673872892807513</c:v>
                </c:pt>
                <c:pt idx="108">
                  <c:v>1.648937685993251</c:v>
                </c:pt>
                <c:pt idx="109">
                  <c:v>1.6223636756232418</c:v>
                </c:pt>
                <c:pt idx="110">
                  <c:v>1.6144514314589871</c:v>
                </c:pt>
                <c:pt idx="111">
                  <c:v>1.5972549789730131</c:v>
                </c:pt>
                <c:pt idx="112">
                  <c:v>1.5739387661975535</c:v>
                </c:pt>
                <c:pt idx="113">
                  <c:v>1.5624443686163902</c:v>
                </c:pt>
                <c:pt idx="114">
                  <c:v>1.5590635134468087</c:v>
                </c:pt>
                <c:pt idx="115">
                  <c:v>1.5508258945771598</c:v>
                </c:pt>
                <c:pt idx="116">
                  <c:v>1.5528843378025883</c:v>
                </c:pt>
              </c:numCache>
            </c:numRef>
          </c:val>
        </c:ser>
        <c:ser>
          <c:idx val="1"/>
          <c:order val="1"/>
          <c:tx>
            <c:strRef>
              <c:f>Plan1!$C$1</c:f>
              <c:strCache>
                <c:ptCount val="1"/>
                <c:pt idx="0">
                  <c:v>Recursos Direcionados</c:v>
                </c:pt>
              </c:strCache>
            </c:strRef>
          </c:tx>
          <c:spPr>
            <a:solidFill>
              <a:srgbClr val="FF0000"/>
            </a:solidFill>
            <a:ln>
              <a:noFill/>
            </a:ln>
            <a:effectLst/>
          </c:spPr>
          <c:cat>
            <c:numRef>
              <c:f>Plan1!$A$2:$A$118</c:f>
              <c:numCache>
                <c:formatCode>mmm\-yy</c:formatCode>
                <c:ptCount val="117"/>
                <c:pt idx="0">
                  <c:v>39142</c:v>
                </c:pt>
                <c:pt idx="1">
                  <c:v>39173</c:v>
                </c:pt>
                <c:pt idx="2">
                  <c:v>39203</c:v>
                </c:pt>
                <c:pt idx="3">
                  <c:v>39234</c:v>
                </c:pt>
                <c:pt idx="4">
                  <c:v>39264</c:v>
                </c:pt>
                <c:pt idx="5">
                  <c:v>39295</c:v>
                </c:pt>
                <c:pt idx="6">
                  <c:v>39326</c:v>
                </c:pt>
                <c:pt idx="7">
                  <c:v>39356</c:v>
                </c:pt>
                <c:pt idx="8">
                  <c:v>39387</c:v>
                </c:pt>
                <c:pt idx="9">
                  <c:v>39417</c:v>
                </c:pt>
                <c:pt idx="10">
                  <c:v>39448</c:v>
                </c:pt>
                <c:pt idx="11">
                  <c:v>39479</c:v>
                </c:pt>
                <c:pt idx="12">
                  <c:v>39508</c:v>
                </c:pt>
                <c:pt idx="13">
                  <c:v>39539</c:v>
                </c:pt>
                <c:pt idx="14">
                  <c:v>39569</c:v>
                </c:pt>
                <c:pt idx="15">
                  <c:v>39600</c:v>
                </c:pt>
                <c:pt idx="16">
                  <c:v>39630</c:v>
                </c:pt>
                <c:pt idx="17">
                  <c:v>39661</c:v>
                </c:pt>
                <c:pt idx="18">
                  <c:v>39692</c:v>
                </c:pt>
                <c:pt idx="19">
                  <c:v>39722</c:v>
                </c:pt>
                <c:pt idx="20">
                  <c:v>39753</c:v>
                </c:pt>
                <c:pt idx="21">
                  <c:v>39783</c:v>
                </c:pt>
                <c:pt idx="22">
                  <c:v>39814</c:v>
                </c:pt>
                <c:pt idx="23">
                  <c:v>39845</c:v>
                </c:pt>
                <c:pt idx="24">
                  <c:v>39873</c:v>
                </c:pt>
                <c:pt idx="25">
                  <c:v>39904</c:v>
                </c:pt>
                <c:pt idx="26">
                  <c:v>39934</c:v>
                </c:pt>
                <c:pt idx="27">
                  <c:v>39965</c:v>
                </c:pt>
                <c:pt idx="28">
                  <c:v>39995</c:v>
                </c:pt>
                <c:pt idx="29">
                  <c:v>40026</c:v>
                </c:pt>
                <c:pt idx="30">
                  <c:v>40057</c:v>
                </c:pt>
                <c:pt idx="31">
                  <c:v>40087</c:v>
                </c:pt>
                <c:pt idx="32">
                  <c:v>40118</c:v>
                </c:pt>
                <c:pt idx="33">
                  <c:v>40148</c:v>
                </c:pt>
                <c:pt idx="34">
                  <c:v>40179</c:v>
                </c:pt>
                <c:pt idx="35">
                  <c:v>40210</c:v>
                </c:pt>
                <c:pt idx="36">
                  <c:v>40238</c:v>
                </c:pt>
                <c:pt idx="37">
                  <c:v>40269</c:v>
                </c:pt>
                <c:pt idx="38">
                  <c:v>40299</c:v>
                </c:pt>
                <c:pt idx="39">
                  <c:v>40330</c:v>
                </c:pt>
                <c:pt idx="40">
                  <c:v>40360</c:v>
                </c:pt>
                <c:pt idx="41">
                  <c:v>40391</c:v>
                </c:pt>
                <c:pt idx="42">
                  <c:v>40422</c:v>
                </c:pt>
                <c:pt idx="43">
                  <c:v>40452</c:v>
                </c:pt>
                <c:pt idx="44">
                  <c:v>40483</c:v>
                </c:pt>
                <c:pt idx="45">
                  <c:v>40513</c:v>
                </c:pt>
                <c:pt idx="46">
                  <c:v>40544</c:v>
                </c:pt>
                <c:pt idx="47">
                  <c:v>40575</c:v>
                </c:pt>
                <c:pt idx="48">
                  <c:v>40603</c:v>
                </c:pt>
                <c:pt idx="49">
                  <c:v>40634</c:v>
                </c:pt>
                <c:pt idx="50">
                  <c:v>40664</c:v>
                </c:pt>
                <c:pt idx="51">
                  <c:v>40695</c:v>
                </c:pt>
                <c:pt idx="52">
                  <c:v>40725</c:v>
                </c:pt>
                <c:pt idx="53">
                  <c:v>40756</c:v>
                </c:pt>
                <c:pt idx="54">
                  <c:v>40787</c:v>
                </c:pt>
                <c:pt idx="55">
                  <c:v>40817</c:v>
                </c:pt>
                <c:pt idx="56">
                  <c:v>40848</c:v>
                </c:pt>
                <c:pt idx="57">
                  <c:v>40878</c:v>
                </c:pt>
                <c:pt idx="58">
                  <c:v>40909</c:v>
                </c:pt>
                <c:pt idx="59">
                  <c:v>40940</c:v>
                </c:pt>
                <c:pt idx="60">
                  <c:v>40969</c:v>
                </c:pt>
                <c:pt idx="61">
                  <c:v>41000</c:v>
                </c:pt>
                <c:pt idx="62">
                  <c:v>41030</c:v>
                </c:pt>
                <c:pt idx="63">
                  <c:v>41061</c:v>
                </c:pt>
                <c:pt idx="64">
                  <c:v>41091</c:v>
                </c:pt>
                <c:pt idx="65">
                  <c:v>41122</c:v>
                </c:pt>
                <c:pt idx="66">
                  <c:v>41153</c:v>
                </c:pt>
                <c:pt idx="67">
                  <c:v>41183</c:v>
                </c:pt>
                <c:pt idx="68">
                  <c:v>41214</c:v>
                </c:pt>
                <c:pt idx="69">
                  <c:v>41244</c:v>
                </c:pt>
                <c:pt idx="70">
                  <c:v>41275</c:v>
                </c:pt>
                <c:pt idx="71">
                  <c:v>41306</c:v>
                </c:pt>
                <c:pt idx="72">
                  <c:v>41334</c:v>
                </c:pt>
                <c:pt idx="73">
                  <c:v>41365</c:v>
                </c:pt>
                <c:pt idx="74">
                  <c:v>41395</c:v>
                </c:pt>
                <c:pt idx="75">
                  <c:v>41426</c:v>
                </c:pt>
                <c:pt idx="76">
                  <c:v>41456</c:v>
                </c:pt>
                <c:pt idx="77">
                  <c:v>41487</c:v>
                </c:pt>
                <c:pt idx="78">
                  <c:v>41518</c:v>
                </c:pt>
                <c:pt idx="79">
                  <c:v>41548</c:v>
                </c:pt>
                <c:pt idx="80">
                  <c:v>41579</c:v>
                </c:pt>
                <c:pt idx="81">
                  <c:v>41609</c:v>
                </c:pt>
                <c:pt idx="82">
                  <c:v>41640</c:v>
                </c:pt>
                <c:pt idx="83">
                  <c:v>41671</c:v>
                </c:pt>
                <c:pt idx="84">
                  <c:v>41699</c:v>
                </c:pt>
                <c:pt idx="85">
                  <c:v>41730</c:v>
                </c:pt>
                <c:pt idx="86">
                  <c:v>41760</c:v>
                </c:pt>
                <c:pt idx="87">
                  <c:v>41791</c:v>
                </c:pt>
                <c:pt idx="88">
                  <c:v>41821</c:v>
                </c:pt>
                <c:pt idx="89">
                  <c:v>41852</c:v>
                </c:pt>
                <c:pt idx="90">
                  <c:v>41883</c:v>
                </c:pt>
                <c:pt idx="91">
                  <c:v>41913</c:v>
                </c:pt>
                <c:pt idx="92">
                  <c:v>41944</c:v>
                </c:pt>
                <c:pt idx="93">
                  <c:v>41974</c:v>
                </c:pt>
                <c:pt idx="94">
                  <c:v>42005</c:v>
                </c:pt>
                <c:pt idx="95">
                  <c:v>42036</c:v>
                </c:pt>
                <c:pt idx="96">
                  <c:v>42064</c:v>
                </c:pt>
                <c:pt idx="97">
                  <c:v>42095</c:v>
                </c:pt>
                <c:pt idx="98">
                  <c:v>42125</c:v>
                </c:pt>
                <c:pt idx="99">
                  <c:v>42156</c:v>
                </c:pt>
                <c:pt idx="100">
                  <c:v>42186</c:v>
                </c:pt>
                <c:pt idx="101">
                  <c:v>42217</c:v>
                </c:pt>
                <c:pt idx="102">
                  <c:v>42248</c:v>
                </c:pt>
                <c:pt idx="103">
                  <c:v>42278</c:v>
                </c:pt>
                <c:pt idx="104">
                  <c:v>42309</c:v>
                </c:pt>
                <c:pt idx="105">
                  <c:v>42339</c:v>
                </c:pt>
                <c:pt idx="106">
                  <c:v>42370</c:v>
                </c:pt>
                <c:pt idx="107">
                  <c:v>42401</c:v>
                </c:pt>
                <c:pt idx="108">
                  <c:v>42430</c:v>
                </c:pt>
                <c:pt idx="109">
                  <c:v>42461</c:v>
                </c:pt>
                <c:pt idx="110" formatCode="m/d/yyyy">
                  <c:v>42491</c:v>
                </c:pt>
                <c:pt idx="111" formatCode="m/d/yyyy">
                  <c:v>42522</c:v>
                </c:pt>
                <c:pt idx="112" formatCode="m/d/yyyy">
                  <c:v>42552</c:v>
                </c:pt>
                <c:pt idx="113" formatCode="m/d/yyyy">
                  <c:v>42583</c:v>
                </c:pt>
                <c:pt idx="114" formatCode="m/d/yyyy">
                  <c:v>42614</c:v>
                </c:pt>
                <c:pt idx="115" formatCode="m/d/yyyy">
                  <c:v>42644</c:v>
                </c:pt>
                <c:pt idx="116" formatCode="m/d/yyyy">
                  <c:v>42675</c:v>
                </c:pt>
              </c:numCache>
            </c:numRef>
          </c:cat>
          <c:val>
            <c:numRef>
              <c:f>Plan1!$C$2:$C$118</c:f>
              <c:numCache>
                <c:formatCode>_(* #,##0.00_);_(* \(#,##0.00\);_(* "-"??_);_(@_)</c:formatCode>
                <c:ptCount val="117"/>
                <c:pt idx="0">
                  <c:v>0.49038453408009425</c:v>
                </c:pt>
                <c:pt idx="1">
                  <c:v>0.49679333942362025</c:v>
                </c:pt>
                <c:pt idx="2">
                  <c:v>0.49962455443982379</c:v>
                </c:pt>
                <c:pt idx="3">
                  <c:v>0.50172956244521194</c:v>
                </c:pt>
                <c:pt idx="4">
                  <c:v>0.50525909735068897</c:v>
                </c:pt>
                <c:pt idx="5">
                  <c:v>0.51601193619181884</c:v>
                </c:pt>
                <c:pt idx="6">
                  <c:v>0.52157642612347344</c:v>
                </c:pt>
                <c:pt idx="7">
                  <c:v>0.53415269882167415</c:v>
                </c:pt>
                <c:pt idx="8">
                  <c:v>0.5488017349117662</c:v>
                </c:pt>
                <c:pt idx="9">
                  <c:v>0.55317537208689349</c:v>
                </c:pt>
                <c:pt idx="10">
                  <c:v>0.55016268496233212</c:v>
                </c:pt>
                <c:pt idx="11">
                  <c:v>0.54895726943326217</c:v>
                </c:pt>
                <c:pt idx="12">
                  <c:v>0.56117247684884675</c:v>
                </c:pt>
                <c:pt idx="13">
                  <c:v>0.56916934860651358</c:v>
                </c:pt>
                <c:pt idx="14">
                  <c:v>0.57678307903613768</c:v>
                </c:pt>
                <c:pt idx="15">
                  <c:v>0.58380518639003098</c:v>
                </c:pt>
                <c:pt idx="16">
                  <c:v>0.58251203748208114</c:v>
                </c:pt>
                <c:pt idx="17">
                  <c:v>0.59146542438501404</c:v>
                </c:pt>
                <c:pt idx="18">
                  <c:v>0.61146917586622629</c:v>
                </c:pt>
                <c:pt idx="19">
                  <c:v>0.62856853494431941</c:v>
                </c:pt>
                <c:pt idx="20">
                  <c:v>0.64584804175708377</c:v>
                </c:pt>
                <c:pt idx="21">
                  <c:v>0.66166043590080403</c:v>
                </c:pt>
                <c:pt idx="22">
                  <c:v>0.66849843573900658</c:v>
                </c:pt>
                <c:pt idx="23">
                  <c:v>0.66715813150718684</c:v>
                </c:pt>
                <c:pt idx="24">
                  <c:v>0.67484075149304945</c:v>
                </c:pt>
                <c:pt idx="25">
                  <c:v>0.67495471550959496</c:v>
                </c:pt>
                <c:pt idx="26">
                  <c:v>0.67710698619294696</c:v>
                </c:pt>
                <c:pt idx="27">
                  <c:v>0.69000020514980964</c:v>
                </c:pt>
                <c:pt idx="28">
                  <c:v>0.7404741941752796</c:v>
                </c:pt>
                <c:pt idx="29">
                  <c:v>0.75673396131843629</c:v>
                </c:pt>
                <c:pt idx="30">
                  <c:v>0.77134505430650768</c:v>
                </c:pt>
                <c:pt idx="31">
                  <c:v>0.78515564636846691</c:v>
                </c:pt>
                <c:pt idx="32">
                  <c:v>0.79518382594870396</c:v>
                </c:pt>
                <c:pt idx="33">
                  <c:v>0.81909635334820163</c:v>
                </c:pt>
                <c:pt idx="34">
                  <c:v>0.82687932126622421</c:v>
                </c:pt>
                <c:pt idx="35">
                  <c:v>0.82529691053646792</c:v>
                </c:pt>
                <c:pt idx="36">
                  <c:v>0.8297380627690869</c:v>
                </c:pt>
                <c:pt idx="37">
                  <c:v>0.8374967079375738</c:v>
                </c:pt>
                <c:pt idx="38">
                  <c:v>0.85752089322797787</c:v>
                </c:pt>
                <c:pt idx="39">
                  <c:v>0.88253438844133536</c:v>
                </c:pt>
                <c:pt idx="40">
                  <c:v>0.9009349108178909</c:v>
                </c:pt>
                <c:pt idx="41">
                  <c:v>0.93207699141146871</c:v>
                </c:pt>
                <c:pt idx="42">
                  <c:v>0.94583390094968789</c:v>
                </c:pt>
                <c:pt idx="43">
                  <c:v>0.96003435940744319</c:v>
                </c:pt>
                <c:pt idx="44">
                  <c:v>0.97116085336977453</c:v>
                </c:pt>
                <c:pt idx="45">
                  <c:v>0.98183761981795381</c:v>
                </c:pt>
                <c:pt idx="46">
                  <c:v>0.98115839276072014</c:v>
                </c:pt>
                <c:pt idx="47">
                  <c:v>0.98538178723600767</c:v>
                </c:pt>
                <c:pt idx="48">
                  <c:v>0.98525124464699154</c:v>
                </c:pt>
                <c:pt idx="49">
                  <c:v>0.98789606143549535</c:v>
                </c:pt>
                <c:pt idx="50">
                  <c:v>1.0004277294860888</c:v>
                </c:pt>
                <c:pt idx="51">
                  <c:v>1.0156773259327316</c:v>
                </c:pt>
                <c:pt idx="52">
                  <c:v>1.0306739280150141</c:v>
                </c:pt>
                <c:pt idx="53">
                  <c:v>1.052474031182203</c:v>
                </c:pt>
                <c:pt idx="54">
                  <c:v>1.0755656204897386</c:v>
                </c:pt>
                <c:pt idx="55">
                  <c:v>1.0804218987736249</c:v>
                </c:pt>
                <c:pt idx="56">
                  <c:v>1.1024495038384314</c:v>
                </c:pt>
                <c:pt idx="57">
                  <c:v>1.1284173747036339</c:v>
                </c:pt>
                <c:pt idx="58">
                  <c:v>1.1254223588651362</c:v>
                </c:pt>
                <c:pt idx="59">
                  <c:v>1.1211454371922436</c:v>
                </c:pt>
                <c:pt idx="60">
                  <c:v>1.1382846664693027</c:v>
                </c:pt>
                <c:pt idx="61">
                  <c:v>1.1472183217975116</c:v>
                </c:pt>
                <c:pt idx="62">
                  <c:v>1.1643672988327385</c:v>
                </c:pt>
                <c:pt idx="63">
                  <c:v>1.1792621617299124</c:v>
                </c:pt>
                <c:pt idx="64">
                  <c:v>1.1912857147268205</c:v>
                </c:pt>
                <c:pt idx="65">
                  <c:v>1.2070947402364438</c:v>
                </c:pt>
                <c:pt idx="66">
                  <c:v>1.2168687929423623</c:v>
                </c:pt>
                <c:pt idx="67">
                  <c:v>1.2374102291649074</c:v>
                </c:pt>
                <c:pt idx="68">
                  <c:v>1.2565170246934996</c:v>
                </c:pt>
                <c:pt idx="69">
                  <c:v>1.2885067836145301</c:v>
                </c:pt>
                <c:pt idx="70">
                  <c:v>1.2889779175106786</c:v>
                </c:pt>
                <c:pt idx="71">
                  <c:v>1.3016932556548955</c:v>
                </c:pt>
                <c:pt idx="72">
                  <c:v>1.3245954198049241</c:v>
                </c:pt>
                <c:pt idx="73">
                  <c:v>1.3408565828057044</c:v>
                </c:pt>
                <c:pt idx="74">
                  <c:v>1.3644481624701856</c:v>
                </c:pt>
                <c:pt idx="75">
                  <c:v>1.400316536604663</c:v>
                </c:pt>
                <c:pt idx="76">
                  <c:v>1.4182057110112103</c:v>
                </c:pt>
                <c:pt idx="77">
                  <c:v>1.447455139575142</c:v>
                </c:pt>
                <c:pt idx="78">
                  <c:v>1.4501677272471976</c:v>
                </c:pt>
                <c:pt idx="79">
                  <c:v>1.4493944057389037</c:v>
                </c:pt>
                <c:pt idx="80">
                  <c:v>1.4732476351170842</c:v>
                </c:pt>
                <c:pt idx="81">
                  <c:v>1.5084512434115516</c:v>
                </c:pt>
                <c:pt idx="82">
                  <c:v>1.5239325087778288</c:v>
                </c:pt>
                <c:pt idx="83">
                  <c:v>1.5277223020109556</c:v>
                </c:pt>
                <c:pt idx="84">
                  <c:v>1.5336024477860031</c:v>
                </c:pt>
                <c:pt idx="85">
                  <c:v>1.5451193545164987</c:v>
                </c:pt>
                <c:pt idx="86">
                  <c:v>1.5580988498053288</c:v>
                </c:pt>
                <c:pt idx="87">
                  <c:v>1.5709491848814645</c:v>
                </c:pt>
                <c:pt idx="88">
                  <c:v>1.5873768987955703</c:v>
                </c:pt>
                <c:pt idx="89">
                  <c:v>1.6081570654534827</c:v>
                </c:pt>
                <c:pt idx="90">
                  <c:v>1.6323739470189718</c:v>
                </c:pt>
                <c:pt idx="91">
                  <c:v>1.6476808432634729</c:v>
                </c:pt>
                <c:pt idx="92">
                  <c:v>1.6670742849589419</c:v>
                </c:pt>
                <c:pt idx="93">
                  <c:v>1.6953696181395417</c:v>
                </c:pt>
                <c:pt idx="94">
                  <c:v>1.6826517007444892</c:v>
                </c:pt>
                <c:pt idx="95">
                  <c:v>1.6755505695207604</c:v>
                </c:pt>
                <c:pt idx="96">
                  <c:v>1.6793814999312022</c:v>
                </c:pt>
                <c:pt idx="97">
                  <c:v>1.6717228058814799</c:v>
                </c:pt>
                <c:pt idx="98">
                  <c:v>1.673735109947154</c:v>
                </c:pt>
                <c:pt idx="99">
                  <c:v>1.6669751147575973</c:v>
                </c:pt>
                <c:pt idx="100">
                  <c:v>1.6691402443101513</c:v>
                </c:pt>
                <c:pt idx="101">
                  <c:v>1.6853052127270429</c:v>
                </c:pt>
                <c:pt idx="102">
                  <c:v>1.6979912111337905</c:v>
                </c:pt>
                <c:pt idx="103">
                  <c:v>1.6850781510911381</c:v>
                </c:pt>
                <c:pt idx="104">
                  <c:v>1.676572289835859</c:v>
                </c:pt>
                <c:pt idx="105">
                  <c:v>1.6816449714344213</c:v>
                </c:pt>
                <c:pt idx="106">
                  <c:v>1.6620600582168374</c:v>
                </c:pt>
                <c:pt idx="107">
                  <c:v>1.6428273607438608</c:v>
                </c:pt>
                <c:pt idx="108">
                  <c:v>1.6245812969862847</c:v>
                </c:pt>
                <c:pt idx="109">
                  <c:v>1.6096643007081191</c:v>
                </c:pt>
                <c:pt idx="110">
                  <c:v>1.6007992195891969</c:v>
                </c:pt>
                <c:pt idx="111">
                  <c:v>1.588500799686247</c:v>
                </c:pt>
                <c:pt idx="112">
                  <c:v>1.5817362572863809</c:v>
                </c:pt>
                <c:pt idx="113">
                  <c:v>1.5780748818174526</c:v>
                </c:pt>
                <c:pt idx="114">
                  <c:v>1.5745958996145999</c:v>
                </c:pt>
                <c:pt idx="115">
                  <c:v>1.5581911190946083</c:v>
                </c:pt>
                <c:pt idx="116">
                  <c:v>1.5604258880754061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189763584"/>
        <c:axId val="189765120"/>
      </c:areaChart>
      <c:dateAx>
        <c:axId val="189763584"/>
        <c:scaling>
          <c:orientation val="minMax"/>
        </c:scaling>
        <c:delete val="0"/>
        <c:axPos val="b"/>
        <c:majorGridlines>
          <c:spPr>
            <a:ln w="38100">
              <a:solidFill>
                <a:schemeClr val="bg1"/>
              </a:solidFill>
            </a:ln>
          </c:spPr>
        </c:majorGridlines>
        <c:numFmt formatCode="mmm\-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pPr>
            <a:endParaRPr lang="pt-BR"/>
          </a:p>
        </c:txPr>
        <c:crossAx val="189765120"/>
        <c:crosses val="autoZero"/>
        <c:auto val="1"/>
        <c:lblOffset val="100"/>
        <c:baseTimeUnit val="months"/>
      </c:dateAx>
      <c:valAx>
        <c:axId val="189765120"/>
        <c:scaling>
          <c:orientation val="minMax"/>
        </c:scaling>
        <c:delete val="0"/>
        <c:axPos val="l"/>
        <c:majorGridlines>
          <c:spPr>
            <a:ln w="19050" cap="flat" cmpd="sng" algn="ctr">
              <a:solidFill>
                <a:schemeClr val="bg1">
                  <a:lumMod val="75000"/>
                </a:schemeClr>
              </a:solidFill>
              <a:round/>
            </a:ln>
            <a:effectLst/>
          </c:spPr>
        </c:majorGridlines>
        <c:numFmt formatCode="0%" sourceLinked="0"/>
        <c:majorTickMark val="none"/>
        <c:minorTickMark val="none"/>
        <c:tickLblPos val="nextTo"/>
        <c:spPr>
          <a:noFill/>
          <a:ln>
            <a:solidFill>
              <a:schemeClr val="bg1">
                <a:lumMod val="65000"/>
              </a:schemeClr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pPr>
            <a:endParaRPr lang="pt-BR"/>
          </a:p>
        </c:txPr>
        <c:crossAx val="189763584"/>
        <c:crosses val="autoZero"/>
        <c:crossBetween val="midCat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6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Arial" pitchFamily="34" charset="0"/>
              <a:ea typeface="+mn-ea"/>
              <a:cs typeface="Arial" pitchFamily="34" charset="0"/>
            </a:defRPr>
          </a:pPr>
          <a:endParaRPr lang="pt-BR"/>
        </a:p>
      </c:txPr>
    </c:legend>
    <c:plotVisOnly val="1"/>
    <c:dispBlanksAs val="zero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pt-BR"/>
    </a:p>
  </c:txPr>
  <c:externalData r:id="rId1">
    <c:autoUpdate val="0"/>
  </c:externalData>
</c:chartSpac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2.xml><?xml version="1.0" encoding="utf-8"?>
<cs:chartStyle xmlns:cs="http://schemas.microsoft.com/office/drawing/2012/chartStyle" xmlns:a="http://schemas.openxmlformats.org/drawingml/2006/main" id="102">
  <cs:axisTitle>
    <cs:lnRef idx="0"/>
    <cs:fillRef idx="0"/>
    <cs:effectRef idx="0"/>
    <cs:fontRef idx="minor">
      <a:schemeClr val="tx1"/>
    </cs:fontRef>
    <cs:defRPr sz="1000" b="1" kern="1200"/>
  </cs:axisTitle>
  <cs:category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categoryAxis>
  <cs:chartArea mods="allowNoFillOverride allowNoLineOverride">
    <cs:lnRef idx="1">
      <a:schemeClr val="tx1">
        <a:tint val="75000"/>
      </a:schemeClr>
    </cs:lnRef>
    <cs:fillRef idx="1">
      <a:schemeClr val="bg1"/>
    </cs:fillRef>
    <cs:effectRef idx="0"/>
    <cs:fontRef idx="minor">
      <a:schemeClr val="tx1"/>
    </cs:fontRef>
    <cs:spPr>
      <a:ln>
        <a:round/>
      </a:ln>
    </cs:spPr>
    <cs:defRPr sz="1000" kern="1200"/>
  </cs:chartArea>
  <cs:dataLabel>
    <cs:lnRef idx="0"/>
    <cs:fillRef idx="0"/>
    <cs:effectRef idx="0"/>
    <cs:fontRef idx="minor">
      <a:schemeClr val="tx1"/>
    </cs:fontRef>
    <cs:defRPr sz="1000" kern="1200"/>
  </cs:dataLabel>
  <cs:dataLabelCallout>
    <cs:lnRef idx="0"/>
    <cs:fillRef idx="0"/>
    <cs:effectRef idx="0"/>
    <cs:fontRef idx="minor">
      <a:schemeClr val="dk1"/>
    </cs:fontRef>
    <cs:spPr>
      <a:solidFill>
        <a:schemeClr val="lt1"/>
      </a:solidFill>
      <a:ln>
        <a:solidFill>
          <a:schemeClr val="dk1">
            <a:lumMod val="65000"/>
            <a:lumOff val="35000"/>
          </a:schemeClr>
        </a:solidFill>
      </a:ln>
    </cs:spPr>
    <cs:defRPr sz="1000" kern="1200"/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1">
      <cs:styleClr val="auto"/>
    </cs:lnRef>
    <cs:lineWidthScale>3</cs:lineWidthScale>
    <cs:fillRef idx="0"/>
    <cs:effectRef idx="0"/>
    <cs:fontRef idx="minor">
      <a:schemeClr val="tx1"/>
    </cs:fontRef>
    <cs:spPr>
      <a:ln cap="rnd">
        <a:round/>
      </a:ln>
    </cs:spPr>
  </cs:dataPointLine>
  <cs:dataPointMarker>
    <cs:lnRef idx="1">
      <cs:styleClr val="auto"/>
    </cs:lnRef>
    <cs:fillRef idx="1">
      <cs:styleClr val="auto"/>
    </cs:fillRef>
    <cs:effectRef idx="0"/>
    <cs:fontRef idx="minor">
      <a:schemeClr val="tx1"/>
    </cs:fontRef>
    <cs:spPr>
      <a:ln>
        <a:round/>
      </a:ln>
    </cs:spPr>
  </cs:dataPointMarker>
  <cs:dataPointMarkerLayout/>
  <cs:dataPointWireframe>
    <cs:lnRef idx="1">
      <cs:styleClr val="auto"/>
    </cs:lnRef>
    <cs:fillRef idx="0"/>
    <cs:effectRef idx="0"/>
    <cs:fontRef idx="minor">
      <a:schemeClr val="tx1"/>
    </cs:fontRef>
    <cs:spPr>
      <a:ln>
        <a:round/>
      </a:ln>
    </cs:spPr>
  </cs:dataPointWireframe>
  <cs:dataTable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dataTable>
  <cs:downBar>
    <cs:lnRef idx="1">
      <a:schemeClr val="tx1"/>
    </cs:lnRef>
    <cs:fillRef idx="1">
      <a:schemeClr val="dk1">
        <a:tint val="95000"/>
      </a:schemeClr>
    </cs:fillRef>
    <cs:effectRef idx="0"/>
    <cs:fontRef idx="minor">
      <a:schemeClr val="tx1"/>
    </cs:fontRef>
    <cs:spPr>
      <a:ln>
        <a:round/>
      </a:ln>
    </cs:spPr>
  </cs:downBar>
  <cs:drop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dropLine>
  <cs:errorBar>
    <cs:lnRef idx="1">
      <a:schemeClr val="tx1"/>
    </cs:lnRef>
    <cs:fillRef idx="1">
      <a:schemeClr val="tx1"/>
    </cs:fillRef>
    <cs:effectRef idx="0"/>
    <cs:fontRef idx="minor">
      <a:schemeClr val="tx1"/>
    </cs:fontRef>
    <cs:spPr>
      <a:ln>
        <a:round/>
      </a:ln>
    </cs:spPr>
  </cs:errorBar>
  <cs:flo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floor>
  <cs:gridlineMaj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gridlineMajor>
  <cs:gridlineMinor>
    <cs:lnRef idx="1">
      <a:schemeClr val="tx1">
        <a:tint val="50000"/>
      </a:schemeClr>
    </cs:lnRef>
    <cs:fillRef idx="0"/>
    <cs:effectRef idx="0"/>
    <cs:fontRef idx="minor">
      <a:schemeClr val="tx1"/>
    </cs:fontRef>
    <cs:spPr>
      <a:ln>
        <a:round/>
      </a:ln>
    </cs:spPr>
  </cs:gridlineMinor>
  <cs:hiLo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hiLoLine>
  <cs:leader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leaderLine>
  <cs:legend>
    <cs:lnRef idx="0"/>
    <cs:fillRef idx="0"/>
    <cs:effectRef idx="0"/>
    <cs:fontRef idx="minor">
      <a:schemeClr val="tx1"/>
    </cs:fontRef>
    <cs:defRPr sz="1000" kern="1200"/>
  </cs:legend>
  <cs:plotArea mods="allowNoFillOverride allowNoLineOverride">
    <cs:lnRef idx="0"/>
    <cs:fillRef idx="1">
      <a:schemeClr val="bg1"/>
    </cs:fillRef>
    <cs:effectRef idx="0"/>
    <cs:fontRef idx="minor">
      <a:schemeClr val="tx1"/>
    </cs:fontRef>
  </cs:plotArea>
  <cs:plotArea3D>
    <cs:lnRef idx="0"/>
    <cs:fillRef idx="0"/>
    <cs:effectRef idx="0"/>
    <cs:fontRef idx="minor">
      <a:schemeClr val="tx1"/>
    </cs:fontRef>
  </cs:plotArea3D>
  <cs:series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seriesAxis>
  <cs:series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seriesLine>
  <cs:title>
    <cs:lnRef idx="0"/>
    <cs:fillRef idx="0"/>
    <cs:effectRef idx="0"/>
    <cs:fontRef idx="minor">
      <a:schemeClr val="tx1"/>
    </cs:fontRef>
    <cs:defRPr sz="1800" b="1" kern="1200"/>
  </cs:title>
  <cs:trendline>
    <cs:lnRef idx="1">
      <a:schemeClr val="tx1"/>
    </cs:lnRef>
    <cs:fillRef idx="0"/>
    <cs:effectRef idx="0"/>
    <cs:fontRef idx="minor">
      <a:schemeClr val="tx1"/>
    </cs:fontRef>
    <cs:spPr>
      <a:ln cap="rnd">
        <a:round/>
      </a:ln>
    </cs:spPr>
  </cs:trendline>
  <cs:trendlineLabel>
    <cs:lnRef idx="0"/>
    <cs:fillRef idx="0"/>
    <cs:effectRef idx="0"/>
    <cs:fontRef idx="minor">
      <a:schemeClr val="tx1"/>
    </cs:fontRef>
    <cs:defRPr sz="1000" kern="1200"/>
  </cs:trendlineLabel>
  <cs:upBar>
    <cs:lnRef idx="1">
      <a:schemeClr val="tx1"/>
    </cs:lnRef>
    <cs:fillRef idx="1">
      <a:schemeClr val="dk1">
        <a:tint val="5000"/>
      </a:schemeClr>
    </cs:fillRef>
    <cs:effectRef idx="0"/>
    <cs:fontRef idx="minor">
      <a:schemeClr val="tx1"/>
    </cs:fontRef>
    <cs:spPr>
      <a:ln>
        <a:round/>
      </a:ln>
    </cs:spPr>
  </cs:upBar>
  <cs:value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valueAxis>
  <cs:wall>
    <cs:lnRef idx="0"/>
    <cs:fillRef idx="0"/>
    <cs:effectRef idx="0"/>
    <cs:fontRef idx="minor">
      <a:schemeClr val="tx1"/>
    </cs:fontRef>
  </cs:wall>
</cs:chartStyle>
</file>

<file path=ppt/charts/style3.xml><?xml version="1.0" encoding="utf-8"?>
<cs:chartStyle xmlns:cs="http://schemas.microsoft.com/office/drawing/2012/chartStyle" xmlns:a="http://schemas.openxmlformats.org/drawingml/2006/main" id="102">
  <cs:axisTitle>
    <cs:lnRef idx="0"/>
    <cs:fillRef idx="0"/>
    <cs:effectRef idx="0"/>
    <cs:fontRef idx="minor">
      <a:schemeClr val="tx1"/>
    </cs:fontRef>
    <cs:defRPr sz="1000" b="1" kern="1200"/>
  </cs:axisTitle>
  <cs:category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categoryAxis>
  <cs:chartArea mods="allowNoFillOverride allowNoLineOverride">
    <cs:lnRef idx="1">
      <a:schemeClr val="tx1">
        <a:tint val="75000"/>
      </a:schemeClr>
    </cs:lnRef>
    <cs:fillRef idx="1">
      <a:schemeClr val="bg1"/>
    </cs:fillRef>
    <cs:effectRef idx="0"/>
    <cs:fontRef idx="minor">
      <a:schemeClr val="tx1"/>
    </cs:fontRef>
    <cs:spPr>
      <a:ln>
        <a:round/>
      </a:ln>
    </cs:spPr>
    <cs:defRPr sz="1000" kern="1200"/>
  </cs:chartArea>
  <cs:dataLabel>
    <cs:lnRef idx="0"/>
    <cs:fillRef idx="0"/>
    <cs:effectRef idx="0"/>
    <cs:fontRef idx="minor">
      <a:schemeClr val="tx1"/>
    </cs:fontRef>
    <cs:defRPr sz="1000" kern="1200"/>
  </cs:dataLabel>
  <cs:dataLabelCallout>
    <cs:lnRef idx="0"/>
    <cs:fillRef idx="0"/>
    <cs:effectRef idx="0"/>
    <cs:fontRef idx="minor">
      <a:schemeClr val="dk1"/>
    </cs:fontRef>
    <cs:spPr>
      <a:solidFill>
        <a:schemeClr val="lt1"/>
      </a:solidFill>
      <a:ln>
        <a:solidFill>
          <a:schemeClr val="dk1">
            <a:lumMod val="65000"/>
            <a:lumOff val="35000"/>
          </a:schemeClr>
        </a:solidFill>
      </a:ln>
    </cs:spPr>
    <cs:defRPr sz="1000" kern="1200"/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1">
      <cs:styleClr val="auto"/>
    </cs:lnRef>
    <cs:lineWidthScale>3</cs:lineWidthScale>
    <cs:fillRef idx="0"/>
    <cs:effectRef idx="0"/>
    <cs:fontRef idx="minor">
      <a:schemeClr val="tx1"/>
    </cs:fontRef>
    <cs:spPr>
      <a:ln cap="rnd">
        <a:round/>
      </a:ln>
    </cs:spPr>
  </cs:dataPointLine>
  <cs:dataPointMarker>
    <cs:lnRef idx="1">
      <cs:styleClr val="auto"/>
    </cs:lnRef>
    <cs:fillRef idx="1">
      <cs:styleClr val="auto"/>
    </cs:fillRef>
    <cs:effectRef idx="0"/>
    <cs:fontRef idx="minor">
      <a:schemeClr val="tx1"/>
    </cs:fontRef>
    <cs:spPr>
      <a:ln>
        <a:round/>
      </a:ln>
    </cs:spPr>
  </cs:dataPointMarker>
  <cs:dataPointMarkerLayout/>
  <cs:dataPointWireframe>
    <cs:lnRef idx="1">
      <cs:styleClr val="auto"/>
    </cs:lnRef>
    <cs:fillRef idx="0"/>
    <cs:effectRef idx="0"/>
    <cs:fontRef idx="minor">
      <a:schemeClr val="tx1"/>
    </cs:fontRef>
    <cs:spPr>
      <a:ln>
        <a:round/>
      </a:ln>
    </cs:spPr>
  </cs:dataPointWireframe>
  <cs:dataTable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dataTable>
  <cs:downBar>
    <cs:lnRef idx="1">
      <a:schemeClr val="tx1"/>
    </cs:lnRef>
    <cs:fillRef idx="1">
      <a:schemeClr val="dk1">
        <a:tint val="95000"/>
      </a:schemeClr>
    </cs:fillRef>
    <cs:effectRef idx="0"/>
    <cs:fontRef idx="minor">
      <a:schemeClr val="tx1"/>
    </cs:fontRef>
    <cs:spPr>
      <a:ln>
        <a:round/>
      </a:ln>
    </cs:spPr>
  </cs:downBar>
  <cs:drop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dropLine>
  <cs:errorBar>
    <cs:lnRef idx="1">
      <a:schemeClr val="tx1"/>
    </cs:lnRef>
    <cs:fillRef idx="1">
      <a:schemeClr val="tx1"/>
    </cs:fillRef>
    <cs:effectRef idx="0"/>
    <cs:fontRef idx="minor">
      <a:schemeClr val="tx1"/>
    </cs:fontRef>
    <cs:spPr>
      <a:ln>
        <a:round/>
      </a:ln>
    </cs:spPr>
  </cs:errorBar>
  <cs:flo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floor>
  <cs:gridlineMaj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gridlineMajor>
  <cs:gridlineMinor>
    <cs:lnRef idx="1">
      <a:schemeClr val="tx1">
        <a:tint val="50000"/>
      </a:schemeClr>
    </cs:lnRef>
    <cs:fillRef idx="0"/>
    <cs:effectRef idx="0"/>
    <cs:fontRef idx="minor">
      <a:schemeClr val="tx1"/>
    </cs:fontRef>
    <cs:spPr>
      <a:ln>
        <a:round/>
      </a:ln>
    </cs:spPr>
  </cs:gridlineMinor>
  <cs:hiLo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hiLoLine>
  <cs:leader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leaderLine>
  <cs:legend>
    <cs:lnRef idx="0"/>
    <cs:fillRef idx="0"/>
    <cs:effectRef idx="0"/>
    <cs:fontRef idx="minor">
      <a:schemeClr val="tx1"/>
    </cs:fontRef>
    <cs:defRPr sz="1000" kern="1200"/>
  </cs:legend>
  <cs:plotArea mods="allowNoFillOverride allowNoLineOverride">
    <cs:lnRef idx="0"/>
    <cs:fillRef idx="1">
      <a:schemeClr val="bg1"/>
    </cs:fillRef>
    <cs:effectRef idx="0"/>
    <cs:fontRef idx="minor">
      <a:schemeClr val="tx1"/>
    </cs:fontRef>
  </cs:plotArea>
  <cs:plotArea3D>
    <cs:lnRef idx="0"/>
    <cs:fillRef idx="0"/>
    <cs:effectRef idx="0"/>
    <cs:fontRef idx="minor">
      <a:schemeClr val="tx1"/>
    </cs:fontRef>
  </cs:plotArea3D>
  <cs:series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seriesAxis>
  <cs:series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seriesLine>
  <cs:title>
    <cs:lnRef idx="0"/>
    <cs:fillRef idx="0"/>
    <cs:effectRef idx="0"/>
    <cs:fontRef idx="minor">
      <a:schemeClr val="tx1"/>
    </cs:fontRef>
    <cs:defRPr sz="1800" b="1" kern="1200"/>
  </cs:title>
  <cs:trendline>
    <cs:lnRef idx="1">
      <a:schemeClr val="tx1"/>
    </cs:lnRef>
    <cs:fillRef idx="0"/>
    <cs:effectRef idx="0"/>
    <cs:fontRef idx="minor">
      <a:schemeClr val="tx1"/>
    </cs:fontRef>
    <cs:spPr>
      <a:ln cap="rnd">
        <a:round/>
      </a:ln>
    </cs:spPr>
  </cs:trendline>
  <cs:trendlineLabel>
    <cs:lnRef idx="0"/>
    <cs:fillRef idx="0"/>
    <cs:effectRef idx="0"/>
    <cs:fontRef idx="minor">
      <a:schemeClr val="tx1"/>
    </cs:fontRef>
    <cs:defRPr sz="1000" kern="1200"/>
  </cs:trendlineLabel>
  <cs:upBar>
    <cs:lnRef idx="1">
      <a:schemeClr val="tx1"/>
    </cs:lnRef>
    <cs:fillRef idx="1">
      <a:schemeClr val="dk1">
        <a:tint val="5000"/>
      </a:schemeClr>
    </cs:fillRef>
    <cs:effectRef idx="0"/>
    <cs:fontRef idx="minor">
      <a:schemeClr val="tx1"/>
    </cs:fontRef>
    <cs:spPr>
      <a:ln>
        <a:round/>
      </a:ln>
    </cs:spPr>
  </cs:upBar>
  <cs:value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valueAxis>
  <cs:wall>
    <cs:lnRef idx="0"/>
    <cs:fillRef idx="0"/>
    <cs:effectRef idx="0"/>
    <cs:fontRef idx="minor">
      <a:schemeClr val="tx1"/>
    </cs:fontRef>
  </cs:wall>
</cs:chartStyle>
</file>

<file path=ppt/charts/style4.xml><?xml version="1.0" encoding="utf-8"?>
<cs:chartStyle xmlns:cs="http://schemas.microsoft.com/office/drawing/2012/chartStyle" xmlns:a="http://schemas.openxmlformats.org/drawingml/2006/main" id="102">
  <cs:axisTitle>
    <cs:lnRef idx="0"/>
    <cs:fillRef idx="0"/>
    <cs:effectRef idx="0"/>
    <cs:fontRef idx="minor">
      <a:schemeClr val="tx1"/>
    </cs:fontRef>
    <cs:defRPr sz="1000" b="1" kern="1200"/>
  </cs:axisTitle>
  <cs:category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categoryAxis>
  <cs:chartArea mods="allowNoFillOverride allowNoLineOverride">
    <cs:lnRef idx="1">
      <a:schemeClr val="tx1">
        <a:tint val="75000"/>
      </a:schemeClr>
    </cs:lnRef>
    <cs:fillRef idx="1">
      <a:schemeClr val="bg1"/>
    </cs:fillRef>
    <cs:effectRef idx="0"/>
    <cs:fontRef idx="minor">
      <a:schemeClr val="tx1"/>
    </cs:fontRef>
    <cs:spPr>
      <a:ln>
        <a:round/>
      </a:ln>
    </cs:spPr>
    <cs:defRPr sz="1000" kern="1200"/>
  </cs:chartArea>
  <cs:dataLabel>
    <cs:lnRef idx="0"/>
    <cs:fillRef idx="0"/>
    <cs:effectRef idx="0"/>
    <cs:fontRef idx="minor">
      <a:schemeClr val="tx1"/>
    </cs:fontRef>
    <cs:defRPr sz="1000" kern="1200"/>
  </cs:dataLabel>
  <cs:dataLabelCallout>
    <cs:lnRef idx="0"/>
    <cs:fillRef idx="0"/>
    <cs:effectRef idx="0"/>
    <cs:fontRef idx="minor">
      <a:schemeClr val="dk1"/>
    </cs:fontRef>
    <cs:spPr>
      <a:solidFill>
        <a:schemeClr val="lt1"/>
      </a:solidFill>
      <a:ln>
        <a:solidFill>
          <a:schemeClr val="dk1">
            <a:lumMod val="65000"/>
            <a:lumOff val="35000"/>
          </a:schemeClr>
        </a:solidFill>
      </a:ln>
    </cs:spPr>
    <cs:defRPr sz="1000" kern="1200"/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1">
      <cs:styleClr val="auto"/>
    </cs:lnRef>
    <cs:lineWidthScale>3</cs:lineWidthScale>
    <cs:fillRef idx="0"/>
    <cs:effectRef idx="0"/>
    <cs:fontRef idx="minor">
      <a:schemeClr val="tx1"/>
    </cs:fontRef>
    <cs:spPr>
      <a:ln cap="rnd">
        <a:round/>
      </a:ln>
    </cs:spPr>
  </cs:dataPointLine>
  <cs:dataPointMarker>
    <cs:lnRef idx="1">
      <cs:styleClr val="auto"/>
    </cs:lnRef>
    <cs:fillRef idx="1">
      <cs:styleClr val="auto"/>
    </cs:fillRef>
    <cs:effectRef idx="0"/>
    <cs:fontRef idx="minor">
      <a:schemeClr val="tx1"/>
    </cs:fontRef>
    <cs:spPr>
      <a:ln>
        <a:round/>
      </a:ln>
    </cs:spPr>
  </cs:dataPointMarker>
  <cs:dataPointMarkerLayout/>
  <cs:dataPointWireframe>
    <cs:lnRef idx="1">
      <cs:styleClr val="auto"/>
    </cs:lnRef>
    <cs:fillRef idx="0"/>
    <cs:effectRef idx="0"/>
    <cs:fontRef idx="minor">
      <a:schemeClr val="tx1"/>
    </cs:fontRef>
    <cs:spPr>
      <a:ln>
        <a:round/>
      </a:ln>
    </cs:spPr>
  </cs:dataPointWireframe>
  <cs:dataTable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dataTable>
  <cs:downBar>
    <cs:lnRef idx="1">
      <a:schemeClr val="tx1"/>
    </cs:lnRef>
    <cs:fillRef idx="1">
      <a:schemeClr val="dk1">
        <a:tint val="95000"/>
      </a:schemeClr>
    </cs:fillRef>
    <cs:effectRef idx="0"/>
    <cs:fontRef idx="minor">
      <a:schemeClr val="tx1"/>
    </cs:fontRef>
    <cs:spPr>
      <a:ln>
        <a:round/>
      </a:ln>
    </cs:spPr>
  </cs:downBar>
  <cs:drop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dropLine>
  <cs:errorBar>
    <cs:lnRef idx="1">
      <a:schemeClr val="tx1"/>
    </cs:lnRef>
    <cs:fillRef idx="1">
      <a:schemeClr val="tx1"/>
    </cs:fillRef>
    <cs:effectRef idx="0"/>
    <cs:fontRef idx="minor">
      <a:schemeClr val="tx1"/>
    </cs:fontRef>
    <cs:spPr>
      <a:ln>
        <a:round/>
      </a:ln>
    </cs:spPr>
  </cs:errorBar>
  <cs:flo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floor>
  <cs:gridlineMaj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gridlineMajor>
  <cs:gridlineMinor>
    <cs:lnRef idx="1">
      <a:schemeClr val="tx1">
        <a:tint val="50000"/>
      </a:schemeClr>
    </cs:lnRef>
    <cs:fillRef idx="0"/>
    <cs:effectRef idx="0"/>
    <cs:fontRef idx="minor">
      <a:schemeClr val="tx1"/>
    </cs:fontRef>
    <cs:spPr>
      <a:ln>
        <a:round/>
      </a:ln>
    </cs:spPr>
  </cs:gridlineMinor>
  <cs:hiLo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hiLoLine>
  <cs:leader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leaderLine>
  <cs:legend>
    <cs:lnRef idx="0"/>
    <cs:fillRef idx="0"/>
    <cs:effectRef idx="0"/>
    <cs:fontRef idx="minor">
      <a:schemeClr val="tx1"/>
    </cs:fontRef>
    <cs:defRPr sz="1000" kern="1200"/>
  </cs:legend>
  <cs:plotArea mods="allowNoFillOverride allowNoLineOverride">
    <cs:lnRef idx="0"/>
    <cs:fillRef idx="1">
      <a:schemeClr val="bg1"/>
    </cs:fillRef>
    <cs:effectRef idx="0"/>
    <cs:fontRef idx="minor">
      <a:schemeClr val="tx1"/>
    </cs:fontRef>
  </cs:plotArea>
  <cs:plotArea3D>
    <cs:lnRef idx="0"/>
    <cs:fillRef idx="0"/>
    <cs:effectRef idx="0"/>
    <cs:fontRef idx="minor">
      <a:schemeClr val="tx1"/>
    </cs:fontRef>
  </cs:plotArea3D>
  <cs:series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seriesAxis>
  <cs:series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seriesLine>
  <cs:title>
    <cs:lnRef idx="0"/>
    <cs:fillRef idx="0"/>
    <cs:effectRef idx="0"/>
    <cs:fontRef idx="minor">
      <a:schemeClr val="tx1"/>
    </cs:fontRef>
    <cs:defRPr sz="1800" b="1" kern="1200"/>
  </cs:title>
  <cs:trendline>
    <cs:lnRef idx="1">
      <a:schemeClr val="tx1"/>
    </cs:lnRef>
    <cs:fillRef idx="0"/>
    <cs:effectRef idx="0"/>
    <cs:fontRef idx="minor">
      <a:schemeClr val="tx1"/>
    </cs:fontRef>
    <cs:spPr>
      <a:ln cap="rnd">
        <a:round/>
      </a:ln>
    </cs:spPr>
  </cs:trendline>
  <cs:trendlineLabel>
    <cs:lnRef idx="0"/>
    <cs:fillRef idx="0"/>
    <cs:effectRef idx="0"/>
    <cs:fontRef idx="minor">
      <a:schemeClr val="tx1"/>
    </cs:fontRef>
    <cs:defRPr sz="1000" kern="1200"/>
  </cs:trendlineLabel>
  <cs:upBar>
    <cs:lnRef idx="1">
      <a:schemeClr val="tx1"/>
    </cs:lnRef>
    <cs:fillRef idx="1">
      <a:schemeClr val="dk1">
        <a:tint val="5000"/>
      </a:schemeClr>
    </cs:fillRef>
    <cs:effectRef idx="0"/>
    <cs:fontRef idx="minor">
      <a:schemeClr val="tx1"/>
    </cs:fontRef>
    <cs:spPr>
      <a:ln>
        <a:round/>
      </a:ln>
    </cs:spPr>
  </cs:upBar>
  <cs:value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valueAxis>
  <cs:wall>
    <cs:lnRef idx="0"/>
    <cs:fillRef idx="0"/>
    <cs:effectRef idx="0"/>
    <cs:fontRef idx="minor">
      <a:schemeClr val="tx1"/>
    </cs:fontRef>
  </cs:wall>
</cs:chartStyle>
</file>

<file path=ppt/charts/style5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7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.xml><?xml version="1.0" encoding="utf-8"?>
<cs:chartStyle xmlns:cs="http://schemas.microsoft.com/office/drawing/2012/chartStyle" xmlns:a="http://schemas.openxmlformats.org/drawingml/2006/main" id="27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w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3" name="Espaço Reservado para Data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F45FA3C-2E55-4D73-BEEE-16F6F9B0005D}" type="datetimeFigureOut">
              <a:rPr lang="pt-BR" smtClean="0"/>
              <a:t>06/06/2017</a:t>
            </a:fld>
            <a:endParaRPr lang="pt-BR"/>
          </a:p>
        </p:txBody>
      </p:sp>
      <p:sp>
        <p:nvSpPr>
          <p:cNvPr id="4" name="Espaço Reservado para Rodapé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5" name="Espaço Reservado para Número de Slide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AA8CC7C-500B-4F59-81B4-FA8A81740B22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46673217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3" name="Espaço Reservado para Dat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A291603-C203-4424-AECB-9DF9C4E441BB}" type="datetimeFigureOut">
              <a:rPr lang="pt-BR" smtClean="0"/>
              <a:t>06/06/2017</a:t>
            </a:fld>
            <a:endParaRPr lang="pt-BR"/>
          </a:p>
        </p:txBody>
      </p:sp>
      <p:sp>
        <p:nvSpPr>
          <p:cNvPr id="4" name="Espaço Reservado para Imagem de Slide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pt-BR"/>
          </a:p>
        </p:txBody>
      </p:sp>
      <p:sp>
        <p:nvSpPr>
          <p:cNvPr id="5" name="Espaço Reservado para Anotações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2260355-F7AE-478B-959B-FD3C79B1BEBF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77345406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4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1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3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940FC8D-1368-43A2-A858-BA00D63542D2}" type="slidenum">
              <a:rPr lang="de-DE" smtClean="0"/>
              <a:pPr/>
              <a:t>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22291106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260355-F7AE-478B-959B-FD3C79B1BEBF}" type="slidenum">
              <a:rPr lang="pt-BR" smtClean="0"/>
              <a:t>5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28385862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D850310-F356-4269-9052-3010E82C8C5B}" type="slidenum">
              <a:rPr lang="pt-BR" smtClean="0"/>
              <a:t>15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02165661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260355-F7AE-478B-959B-FD3C79B1BEBF}" type="slidenum">
              <a:rPr lang="pt-BR" smtClean="0"/>
              <a:t>24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75058802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1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66788"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1pPr>
            <a:lvl2pPr marL="742950" indent="-285750" defTabSz="966788"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2pPr>
            <a:lvl3pPr marL="1143000" indent="-228600" defTabSz="966788"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3pPr>
            <a:lvl4pPr marL="1600200" indent="-228600" defTabSz="966788"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4pPr>
            <a:lvl5pPr marL="2057400" indent="-228600" defTabSz="966788"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5pPr>
            <a:lvl6pPr marL="2514600" indent="-228600" defTabSz="96678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6pPr>
            <a:lvl7pPr marL="2971800" indent="-228600" defTabSz="96678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7pPr>
            <a:lvl8pPr marL="3429000" indent="-228600" defTabSz="96678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8pPr>
            <a:lvl9pPr marL="3886200" indent="-228600" defTabSz="96678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9pPr>
          </a:lstStyle>
          <a:p>
            <a:fld id="{283FB2D4-BCAD-4A19-B8BD-F4457BA30466}" type="slidenum">
              <a:rPr lang="pt-BR" smtClean="0"/>
              <a:pPr/>
              <a:t>44</a:t>
            </a:fld>
            <a:endParaRPr lang="pt-BR" smtClean="0"/>
          </a:p>
        </p:txBody>
      </p:sp>
      <p:sp>
        <p:nvSpPr>
          <p:cNvPr id="20482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20483" name="Rectangle 3"/>
          <p:cNvSpPr>
            <a:spLocks noGrp="1" noChangeArrowheads="1"/>
          </p:cNvSpPr>
          <p:nvPr>
            <p:ph type="body" idx="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en-US" smtClean="0"/>
          </a:p>
        </p:txBody>
      </p:sp>
    </p:spTree>
    <p:extLst>
      <p:ext uri="{BB962C8B-B14F-4D97-AF65-F5344CB8AC3E}">
        <p14:creationId xmlns:p14="http://schemas.microsoft.com/office/powerpoint/2010/main" val="283204176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D850310-F356-4269-9052-3010E82C8C5B}" type="slidenum">
              <a:rPr lang="pt-BR" smtClean="0"/>
              <a:t>48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83256003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260355-F7AE-478B-959B-FD3C79B1BEBF}" type="slidenum">
              <a:rPr lang="pt-BR" smtClean="0"/>
              <a:t>51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13302772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D850310-F356-4269-9052-3010E82C8C5B}" type="slidenum">
              <a:rPr lang="pt-BR" smtClean="0"/>
              <a:t>53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87772129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1208563-B6FD-40D2-AC2F-3DFF95341A04}" type="slidenum">
              <a:rPr lang="pt-BR" smtClean="0"/>
              <a:t>91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89706169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Slide de título">
    <p:bg>
      <p:bgRef idx="1003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tângulo 11"/>
          <p:cNvSpPr/>
          <p:nvPr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rgbClr val="FFFFFF"/>
          </a:solidFill>
          <a:ln w="12700" cap="flat" cmpd="sng" algn="ctr">
            <a:noFill/>
            <a:prstDash val="solid"/>
          </a:ln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latinLnBrk="0" hangingPunct="1"/>
            <a:endParaRPr kumimoji="0" lang="en-US"/>
          </a:p>
        </p:txBody>
      </p:sp>
      <p:sp useBgFill="1">
        <p:nvSpPr>
          <p:cNvPr id="13" name="Retângulo de cantos arredondados 12"/>
          <p:cNvSpPr/>
          <p:nvPr/>
        </p:nvSpPr>
        <p:spPr>
          <a:xfrm>
            <a:off x="65313" y="69755"/>
            <a:ext cx="9013372" cy="6692201"/>
          </a:xfrm>
          <a:prstGeom prst="roundRect">
            <a:avLst>
              <a:gd name="adj" fmla="val 4929"/>
            </a:avLst>
          </a:prstGeom>
          <a:ln w="6350" cap="sq" cmpd="sng" algn="ctr">
            <a:solidFill>
              <a:schemeClr val="tx1">
                <a:alpha val="100000"/>
              </a:schemeClr>
            </a:solidFill>
            <a:prstDash val="solid"/>
          </a:ln>
          <a:effectLst/>
        </p:spPr>
        <p:style>
          <a:lnRef idx="3">
            <a:schemeClr val="lt1"/>
          </a:lnRef>
          <a:fillRef idx="1001">
            <a:schemeClr val="l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/>
          </a:p>
        </p:txBody>
      </p:sp>
      <p:sp>
        <p:nvSpPr>
          <p:cNvPr id="9" name="Subtítulo 8"/>
          <p:cNvSpPr>
            <a:spLocks noGrp="1"/>
          </p:cNvSpPr>
          <p:nvPr>
            <p:ph type="subTitle" idx="1"/>
          </p:nvPr>
        </p:nvSpPr>
        <p:spPr>
          <a:xfrm>
            <a:off x="1295400" y="3200400"/>
            <a:ext cx="6400800" cy="1600200"/>
          </a:xfrm>
        </p:spPr>
        <p:txBody>
          <a:bodyPr/>
          <a:lstStyle>
            <a:lvl1pPr marL="0" indent="0" algn="ctr">
              <a:buNone/>
              <a:defRPr sz="2600">
                <a:solidFill>
                  <a:schemeClr val="tx2"/>
                </a:solidFill>
              </a:defRPr>
            </a:lvl1pPr>
            <a:lvl2pPr marL="457200" indent="0" algn="ctr">
              <a:buNone/>
            </a:lvl2pPr>
            <a:lvl3pPr marL="914400" indent="0" algn="ctr">
              <a:buNone/>
            </a:lvl3pPr>
            <a:lvl4pPr marL="1371600" indent="0" algn="ctr">
              <a:buNone/>
            </a:lvl4pPr>
            <a:lvl5pPr marL="1828800" indent="0" algn="ctr">
              <a:buNone/>
            </a:lvl5pPr>
            <a:lvl6pPr marL="2286000" indent="0" algn="ctr">
              <a:buNone/>
            </a:lvl6pPr>
            <a:lvl7pPr marL="2743200" indent="0" algn="ctr">
              <a:buNone/>
            </a:lvl7pPr>
            <a:lvl8pPr marL="3200400" indent="0" algn="ctr">
              <a:buNone/>
            </a:lvl8pPr>
            <a:lvl9pPr marL="3657600" indent="0" algn="ctr">
              <a:buNone/>
            </a:lvl9pPr>
          </a:lstStyle>
          <a:p>
            <a:r>
              <a:rPr kumimoji="0" lang="pt-BR" smtClean="0"/>
              <a:t>Clique para editar o estilo do subtítulo mestre</a:t>
            </a:r>
            <a:endParaRPr kumimoji="0" lang="en-US"/>
          </a:p>
        </p:txBody>
      </p:sp>
      <p:sp>
        <p:nvSpPr>
          <p:cNvPr id="28" name="Espaço Reservado para Data 2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8045841-39DB-4A33-8014-674A3AE04D86}" type="datetimeFigureOut">
              <a:rPr lang="pt-BR" smtClean="0"/>
              <a:t>06/06/2017</a:t>
            </a:fld>
            <a:endParaRPr lang="pt-BR"/>
          </a:p>
        </p:txBody>
      </p:sp>
      <p:sp>
        <p:nvSpPr>
          <p:cNvPr id="17" name="Espaço Reservado para Rodapé 1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29" name="Espaço Reservado para Número de Slide 28"/>
          <p:cNvSpPr>
            <a:spLocks noGrp="1"/>
          </p:cNvSpPr>
          <p:nvPr>
            <p:ph type="sldNum" sz="quarter" idx="12"/>
          </p:nvPr>
        </p:nvSpPr>
        <p:spPr/>
        <p:txBody>
          <a:bodyPr lIns="0" tIns="0" rIns="0" bIns="0">
            <a:noAutofit/>
          </a:bodyPr>
          <a:lstStyle>
            <a:lvl1pPr>
              <a:defRPr sz="1400">
                <a:solidFill>
                  <a:srgbClr val="FFFFFF"/>
                </a:solidFill>
              </a:defRPr>
            </a:lvl1pPr>
          </a:lstStyle>
          <a:p>
            <a:fld id="{653AFFD5-177D-4B20-ABE8-2AC5A40AFF2C}" type="slidenum">
              <a:rPr lang="pt-BR" smtClean="0"/>
              <a:t>‹nº›</a:t>
            </a:fld>
            <a:endParaRPr lang="pt-BR"/>
          </a:p>
        </p:txBody>
      </p:sp>
      <p:sp>
        <p:nvSpPr>
          <p:cNvPr id="7" name="Retângulo 6"/>
          <p:cNvSpPr/>
          <p:nvPr/>
        </p:nvSpPr>
        <p:spPr>
          <a:xfrm>
            <a:off x="62931" y="1449303"/>
            <a:ext cx="9021537" cy="1527349"/>
          </a:xfrm>
          <a:prstGeom prst="rect">
            <a:avLst/>
          </a:prstGeom>
          <a:solidFill>
            <a:schemeClr val="accent1">
              <a:alpha val="100000"/>
            </a:schemeClr>
          </a:solidFill>
          <a:ln w="19050" cap="sq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/>
          </a:p>
        </p:txBody>
      </p:sp>
      <p:sp>
        <p:nvSpPr>
          <p:cNvPr id="10" name="Retângulo 9"/>
          <p:cNvSpPr/>
          <p:nvPr/>
        </p:nvSpPr>
        <p:spPr>
          <a:xfrm>
            <a:off x="62931" y="1396720"/>
            <a:ext cx="9021537" cy="120580"/>
          </a:xfrm>
          <a:prstGeom prst="rect">
            <a:avLst/>
          </a:prstGeom>
          <a:solidFill>
            <a:schemeClr val="accent1">
              <a:tint val="60000"/>
            </a:schemeClr>
          </a:solidFill>
          <a:ln w="19050" cap="sq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/>
          </a:p>
        </p:txBody>
      </p:sp>
      <p:sp>
        <p:nvSpPr>
          <p:cNvPr id="11" name="Retângulo 10"/>
          <p:cNvSpPr/>
          <p:nvPr/>
        </p:nvSpPr>
        <p:spPr>
          <a:xfrm>
            <a:off x="62931" y="2976649"/>
            <a:ext cx="9021537" cy="110532"/>
          </a:xfrm>
          <a:prstGeom prst="rect">
            <a:avLst/>
          </a:prstGeom>
          <a:solidFill>
            <a:schemeClr val="accent5"/>
          </a:solidFill>
          <a:ln w="19050" cap="sq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/>
          </a:p>
        </p:txBody>
      </p:sp>
      <p:sp>
        <p:nvSpPr>
          <p:cNvPr id="8" name="Título 7"/>
          <p:cNvSpPr>
            <a:spLocks noGrp="1"/>
          </p:cNvSpPr>
          <p:nvPr>
            <p:ph type="ctrTitle"/>
          </p:nvPr>
        </p:nvSpPr>
        <p:spPr>
          <a:xfrm>
            <a:off x="457200" y="1505930"/>
            <a:ext cx="8229600" cy="1470025"/>
          </a:xfrm>
        </p:spPr>
        <p:txBody>
          <a:bodyPr anchor="ctr"/>
          <a:lstStyle>
            <a:lvl1pPr algn="ctr">
              <a:defRPr lang="en-US" dirty="0">
                <a:solidFill>
                  <a:srgbClr val="FFFFFF"/>
                </a:solidFill>
              </a:defRPr>
            </a:lvl1pPr>
          </a:lstStyle>
          <a:p>
            <a:r>
              <a:rPr kumimoji="0" lang="pt-BR" smtClean="0"/>
              <a:t>Clique para editar o título mestre</a:t>
            </a:r>
            <a:endParaRPr kumimoji="0" lang="en-US"/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e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0" lang="pt-BR" smtClean="0"/>
              <a:t>Clique para editar o título mestre</a:t>
            </a:r>
            <a:endParaRPr kumimoji="0" lang="en-US"/>
          </a:p>
        </p:txBody>
      </p:sp>
      <p:sp>
        <p:nvSpPr>
          <p:cNvPr id="3" name="Espaço Reservado para Texto Vertical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 eaLnBrk="1" latinLnBrk="0" hangingPunct="1"/>
            <a:r>
              <a:rPr lang="pt-BR" smtClean="0"/>
              <a:t>Clique para editar o texto mestre</a:t>
            </a:r>
          </a:p>
          <a:p>
            <a:pPr lvl="1" eaLnBrk="1" latinLnBrk="0" hangingPunct="1"/>
            <a:r>
              <a:rPr lang="pt-BR" smtClean="0"/>
              <a:t>Segundo nível</a:t>
            </a:r>
          </a:p>
          <a:p>
            <a:pPr lvl="2" eaLnBrk="1" latinLnBrk="0" hangingPunct="1"/>
            <a:r>
              <a:rPr lang="pt-BR" smtClean="0"/>
              <a:t>Terceiro nível</a:t>
            </a:r>
          </a:p>
          <a:p>
            <a:pPr lvl="3" eaLnBrk="1" latinLnBrk="0" hangingPunct="1"/>
            <a:r>
              <a:rPr lang="pt-BR" smtClean="0"/>
              <a:t>Quarto nível</a:t>
            </a:r>
          </a:p>
          <a:p>
            <a:pPr lvl="4" eaLnBrk="1" latinLnBrk="0" hangingPunct="1"/>
            <a:r>
              <a:rPr lang="pt-BR" smtClean="0"/>
              <a:t>Quinto nível</a:t>
            </a:r>
            <a:endParaRPr kumimoji="0" lang="en-US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8045841-39DB-4A33-8014-674A3AE04D86}" type="datetimeFigureOut">
              <a:rPr lang="pt-BR" smtClean="0"/>
              <a:t>06/06/2017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53AFFD5-177D-4B20-ABE8-2AC5A40AFF2C}" type="slidenum">
              <a:rPr lang="pt-BR" smtClean="0"/>
              <a:t>‹nº›</a:t>
            </a:fld>
            <a:endParaRPr lang="pt-BR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e texto vertica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/>
          <p:cNvSpPr>
            <a:spLocks noGrp="1"/>
          </p:cNvSpPr>
          <p:nvPr>
            <p:ph type="title" orient="vert"/>
          </p:nvPr>
        </p:nvSpPr>
        <p:spPr>
          <a:xfrm>
            <a:off x="6629400" y="274641"/>
            <a:ext cx="2011680" cy="5851525"/>
          </a:xfrm>
        </p:spPr>
        <p:txBody>
          <a:bodyPr vert="eaVert"/>
          <a:lstStyle/>
          <a:p>
            <a:r>
              <a:rPr kumimoji="0" lang="pt-BR" smtClean="0"/>
              <a:t>Clique para editar o título mestre</a:t>
            </a:r>
            <a:endParaRPr kumimoji="0" lang="en-US"/>
          </a:p>
        </p:txBody>
      </p:sp>
      <p:sp>
        <p:nvSpPr>
          <p:cNvPr id="3" name="Espaço Reservado para Texto Vertical 2"/>
          <p:cNvSpPr>
            <a:spLocks noGrp="1"/>
          </p:cNvSpPr>
          <p:nvPr>
            <p:ph type="body" orient="vert" idx="1"/>
          </p:nvPr>
        </p:nvSpPr>
        <p:spPr>
          <a:xfrm>
            <a:off x="914400" y="274640"/>
            <a:ext cx="5562600" cy="5851525"/>
          </a:xfrm>
        </p:spPr>
        <p:txBody>
          <a:bodyPr vert="eaVert"/>
          <a:lstStyle/>
          <a:p>
            <a:pPr lvl="0" eaLnBrk="1" latinLnBrk="0" hangingPunct="1"/>
            <a:r>
              <a:rPr lang="pt-BR" smtClean="0"/>
              <a:t>Clique para editar o texto mestre</a:t>
            </a:r>
          </a:p>
          <a:p>
            <a:pPr lvl="1" eaLnBrk="1" latinLnBrk="0" hangingPunct="1"/>
            <a:r>
              <a:rPr lang="pt-BR" smtClean="0"/>
              <a:t>Segundo nível</a:t>
            </a:r>
          </a:p>
          <a:p>
            <a:pPr lvl="2" eaLnBrk="1" latinLnBrk="0" hangingPunct="1"/>
            <a:r>
              <a:rPr lang="pt-BR" smtClean="0"/>
              <a:t>Terceiro nível</a:t>
            </a:r>
          </a:p>
          <a:p>
            <a:pPr lvl="3" eaLnBrk="1" latinLnBrk="0" hangingPunct="1"/>
            <a:r>
              <a:rPr lang="pt-BR" smtClean="0"/>
              <a:t>Quarto nível</a:t>
            </a:r>
          </a:p>
          <a:p>
            <a:pPr lvl="4" eaLnBrk="1" latinLnBrk="0" hangingPunct="1"/>
            <a:r>
              <a:rPr lang="pt-BR" smtClean="0"/>
              <a:t>Quinto nível</a:t>
            </a:r>
            <a:endParaRPr kumimoji="0" lang="en-US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8045841-39DB-4A33-8014-674A3AE04D86}" type="datetimeFigureOut">
              <a:rPr lang="pt-BR" smtClean="0"/>
              <a:t>06/06/2017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53AFFD5-177D-4B20-ABE8-2AC5A40AFF2C}" type="slidenum">
              <a:rPr lang="pt-BR" smtClean="0"/>
              <a:t>‹nº›</a:t>
            </a:fld>
            <a:endParaRPr lang="pt-BR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lide Conteúdo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ctrTitle"/>
          </p:nvPr>
        </p:nvSpPr>
        <p:spPr>
          <a:xfrm>
            <a:off x="611560" y="260650"/>
            <a:ext cx="7772400" cy="768084"/>
          </a:xfrm>
        </p:spPr>
        <p:txBody>
          <a:bodyPr/>
          <a:lstStyle/>
          <a:p>
            <a:endParaRPr lang="pt-BR" dirty="0"/>
          </a:p>
        </p:txBody>
      </p:sp>
      <p:sp>
        <p:nvSpPr>
          <p:cNvPr id="8" name="Espaço Reservado para Conteúdo 7"/>
          <p:cNvSpPr>
            <a:spLocks noGrp="1"/>
          </p:cNvSpPr>
          <p:nvPr>
            <p:ph sz="quarter" idx="13"/>
          </p:nvPr>
        </p:nvSpPr>
        <p:spPr>
          <a:xfrm>
            <a:off x="611561" y="1316765"/>
            <a:ext cx="7777162" cy="4320117"/>
          </a:xfrm>
        </p:spPr>
        <p:txBody>
          <a:bodyPr/>
          <a:lstStyle/>
          <a:p>
            <a:pPr lvl="0"/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63858247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0" lang="pt-BR" smtClean="0"/>
              <a:t>Clique para editar o título mestre</a:t>
            </a:r>
            <a:endParaRPr kumimoji="0" lang="en-US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8045841-39DB-4A33-8014-674A3AE04D86}" type="datetimeFigureOut">
              <a:rPr lang="pt-BR" smtClean="0"/>
              <a:t>06/06/2017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53AFFD5-177D-4B20-ABE8-2AC5A40AFF2C}" type="slidenum">
              <a:rPr lang="pt-BR" smtClean="0"/>
              <a:t>‹nº›</a:t>
            </a:fld>
            <a:endParaRPr lang="pt-BR"/>
          </a:p>
        </p:txBody>
      </p:sp>
      <p:sp>
        <p:nvSpPr>
          <p:cNvPr id="8" name="Espaço Reservado para Conteúdo 7"/>
          <p:cNvSpPr>
            <a:spLocks noGrp="1"/>
          </p:cNvSpPr>
          <p:nvPr>
            <p:ph sz="quarter" idx="1"/>
          </p:nvPr>
        </p:nvSpPr>
        <p:spPr>
          <a:xfrm>
            <a:off x="914400" y="1447800"/>
            <a:ext cx="7772400" cy="4572000"/>
          </a:xfrm>
        </p:spPr>
        <p:txBody>
          <a:bodyPr vert="horz"/>
          <a:lstStyle/>
          <a:p>
            <a:pPr lvl="0" eaLnBrk="1" latinLnBrk="0" hangingPunct="1"/>
            <a:r>
              <a:rPr lang="pt-BR" smtClean="0"/>
              <a:t>Clique para editar o texto mestre</a:t>
            </a:r>
          </a:p>
          <a:p>
            <a:pPr lvl="1" eaLnBrk="1" latinLnBrk="0" hangingPunct="1"/>
            <a:r>
              <a:rPr lang="pt-BR" smtClean="0"/>
              <a:t>Segundo nível</a:t>
            </a:r>
          </a:p>
          <a:p>
            <a:pPr lvl="2" eaLnBrk="1" latinLnBrk="0" hangingPunct="1"/>
            <a:r>
              <a:rPr lang="pt-BR" smtClean="0"/>
              <a:t>Terceiro nível</a:t>
            </a:r>
          </a:p>
          <a:p>
            <a:pPr lvl="3" eaLnBrk="1" latinLnBrk="0" hangingPunct="1"/>
            <a:r>
              <a:rPr lang="pt-BR" smtClean="0"/>
              <a:t>Quarto nível</a:t>
            </a:r>
          </a:p>
          <a:p>
            <a:pPr lvl="4" eaLnBrk="1" latinLnBrk="0" hangingPunct="1"/>
            <a:r>
              <a:rPr lang="pt-BR" smtClean="0"/>
              <a:t>Quinto nível</a:t>
            </a:r>
            <a:endParaRPr kumimoji="0" lang="en-US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Cabeçalho da Seção">
    <p:bg>
      <p:bgRef idx="1003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tângulo 10"/>
          <p:cNvSpPr/>
          <p:nvPr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rgbClr val="FFFFFF"/>
          </a:solidFill>
          <a:ln w="12700" cap="flat" cmpd="sng" algn="ctr">
            <a:noFill/>
            <a:prstDash val="solid"/>
          </a:ln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latinLnBrk="0" hangingPunct="1"/>
            <a:endParaRPr kumimoji="0" lang="en-US"/>
          </a:p>
        </p:txBody>
      </p:sp>
      <p:sp useBgFill="1">
        <p:nvSpPr>
          <p:cNvPr id="10" name="Retângulo de cantos arredondados 9"/>
          <p:cNvSpPr/>
          <p:nvPr/>
        </p:nvSpPr>
        <p:spPr>
          <a:xfrm>
            <a:off x="65313" y="69755"/>
            <a:ext cx="9013372" cy="6692201"/>
          </a:xfrm>
          <a:prstGeom prst="roundRect">
            <a:avLst>
              <a:gd name="adj" fmla="val 4929"/>
            </a:avLst>
          </a:prstGeom>
          <a:ln w="6350" cap="sq" cmpd="sng" algn="ctr">
            <a:solidFill>
              <a:schemeClr val="tx1">
                <a:alpha val="100000"/>
              </a:schemeClr>
            </a:solidFill>
            <a:prstDash val="solid"/>
          </a:ln>
          <a:effectLst/>
        </p:spPr>
        <p:style>
          <a:lnRef idx="3">
            <a:schemeClr val="lt1"/>
          </a:lnRef>
          <a:fillRef idx="1003">
            <a:schemeClr val="l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/>
          </a:p>
        </p:txBody>
      </p:sp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722313" y="952500"/>
            <a:ext cx="7772400" cy="1362075"/>
          </a:xfrm>
        </p:spPr>
        <p:txBody>
          <a:bodyPr anchor="b" anchorCtr="0"/>
          <a:lstStyle>
            <a:lvl1pPr algn="l">
              <a:buNone/>
              <a:defRPr sz="4000" b="0" cap="none"/>
            </a:lvl1pPr>
          </a:lstStyle>
          <a:p>
            <a:r>
              <a:rPr kumimoji="0" lang="pt-BR" smtClean="0"/>
              <a:t>Clique para editar o título mestre</a:t>
            </a:r>
            <a:endParaRPr kumimoji="0" lang="en-US"/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722313" y="2547938"/>
            <a:ext cx="7772400" cy="1338262"/>
          </a:xfrm>
        </p:spPr>
        <p:txBody>
          <a:bodyPr anchor="t" anchorCtr="0"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</a:lstStyle>
          <a:p>
            <a:pPr lvl="0" eaLnBrk="1" latinLnBrk="0" hangingPunct="1"/>
            <a:r>
              <a:rPr kumimoji="0" lang="pt-BR" smtClean="0"/>
              <a:t>Clique para editar o texto mestre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8045841-39DB-4A33-8014-674A3AE04D86}" type="datetimeFigureOut">
              <a:rPr lang="pt-BR" smtClean="0"/>
              <a:t>06/06/2017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>
          <a:xfrm>
            <a:off x="800100" y="6172200"/>
            <a:ext cx="4000500" cy="457200"/>
          </a:xfrm>
        </p:spPr>
        <p:txBody>
          <a:bodyPr/>
          <a:lstStyle/>
          <a:p>
            <a:endParaRPr lang="pt-BR"/>
          </a:p>
        </p:txBody>
      </p:sp>
      <p:sp>
        <p:nvSpPr>
          <p:cNvPr id="7" name="Retângulo 6"/>
          <p:cNvSpPr/>
          <p:nvPr/>
        </p:nvSpPr>
        <p:spPr>
          <a:xfrm flipV="1">
            <a:off x="69412" y="2376830"/>
            <a:ext cx="9013515" cy="91440"/>
          </a:xfrm>
          <a:prstGeom prst="rect">
            <a:avLst/>
          </a:prstGeom>
          <a:solidFill>
            <a:schemeClr val="accent1">
              <a:alpha val="100000"/>
            </a:schemeClr>
          </a:solidFill>
          <a:ln w="19050" cap="sq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/>
          </a:p>
        </p:txBody>
      </p:sp>
      <p:sp>
        <p:nvSpPr>
          <p:cNvPr id="8" name="Retângulo 7"/>
          <p:cNvSpPr/>
          <p:nvPr/>
        </p:nvSpPr>
        <p:spPr>
          <a:xfrm>
            <a:off x="69146" y="2341475"/>
            <a:ext cx="9013781" cy="45719"/>
          </a:xfrm>
          <a:prstGeom prst="rect">
            <a:avLst/>
          </a:prstGeom>
          <a:solidFill>
            <a:schemeClr val="accent1">
              <a:tint val="60000"/>
            </a:schemeClr>
          </a:solidFill>
          <a:ln w="19050" cap="sq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/>
          </a:p>
        </p:txBody>
      </p:sp>
      <p:sp>
        <p:nvSpPr>
          <p:cNvPr id="9" name="Retângulo 8"/>
          <p:cNvSpPr/>
          <p:nvPr/>
        </p:nvSpPr>
        <p:spPr>
          <a:xfrm>
            <a:off x="68306" y="2468880"/>
            <a:ext cx="9014621" cy="45720"/>
          </a:xfrm>
          <a:prstGeom prst="rect">
            <a:avLst/>
          </a:prstGeom>
          <a:solidFill>
            <a:schemeClr val="accent5"/>
          </a:solidFill>
          <a:ln w="19050" cap="sq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>
          <a:xfrm>
            <a:off x="146304" y="6208776"/>
            <a:ext cx="457200" cy="457200"/>
          </a:xfrm>
        </p:spPr>
        <p:txBody>
          <a:bodyPr/>
          <a:lstStyle/>
          <a:p>
            <a:fld id="{653AFFD5-177D-4B20-ABE8-2AC5A40AFF2C}" type="slidenum">
              <a:rPr lang="pt-BR" smtClean="0"/>
              <a:t>‹nº›</a:t>
            </a:fld>
            <a:endParaRPr lang="pt-BR"/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as Partes d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0" lang="pt-BR" smtClean="0"/>
              <a:t>Clique para editar o título mestre</a:t>
            </a:r>
            <a:endParaRPr kumimoji="0" lang="en-US"/>
          </a:p>
        </p:txBody>
      </p:sp>
      <p:sp>
        <p:nvSpPr>
          <p:cNvPr id="5" name="Espaço Reservado para Dat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8045841-39DB-4A33-8014-674A3AE04D86}" type="datetimeFigureOut">
              <a:rPr lang="pt-BR" smtClean="0"/>
              <a:t>06/06/2017</a:t>
            </a:fld>
            <a:endParaRPr lang="pt-BR"/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53AFFD5-177D-4B20-ABE8-2AC5A40AFF2C}" type="slidenum">
              <a:rPr lang="pt-BR" smtClean="0"/>
              <a:t>‹nº›</a:t>
            </a:fld>
            <a:endParaRPr lang="pt-BR"/>
          </a:p>
        </p:txBody>
      </p:sp>
      <p:sp>
        <p:nvSpPr>
          <p:cNvPr id="9" name="Espaço Reservado para Conteúdo 8"/>
          <p:cNvSpPr>
            <a:spLocks noGrp="1"/>
          </p:cNvSpPr>
          <p:nvPr>
            <p:ph sz="quarter" idx="1"/>
          </p:nvPr>
        </p:nvSpPr>
        <p:spPr>
          <a:xfrm>
            <a:off x="914400" y="1447800"/>
            <a:ext cx="3749040" cy="4572000"/>
          </a:xfrm>
        </p:spPr>
        <p:txBody>
          <a:bodyPr vert="horz"/>
          <a:lstStyle/>
          <a:p>
            <a:pPr lvl="0" eaLnBrk="1" latinLnBrk="0" hangingPunct="1"/>
            <a:r>
              <a:rPr lang="pt-BR" smtClean="0"/>
              <a:t>Clique para editar o texto mestre</a:t>
            </a:r>
          </a:p>
          <a:p>
            <a:pPr lvl="1" eaLnBrk="1" latinLnBrk="0" hangingPunct="1"/>
            <a:r>
              <a:rPr lang="pt-BR" smtClean="0"/>
              <a:t>Segundo nível</a:t>
            </a:r>
          </a:p>
          <a:p>
            <a:pPr lvl="2" eaLnBrk="1" latinLnBrk="0" hangingPunct="1"/>
            <a:r>
              <a:rPr lang="pt-BR" smtClean="0"/>
              <a:t>Terceiro nível</a:t>
            </a:r>
          </a:p>
          <a:p>
            <a:pPr lvl="3" eaLnBrk="1" latinLnBrk="0" hangingPunct="1"/>
            <a:r>
              <a:rPr lang="pt-BR" smtClean="0"/>
              <a:t>Quarto nível</a:t>
            </a:r>
          </a:p>
          <a:p>
            <a:pPr lvl="4" eaLnBrk="1" latinLnBrk="0" hangingPunct="1"/>
            <a:r>
              <a:rPr lang="pt-BR" smtClean="0"/>
              <a:t>Quinto nível</a:t>
            </a:r>
            <a:endParaRPr kumimoji="0" lang="en-US"/>
          </a:p>
        </p:txBody>
      </p:sp>
      <p:sp>
        <p:nvSpPr>
          <p:cNvPr id="11" name="Espaço Reservado para Conteúdo 10"/>
          <p:cNvSpPr>
            <a:spLocks noGrp="1"/>
          </p:cNvSpPr>
          <p:nvPr>
            <p:ph sz="quarter" idx="2"/>
          </p:nvPr>
        </p:nvSpPr>
        <p:spPr>
          <a:xfrm>
            <a:off x="4933950" y="1447800"/>
            <a:ext cx="3749040" cy="4572000"/>
          </a:xfrm>
        </p:spPr>
        <p:txBody>
          <a:bodyPr vert="horz"/>
          <a:lstStyle/>
          <a:p>
            <a:pPr lvl="0" eaLnBrk="1" latinLnBrk="0" hangingPunct="1"/>
            <a:r>
              <a:rPr lang="pt-BR" smtClean="0"/>
              <a:t>Clique para editar o texto mestre</a:t>
            </a:r>
          </a:p>
          <a:p>
            <a:pPr lvl="1" eaLnBrk="1" latinLnBrk="0" hangingPunct="1"/>
            <a:r>
              <a:rPr lang="pt-BR" smtClean="0"/>
              <a:t>Segundo nível</a:t>
            </a:r>
          </a:p>
          <a:p>
            <a:pPr lvl="2" eaLnBrk="1" latinLnBrk="0" hangingPunct="1"/>
            <a:r>
              <a:rPr lang="pt-BR" smtClean="0"/>
              <a:t>Terceiro nível</a:t>
            </a:r>
          </a:p>
          <a:p>
            <a:pPr lvl="3" eaLnBrk="1" latinLnBrk="0" hangingPunct="1"/>
            <a:r>
              <a:rPr lang="pt-BR" smtClean="0"/>
              <a:t>Quarto nível</a:t>
            </a:r>
          </a:p>
          <a:p>
            <a:pPr lvl="4" eaLnBrk="1" latinLnBrk="0" hangingPunct="1"/>
            <a:r>
              <a:rPr lang="pt-BR" smtClean="0"/>
              <a:t>Quinto nível</a:t>
            </a:r>
            <a:endParaRPr kumimoji="0" lang="en-US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914400" y="273050"/>
            <a:ext cx="7772400" cy="1143000"/>
          </a:xfrm>
        </p:spPr>
        <p:txBody>
          <a:bodyPr anchor="b" anchorCtr="0"/>
          <a:lstStyle>
            <a:lvl1pPr>
              <a:defRPr/>
            </a:lvl1pPr>
          </a:lstStyle>
          <a:p>
            <a:r>
              <a:rPr kumimoji="0" lang="pt-BR" smtClean="0"/>
              <a:t>Clique para editar o título mestre</a:t>
            </a:r>
            <a:endParaRPr kumimoji="0" lang="en-US"/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914400" y="1447800"/>
            <a:ext cx="3733800" cy="762000"/>
          </a:xfrm>
          <a:noFill/>
          <a:ln w="12700" cap="sq" cmpd="sng" algn="ctr">
            <a:noFill/>
            <a:prstDash val="solid"/>
          </a:ln>
        </p:spPr>
        <p:txBody>
          <a:bodyPr lIns="91440" anchor="b" anchorCtr="0">
            <a:noAutofit/>
          </a:bodyPr>
          <a:lstStyle>
            <a:lvl1pPr marL="0" indent="0">
              <a:buNone/>
              <a:defRPr sz="2400" b="1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  <a:lvl2pPr>
              <a:buNone/>
              <a:defRPr sz="2000" b="1"/>
            </a:lvl2pPr>
            <a:lvl3pPr>
              <a:buNone/>
              <a:defRPr sz="1800" b="1"/>
            </a:lvl3pPr>
            <a:lvl4pPr>
              <a:buNone/>
              <a:defRPr sz="1600" b="1"/>
            </a:lvl4pPr>
            <a:lvl5pPr>
              <a:buNone/>
              <a:defRPr sz="1600" b="1"/>
            </a:lvl5pPr>
          </a:lstStyle>
          <a:p>
            <a:pPr lvl="0" eaLnBrk="1" latinLnBrk="0" hangingPunct="1"/>
            <a:r>
              <a:rPr kumimoji="0" lang="pt-BR" smtClean="0"/>
              <a:t>Clique para editar o texto mestre</a:t>
            </a:r>
          </a:p>
        </p:txBody>
      </p:sp>
      <p:sp>
        <p:nvSpPr>
          <p:cNvPr id="4" name="Espaço Reservado para Texto 3"/>
          <p:cNvSpPr>
            <a:spLocks noGrp="1"/>
          </p:cNvSpPr>
          <p:nvPr>
            <p:ph type="body" sz="half" idx="3"/>
          </p:nvPr>
        </p:nvSpPr>
        <p:spPr>
          <a:xfrm>
            <a:off x="4953000" y="1447800"/>
            <a:ext cx="3733800" cy="762000"/>
          </a:xfrm>
          <a:noFill/>
          <a:ln w="12700" cap="sq" cmpd="sng" algn="ctr">
            <a:noFill/>
            <a:prstDash val="solid"/>
          </a:ln>
        </p:spPr>
        <p:txBody>
          <a:bodyPr lIns="91440" anchor="b" anchorCtr="0">
            <a:noAutofit/>
          </a:bodyPr>
          <a:lstStyle>
            <a:lvl1pPr marL="0" indent="0">
              <a:buNone/>
              <a:defRPr sz="2400" b="1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  <a:lvl2pPr>
              <a:buNone/>
              <a:defRPr sz="2000" b="1"/>
            </a:lvl2pPr>
            <a:lvl3pPr>
              <a:buNone/>
              <a:defRPr sz="1800" b="1"/>
            </a:lvl3pPr>
            <a:lvl4pPr>
              <a:buNone/>
              <a:defRPr sz="1600" b="1"/>
            </a:lvl4pPr>
            <a:lvl5pPr>
              <a:buNone/>
              <a:defRPr sz="1600" b="1"/>
            </a:lvl5pPr>
          </a:lstStyle>
          <a:p>
            <a:pPr lvl="0" eaLnBrk="1" latinLnBrk="0" hangingPunct="1"/>
            <a:r>
              <a:rPr kumimoji="0" lang="pt-BR" smtClean="0"/>
              <a:t>Clique para editar o texto mestre</a:t>
            </a:r>
          </a:p>
        </p:txBody>
      </p:sp>
      <p:sp>
        <p:nvSpPr>
          <p:cNvPr id="7" name="Espaço Reservado para Data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8045841-39DB-4A33-8014-674A3AE04D86}" type="datetimeFigureOut">
              <a:rPr lang="pt-BR" smtClean="0"/>
              <a:t>06/06/2017</a:t>
            </a:fld>
            <a:endParaRPr lang="pt-BR"/>
          </a:p>
        </p:txBody>
      </p:sp>
      <p:sp>
        <p:nvSpPr>
          <p:cNvPr id="8" name="Espaço Reservado para Rodapé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9" name="Espaço Reservado para Número de Slide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53AFFD5-177D-4B20-ABE8-2AC5A40AFF2C}" type="slidenum">
              <a:rPr lang="pt-BR" smtClean="0"/>
              <a:t>‹nº›</a:t>
            </a:fld>
            <a:endParaRPr lang="pt-BR"/>
          </a:p>
        </p:txBody>
      </p:sp>
      <p:sp>
        <p:nvSpPr>
          <p:cNvPr id="11" name="Espaço Reservado para Conteúdo 10"/>
          <p:cNvSpPr>
            <a:spLocks noGrp="1"/>
          </p:cNvSpPr>
          <p:nvPr>
            <p:ph sz="half" idx="2"/>
          </p:nvPr>
        </p:nvSpPr>
        <p:spPr>
          <a:xfrm>
            <a:off x="914400" y="2247900"/>
            <a:ext cx="3733800" cy="3886200"/>
          </a:xfrm>
        </p:spPr>
        <p:txBody>
          <a:bodyPr vert="horz"/>
          <a:lstStyle/>
          <a:p>
            <a:pPr lvl="0" eaLnBrk="1" latinLnBrk="0" hangingPunct="1"/>
            <a:r>
              <a:rPr lang="pt-BR" smtClean="0"/>
              <a:t>Clique para editar o texto mestre</a:t>
            </a:r>
          </a:p>
          <a:p>
            <a:pPr lvl="1" eaLnBrk="1" latinLnBrk="0" hangingPunct="1"/>
            <a:r>
              <a:rPr lang="pt-BR" smtClean="0"/>
              <a:t>Segundo nível</a:t>
            </a:r>
          </a:p>
          <a:p>
            <a:pPr lvl="2" eaLnBrk="1" latinLnBrk="0" hangingPunct="1"/>
            <a:r>
              <a:rPr lang="pt-BR" smtClean="0"/>
              <a:t>Terceiro nível</a:t>
            </a:r>
          </a:p>
          <a:p>
            <a:pPr lvl="3" eaLnBrk="1" latinLnBrk="0" hangingPunct="1"/>
            <a:r>
              <a:rPr lang="pt-BR" smtClean="0"/>
              <a:t>Quarto nível</a:t>
            </a:r>
          </a:p>
          <a:p>
            <a:pPr lvl="4" eaLnBrk="1" latinLnBrk="0" hangingPunct="1"/>
            <a:r>
              <a:rPr lang="pt-BR" smtClean="0"/>
              <a:t>Quinto nível</a:t>
            </a:r>
            <a:endParaRPr kumimoji="0" lang="en-US"/>
          </a:p>
        </p:txBody>
      </p:sp>
      <p:sp>
        <p:nvSpPr>
          <p:cNvPr id="13" name="Espaço Reservado para Conteúdo 12"/>
          <p:cNvSpPr>
            <a:spLocks noGrp="1"/>
          </p:cNvSpPr>
          <p:nvPr>
            <p:ph sz="half" idx="4"/>
          </p:nvPr>
        </p:nvSpPr>
        <p:spPr>
          <a:xfrm>
            <a:off x="4953000" y="2247900"/>
            <a:ext cx="3733800" cy="3886200"/>
          </a:xfrm>
        </p:spPr>
        <p:txBody>
          <a:bodyPr vert="horz"/>
          <a:lstStyle/>
          <a:p>
            <a:pPr lvl="0" eaLnBrk="1" latinLnBrk="0" hangingPunct="1"/>
            <a:r>
              <a:rPr lang="pt-BR" smtClean="0"/>
              <a:t>Clique para editar o texto mestre</a:t>
            </a:r>
          </a:p>
          <a:p>
            <a:pPr lvl="1" eaLnBrk="1" latinLnBrk="0" hangingPunct="1"/>
            <a:r>
              <a:rPr lang="pt-BR" smtClean="0"/>
              <a:t>Segundo nível</a:t>
            </a:r>
          </a:p>
          <a:p>
            <a:pPr lvl="2" eaLnBrk="1" latinLnBrk="0" hangingPunct="1"/>
            <a:r>
              <a:rPr lang="pt-BR" smtClean="0"/>
              <a:t>Terceiro nível</a:t>
            </a:r>
          </a:p>
          <a:p>
            <a:pPr lvl="3" eaLnBrk="1" latinLnBrk="0" hangingPunct="1"/>
            <a:r>
              <a:rPr lang="pt-BR" smtClean="0"/>
              <a:t>Quarto nível</a:t>
            </a:r>
          </a:p>
          <a:p>
            <a:pPr lvl="4" eaLnBrk="1" latinLnBrk="0" hangingPunct="1"/>
            <a:r>
              <a:rPr lang="pt-BR" smtClean="0"/>
              <a:t>Quinto nível</a:t>
            </a:r>
            <a:endParaRPr kumimoji="0" lang="en-US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0" lang="pt-BR" smtClean="0"/>
              <a:t>Clique para editar o título mestre</a:t>
            </a:r>
            <a:endParaRPr kumimoji="0" lang="en-US"/>
          </a:p>
        </p:txBody>
      </p:sp>
      <p:sp>
        <p:nvSpPr>
          <p:cNvPr id="3" name="Espaço Reservado para Data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8045841-39DB-4A33-8014-674A3AE04D86}" type="datetimeFigureOut">
              <a:rPr lang="pt-BR" smtClean="0"/>
              <a:t>06/06/2017</a:t>
            </a:fld>
            <a:endParaRPr lang="pt-BR"/>
          </a:p>
        </p:txBody>
      </p:sp>
      <p:sp>
        <p:nvSpPr>
          <p:cNvPr id="4" name="Espaço Reservado para Rodapé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5" name="Espaço Reservado para Número de Slid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53AFFD5-177D-4B20-ABE8-2AC5A40AFF2C}" type="slidenum">
              <a:rPr lang="pt-BR" smtClean="0"/>
              <a:t>‹nº›</a:t>
            </a:fld>
            <a:endParaRPr lang="pt-BR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Data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8045841-39DB-4A33-8014-674A3AE04D86}" type="datetimeFigureOut">
              <a:rPr lang="pt-BR" smtClean="0"/>
              <a:t>06/06/2017</a:t>
            </a:fld>
            <a:endParaRPr lang="pt-BR"/>
          </a:p>
        </p:txBody>
      </p:sp>
      <p:sp>
        <p:nvSpPr>
          <p:cNvPr id="3" name="Espaço Reservado para Rodapé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53AFFD5-177D-4B20-ABE8-2AC5A40AFF2C}" type="slidenum">
              <a:rPr lang="pt-BR" smtClean="0"/>
              <a:t>‹nº›</a:t>
            </a:fld>
            <a:endParaRPr lang="pt-BR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údo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tângulo 7"/>
          <p:cNvSpPr/>
          <p:nvPr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rgbClr val="FFFFFF"/>
          </a:solidFill>
          <a:ln w="19050" cap="sq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/>
          </a:p>
        </p:txBody>
      </p:sp>
      <p:sp useBgFill="1">
        <p:nvSpPr>
          <p:cNvPr id="9" name="Retângulo de cantos arredondados 8"/>
          <p:cNvSpPr/>
          <p:nvPr/>
        </p:nvSpPr>
        <p:spPr>
          <a:xfrm>
            <a:off x="64008" y="69755"/>
            <a:ext cx="9013372" cy="6693408"/>
          </a:xfrm>
          <a:prstGeom prst="roundRect">
            <a:avLst>
              <a:gd name="adj" fmla="val 4929"/>
            </a:avLst>
          </a:prstGeom>
          <a:ln w="6350" cap="sq" cmpd="sng" algn="ctr">
            <a:solidFill>
              <a:schemeClr val="tx1">
                <a:alpha val="100000"/>
              </a:schemeClr>
            </a:solidFill>
            <a:prstDash val="solid"/>
          </a:ln>
          <a:effectLst/>
        </p:spPr>
        <p:style>
          <a:lnRef idx="3">
            <a:schemeClr val="lt1"/>
          </a:lnRef>
          <a:fillRef idx="1001">
            <a:schemeClr val="l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/>
          </a:p>
        </p:txBody>
      </p:sp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914400" y="273050"/>
            <a:ext cx="7772400" cy="1143000"/>
          </a:xfrm>
        </p:spPr>
        <p:txBody>
          <a:bodyPr anchor="b" anchorCtr="0"/>
          <a:lstStyle>
            <a:lvl1pPr algn="l">
              <a:buNone/>
              <a:defRPr sz="4000" b="0"/>
            </a:lvl1pPr>
          </a:lstStyle>
          <a:p>
            <a:r>
              <a:rPr kumimoji="0" lang="pt-BR" smtClean="0"/>
              <a:t>Clique para editar o título mestre</a:t>
            </a:r>
            <a:endParaRPr kumimoji="0" lang="en-US"/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2"/>
          </p:nvPr>
        </p:nvSpPr>
        <p:spPr>
          <a:xfrm>
            <a:off x="914400" y="1600200"/>
            <a:ext cx="1905000" cy="4495800"/>
          </a:xfrm>
        </p:spPr>
        <p:txBody>
          <a:bodyPr/>
          <a:lstStyle>
            <a:lvl1pPr marL="0" indent="0">
              <a:buNone/>
              <a:defRPr sz="1800"/>
            </a:lvl1pPr>
            <a:lvl2pPr>
              <a:buNone/>
              <a:defRPr sz="1200"/>
            </a:lvl2pPr>
            <a:lvl3pPr>
              <a:buNone/>
              <a:defRPr sz="1000"/>
            </a:lvl3pPr>
            <a:lvl4pPr>
              <a:buNone/>
              <a:defRPr sz="900"/>
            </a:lvl4pPr>
            <a:lvl5pPr>
              <a:buNone/>
              <a:defRPr sz="900"/>
            </a:lvl5pPr>
          </a:lstStyle>
          <a:p>
            <a:pPr lvl="0" eaLnBrk="1" latinLnBrk="0" hangingPunct="1"/>
            <a:r>
              <a:rPr kumimoji="0" lang="pt-BR" smtClean="0"/>
              <a:t>Clique para editar o texto mestre</a:t>
            </a:r>
          </a:p>
        </p:txBody>
      </p:sp>
      <p:sp>
        <p:nvSpPr>
          <p:cNvPr id="5" name="Espaço Reservado para Dat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8045841-39DB-4A33-8014-674A3AE04D86}" type="datetimeFigureOut">
              <a:rPr lang="pt-BR" smtClean="0"/>
              <a:t>06/06/2017</a:t>
            </a:fld>
            <a:endParaRPr lang="pt-BR"/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53AFFD5-177D-4B20-ABE8-2AC5A40AFF2C}" type="slidenum">
              <a:rPr lang="pt-BR" smtClean="0"/>
              <a:t>‹nº›</a:t>
            </a:fld>
            <a:endParaRPr lang="pt-BR"/>
          </a:p>
        </p:txBody>
      </p:sp>
      <p:sp>
        <p:nvSpPr>
          <p:cNvPr id="11" name="Espaço Reservado para Conteúdo 10"/>
          <p:cNvSpPr>
            <a:spLocks noGrp="1"/>
          </p:cNvSpPr>
          <p:nvPr>
            <p:ph sz="quarter" idx="1"/>
          </p:nvPr>
        </p:nvSpPr>
        <p:spPr>
          <a:xfrm>
            <a:off x="2971800" y="1600200"/>
            <a:ext cx="5715000" cy="4495800"/>
          </a:xfrm>
        </p:spPr>
        <p:txBody>
          <a:bodyPr vert="horz"/>
          <a:lstStyle/>
          <a:p>
            <a:pPr lvl="0" eaLnBrk="1" latinLnBrk="0" hangingPunct="1"/>
            <a:r>
              <a:rPr lang="pt-BR" smtClean="0"/>
              <a:t>Clique para editar o texto mestre</a:t>
            </a:r>
          </a:p>
          <a:p>
            <a:pPr lvl="1" eaLnBrk="1" latinLnBrk="0" hangingPunct="1"/>
            <a:r>
              <a:rPr lang="pt-BR" smtClean="0"/>
              <a:t>Segundo nível</a:t>
            </a:r>
          </a:p>
          <a:p>
            <a:pPr lvl="2" eaLnBrk="1" latinLnBrk="0" hangingPunct="1"/>
            <a:r>
              <a:rPr lang="pt-BR" smtClean="0"/>
              <a:t>Terceiro nível</a:t>
            </a:r>
          </a:p>
          <a:p>
            <a:pPr lvl="3" eaLnBrk="1" latinLnBrk="0" hangingPunct="1"/>
            <a:r>
              <a:rPr lang="pt-BR" smtClean="0"/>
              <a:t>Quarto nível</a:t>
            </a:r>
          </a:p>
          <a:p>
            <a:pPr lvl="4" eaLnBrk="1" latinLnBrk="0" hangingPunct="1"/>
            <a:r>
              <a:rPr lang="pt-BR" smtClean="0"/>
              <a:t>Quinto nível</a:t>
            </a:r>
            <a:endParaRPr kumimoji="0" lang="en-US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m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914400" y="4900550"/>
            <a:ext cx="7315200" cy="522288"/>
          </a:xfrm>
        </p:spPr>
        <p:txBody>
          <a:bodyPr anchor="ctr">
            <a:noAutofit/>
          </a:bodyPr>
          <a:lstStyle>
            <a:lvl1pPr algn="l">
              <a:buNone/>
              <a:defRPr sz="2800" b="0"/>
            </a:lvl1pPr>
          </a:lstStyle>
          <a:p>
            <a:r>
              <a:rPr kumimoji="0" lang="pt-BR" smtClean="0"/>
              <a:t>Clique para editar o título mestre</a:t>
            </a:r>
            <a:endParaRPr kumimoji="0" lang="en-US"/>
          </a:p>
        </p:txBody>
      </p:sp>
      <p:sp>
        <p:nvSpPr>
          <p:cNvPr id="4" name="Espaço Reservado para Texto 3"/>
          <p:cNvSpPr>
            <a:spLocks noGrp="1"/>
          </p:cNvSpPr>
          <p:nvPr>
            <p:ph type="body" sz="half" idx="2"/>
          </p:nvPr>
        </p:nvSpPr>
        <p:spPr>
          <a:xfrm>
            <a:off x="914400" y="5445825"/>
            <a:ext cx="7315200" cy="685800"/>
          </a:xfrm>
        </p:spPr>
        <p:txBody>
          <a:bodyPr/>
          <a:lstStyle>
            <a:lvl1pPr marL="0" indent="0">
              <a:buFontTx/>
              <a:buNone/>
              <a:defRPr sz="1600"/>
            </a:lvl1pPr>
            <a:lvl2pPr>
              <a:defRPr sz="1200"/>
            </a:lvl2pPr>
            <a:lvl3pPr>
              <a:defRPr sz="1000"/>
            </a:lvl3pPr>
            <a:lvl4pPr>
              <a:defRPr sz="900"/>
            </a:lvl4pPr>
            <a:lvl5pPr>
              <a:defRPr sz="900"/>
            </a:lvl5pPr>
          </a:lstStyle>
          <a:p>
            <a:pPr lvl="0" eaLnBrk="1" latinLnBrk="0" hangingPunct="1"/>
            <a:r>
              <a:rPr kumimoji="0" lang="pt-BR" smtClean="0"/>
              <a:t>Clique para editar o texto mestre</a:t>
            </a:r>
          </a:p>
        </p:txBody>
      </p:sp>
      <p:sp>
        <p:nvSpPr>
          <p:cNvPr id="5" name="Espaço Reservado para Dat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8045841-39DB-4A33-8014-674A3AE04D86}" type="datetimeFigureOut">
              <a:rPr lang="pt-BR" smtClean="0"/>
              <a:t>06/06/2017</a:t>
            </a:fld>
            <a:endParaRPr lang="pt-BR"/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11"/>
          </p:nvPr>
        </p:nvSpPr>
        <p:spPr>
          <a:xfrm>
            <a:off x="914400" y="6172200"/>
            <a:ext cx="3886200" cy="457200"/>
          </a:xfrm>
        </p:spPr>
        <p:txBody>
          <a:bodyPr/>
          <a:lstStyle/>
          <a:p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12"/>
          </p:nvPr>
        </p:nvSpPr>
        <p:spPr>
          <a:xfrm>
            <a:off x="146304" y="6208776"/>
            <a:ext cx="457200" cy="457200"/>
          </a:xfrm>
        </p:spPr>
        <p:txBody>
          <a:bodyPr/>
          <a:lstStyle/>
          <a:p>
            <a:fld id="{653AFFD5-177D-4B20-ABE8-2AC5A40AFF2C}" type="slidenum">
              <a:rPr lang="pt-BR" smtClean="0"/>
              <a:t>‹nº›</a:t>
            </a:fld>
            <a:endParaRPr lang="pt-BR"/>
          </a:p>
        </p:txBody>
      </p:sp>
      <p:sp>
        <p:nvSpPr>
          <p:cNvPr id="11" name="Retângulo 10"/>
          <p:cNvSpPr/>
          <p:nvPr/>
        </p:nvSpPr>
        <p:spPr>
          <a:xfrm flipV="1">
            <a:off x="68307" y="4683555"/>
            <a:ext cx="9006840" cy="91440"/>
          </a:xfrm>
          <a:prstGeom prst="rect">
            <a:avLst/>
          </a:prstGeom>
          <a:solidFill>
            <a:schemeClr val="accent1">
              <a:alpha val="100000"/>
            </a:schemeClr>
          </a:solidFill>
          <a:ln w="19050" cap="sq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/>
          </a:p>
        </p:txBody>
      </p:sp>
      <p:sp>
        <p:nvSpPr>
          <p:cNvPr id="12" name="Retângulo 11"/>
          <p:cNvSpPr/>
          <p:nvPr/>
        </p:nvSpPr>
        <p:spPr>
          <a:xfrm>
            <a:off x="68508" y="4650474"/>
            <a:ext cx="9006639" cy="45719"/>
          </a:xfrm>
          <a:prstGeom prst="rect">
            <a:avLst/>
          </a:prstGeom>
          <a:solidFill>
            <a:schemeClr val="accent1">
              <a:tint val="60000"/>
            </a:schemeClr>
          </a:solidFill>
          <a:ln w="19050" cap="sq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/>
          </a:p>
        </p:txBody>
      </p:sp>
      <p:sp>
        <p:nvSpPr>
          <p:cNvPr id="13" name="Retângulo 12"/>
          <p:cNvSpPr/>
          <p:nvPr/>
        </p:nvSpPr>
        <p:spPr>
          <a:xfrm>
            <a:off x="68510" y="4773224"/>
            <a:ext cx="9006637" cy="48807"/>
          </a:xfrm>
          <a:prstGeom prst="rect">
            <a:avLst/>
          </a:prstGeom>
          <a:solidFill>
            <a:schemeClr val="accent5"/>
          </a:solidFill>
          <a:ln w="19050" cap="sq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/>
          </a:p>
        </p:txBody>
      </p:sp>
      <p:sp>
        <p:nvSpPr>
          <p:cNvPr id="3" name="Espaço Reservado para Imagem 2"/>
          <p:cNvSpPr>
            <a:spLocks noGrp="1"/>
          </p:cNvSpPr>
          <p:nvPr>
            <p:ph type="pic" idx="1"/>
          </p:nvPr>
        </p:nvSpPr>
        <p:spPr>
          <a:xfrm>
            <a:off x="68308" y="66675"/>
            <a:ext cx="9001873" cy="4581525"/>
          </a:xfrm>
          <a:prstGeom prst="round2SameRect">
            <a:avLst>
              <a:gd name="adj1" fmla="val 7101"/>
              <a:gd name="adj2" fmla="val 0"/>
            </a:avLst>
          </a:prstGeom>
          <a:solidFill>
            <a:schemeClr val="bg2"/>
          </a:solidFill>
          <a:ln w="6350">
            <a:solidFill>
              <a:schemeClr val="tx1"/>
            </a:solidFill>
          </a:ln>
        </p:spPr>
        <p:txBody>
          <a:bodyPr/>
          <a:lstStyle>
            <a:lvl1pPr marL="0" indent="0">
              <a:buNone/>
              <a:defRPr sz="3200"/>
            </a:lvl1pPr>
          </a:lstStyle>
          <a:p>
            <a:r>
              <a:rPr kumimoji="0" lang="pt-BR" smtClean="0"/>
              <a:t>Clique no ícone para adicionar uma imagem</a:t>
            </a:r>
            <a:endParaRPr kumimoji="0" lang="en-US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tângulo 8"/>
          <p:cNvSpPr/>
          <p:nvPr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rgbClr val="FFFFFF"/>
          </a:solidFill>
          <a:ln w="12700" cap="flat" cmpd="sng" algn="ctr">
            <a:noFill/>
            <a:prstDash val="solid"/>
          </a:ln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latinLnBrk="0" hangingPunct="1"/>
            <a:endParaRPr kumimoji="0" lang="en-US"/>
          </a:p>
        </p:txBody>
      </p:sp>
      <p:sp useBgFill="1">
        <p:nvSpPr>
          <p:cNvPr id="8" name="Retângulo de cantos arredondados 7"/>
          <p:cNvSpPr/>
          <p:nvPr/>
        </p:nvSpPr>
        <p:spPr>
          <a:xfrm>
            <a:off x="64008" y="69755"/>
            <a:ext cx="9013372" cy="6693408"/>
          </a:xfrm>
          <a:prstGeom prst="roundRect">
            <a:avLst>
              <a:gd name="adj" fmla="val 4929"/>
            </a:avLst>
          </a:prstGeom>
          <a:ln w="6350" cap="sq" cmpd="sng" algn="ctr">
            <a:solidFill>
              <a:schemeClr val="tx1">
                <a:alpha val="100000"/>
              </a:schemeClr>
            </a:solidFill>
            <a:prstDash val="solid"/>
          </a:ln>
          <a:effectLst/>
        </p:spPr>
        <p:style>
          <a:lnRef idx="3">
            <a:schemeClr val="lt1"/>
          </a:lnRef>
          <a:fillRef idx="1001">
            <a:schemeClr val="l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/>
          </a:p>
        </p:txBody>
      </p:sp>
      <p:sp>
        <p:nvSpPr>
          <p:cNvPr id="22" name="Espaço Reservado para Título 21"/>
          <p:cNvSpPr>
            <a:spLocks noGrp="1"/>
          </p:cNvSpPr>
          <p:nvPr>
            <p:ph type="title"/>
          </p:nvPr>
        </p:nvSpPr>
        <p:spPr>
          <a:xfrm>
            <a:off x="914400" y="274638"/>
            <a:ext cx="7772400" cy="1143000"/>
          </a:xfrm>
          <a:prstGeom prst="rect">
            <a:avLst/>
          </a:prstGeom>
        </p:spPr>
        <p:txBody>
          <a:bodyPr bIns="91440" anchor="b" anchorCtr="0">
            <a:normAutofit/>
          </a:bodyPr>
          <a:lstStyle/>
          <a:p>
            <a:r>
              <a:rPr kumimoji="0" lang="pt-BR" smtClean="0"/>
              <a:t>Clique para editar o título mestre</a:t>
            </a:r>
            <a:endParaRPr kumimoji="0" lang="en-US"/>
          </a:p>
        </p:txBody>
      </p:sp>
      <p:sp>
        <p:nvSpPr>
          <p:cNvPr id="13" name="Espaço Reservado para Texto 12"/>
          <p:cNvSpPr>
            <a:spLocks noGrp="1"/>
          </p:cNvSpPr>
          <p:nvPr>
            <p:ph type="body" idx="1"/>
          </p:nvPr>
        </p:nvSpPr>
        <p:spPr>
          <a:xfrm>
            <a:off x="914400" y="1447800"/>
            <a:ext cx="7772400" cy="4572000"/>
          </a:xfrm>
          <a:prstGeom prst="rect">
            <a:avLst/>
          </a:prstGeom>
        </p:spPr>
        <p:txBody>
          <a:bodyPr>
            <a:normAutofit/>
          </a:bodyPr>
          <a:lstStyle/>
          <a:p>
            <a:pPr lvl="0" eaLnBrk="1" latinLnBrk="0" hangingPunct="1"/>
            <a:r>
              <a:rPr kumimoji="0" lang="pt-BR" smtClean="0"/>
              <a:t>Clique para editar o texto mestre</a:t>
            </a:r>
          </a:p>
          <a:p>
            <a:pPr lvl="1" eaLnBrk="1" latinLnBrk="0" hangingPunct="1"/>
            <a:r>
              <a:rPr kumimoji="0" lang="pt-BR" smtClean="0"/>
              <a:t>Segundo nível</a:t>
            </a:r>
          </a:p>
          <a:p>
            <a:pPr lvl="2" eaLnBrk="1" latinLnBrk="0" hangingPunct="1"/>
            <a:r>
              <a:rPr kumimoji="0" lang="pt-BR" smtClean="0"/>
              <a:t>Terceiro nível</a:t>
            </a:r>
          </a:p>
          <a:p>
            <a:pPr lvl="3" eaLnBrk="1" latinLnBrk="0" hangingPunct="1"/>
            <a:r>
              <a:rPr kumimoji="0" lang="pt-BR" smtClean="0"/>
              <a:t>Quarto nível</a:t>
            </a:r>
          </a:p>
          <a:p>
            <a:pPr lvl="4" eaLnBrk="1" latinLnBrk="0" hangingPunct="1"/>
            <a:r>
              <a:rPr kumimoji="0" lang="pt-BR" smtClean="0"/>
              <a:t>Quinto nível</a:t>
            </a:r>
            <a:endParaRPr kumimoji="0" lang="en-US"/>
          </a:p>
        </p:txBody>
      </p:sp>
      <p:sp>
        <p:nvSpPr>
          <p:cNvPr id="14" name="Espaço Reservado para Data 13"/>
          <p:cNvSpPr>
            <a:spLocks noGrp="1"/>
          </p:cNvSpPr>
          <p:nvPr>
            <p:ph type="dt" sz="half" idx="2"/>
          </p:nvPr>
        </p:nvSpPr>
        <p:spPr>
          <a:xfrm>
            <a:off x="6172200" y="6191250"/>
            <a:ext cx="2476500" cy="476250"/>
          </a:xfrm>
          <a:prstGeom prst="rect">
            <a:avLst/>
          </a:prstGeom>
        </p:spPr>
        <p:txBody>
          <a:bodyPr anchor="ctr" anchorCtr="0"/>
          <a:lstStyle>
            <a:lvl1pPr algn="r" eaLnBrk="1" latinLnBrk="0" hangingPunct="1">
              <a:defRPr kumimoji="0" sz="1400">
                <a:solidFill>
                  <a:schemeClr val="tx2"/>
                </a:solidFill>
              </a:defRPr>
            </a:lvl1pPr>
          </a:lstStyle>
          <a:p>
            <a:fld id="{C8045841-39DB-4A33-8014-674A3AE04D86}" type="datetimeFigureOut">
              <a:rPr lang="pt-BR" smtClean="0"/>
              <a:t>06/06/2017</a:t>
            </a:fld>
            <a:endParaRPr lang="pt-BR"/>
          </a:p>
        </p:txBody>
      </p:sp>
      <p:sp>
        <p:nvSpPr>
          <p:cNvPr id="3" name="Espaço Reservado para Rodapé 2"/>
          <p:cNvSpPr>
            <a:spLocks noGrp="1"/>
          </p:cNvSpPr>
          <p:nvPr>
            <p:ph type="ftr" sz="quarter" idx="3"/>
          </p:nvPr>
        </p:nvSpPr>
        <p:spPr>
          <a:xfrm>
            <a:off x="914400" y="6172200"/>
            <a:ext cx="3962400" cy="457200"/>
          </a:xfrm>
          <a:prstGeom prst="rect">
            <a:avLst/>
          </a:prstGeom>
        </p:spPr>
        <p:txBody>
          <a:bodyPr anchor="ctr" anchorCtr="0"/>
          <a:lstStyle>
            <a:lvl1pPr eaLnBrk="1" latinLnBrk="0" hangingPunct="1">
              <a:defRPr kumimoji="0" sz="1400">
                <a:solidFill>
                  <a:schemeClr val="tx2"/>
                </a:solidFill>
              </a:defRPr>
            </a:lvl1pPr>
          </a:lstStyle>
          <a:p>
            <a:endParaRPr lang="pt-BR"/>
          </a:p>
        </p:txBody>
      </p:sp>
      <p:sp>
        <p:nvSpPr>
          <p:cNvPr id="23" name="Espaço Reservado para Número de Slide 22"/>
          <p:cNvSpPr>
            <a:spLocks noGrp="1"/>
          </p:cNvSpPr>
          <p:nvPr>
            <p:ph type="sldNum" sz="quarter" idx="4"/>
          </p:nvPr>
        </p:nvSpPr>
        <p:spPr>
          <a:xfrm>
            <a:off x="146304" y="6210300"/>
            <a:ext cx="457200" cy="457200"/>
          </a:xfrm>
          <a:prstGeom prst="ellipse">
            <a:avLst/>
          </a:prstGeom>
          <a:solidFill>
            <a:schemeClr val="accent1"/>
          </a:solidFill>
        </p:spPr>
        <p:txBody>
          <a:bodyPr wrap="none" lIns="0" tIns="0" rIns="0" bIns="0" anchor="ctr" anchorCtr="1">
            <a:noAutofit/>
          </a:bodyPr>
          <a:lstStyle>
            <a:lvl1pPr algn="ctr" eaLnBrk="1" latinLnBrk="0" hangingPunct="1">
              <a:defRPr kumimoji="0" sz="1400">
                <a:solidFill>
                  <a:srgbClr val="FFFFFF"/>
                </a:solidFill>
                <a:latin typeface="+mj-lt"/>
                <a:ea typeface="+mj-ea"/>
                <a:cs typeface="+mj-cs"/>
              </a:defRPr>
            </a:lvl1pPr>
          </a:lstStyle>
          <a:p>
            <a:fld id="{653AFFD5-177D-4B20-ABE8-2AC5A40AFF2C}" type="slidenum">
              <a:rPr lang="pt-BR" smtClean="0"/>
              <a:t>‹nº›</a:t>
            </a:fld>
            <a:endParaRPr lang="pt-BR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45" r:id="rId1"/>
    <p:sldLayoutId id="2147483746" r:id="rId2"/>
    <p:sldLayoutId id="2147483747" r:id="rId3"/>
    <p:sldLayoutId id="2147483748" r:id="rId4"/>
    <p:sldLayoutId id="2147483749" r:id="rId5"/>
    <p:sldLayoutId id="2147483750" r:id="rId6"/>
    <p:sldLayoutId id="2147483751" r:id="rId7"/>
    <p:sldLayoutId id="2147483752" r:id="rId8"/>
    <p:sldLayoutId id="2147483753" r:id="rId9"/>
    <p:sldLayoutId id="2147483754" r:id="rId10"/>
    <p:sldLayoutId id="2147483755" r:id="rId11"/>
    <p:sldLayoutId id="2147483756" r:id="rId12"/>
  </p:sldLayoutIdLst>
  <p:txStyles>
    <p:titleStyle>
      <a:lvl1pPr algn="l" rtl="0" eaLnBrk="1" latinLnBrk="0" hangingPunct="1">
        <a:spcBef>
          <a:spcPct val="0"/>
        </a:spcBef>
        <a:buNone/>
        <a:defRPr kumimoji="0" sz="4000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274320" indent="-274320" algn="l" rtl="0" eaLnBrk="1" latinLnBrk="0" hangingPunct="1">
        <a:spcBef>
          <a:spcPts val="580"/>
        </a:spcBef>
        <a:buClr>
          <a:schemeClr val="accent1"/>
        </a:buClr>
        <a:buSzPct val="85000"/>
        <a:buFont typeface="Wingdings 2"/>
        <a:buChar char=""/>
        <a:defRPr kumimoji="0" sz="2600" kern="1200">
          <a:solidFill>
            <a:schemeClr val="tx1"/>
          </a:solidFill>
          <a:latin typeface="+mn-lt"/>
          <a:ea typeface="+mn-ea"/>
          <a:cs typeface="+mn-cs"/>
        </a:defRPr>
      </a:lvl1pPr>
      <a:lvl2pPr marL="548640" indent="-228600" algn="l" rtl="0" eaLnBrk="1" latinLnBrk="0" hangingPunct="1">
        <a:spcBef>
          <a:spcPts val="370"/>
        </a:spcBef>
        <a:buClr>
          <a:schemeClr val="accent2"/>
        </a:buClr>
        <a:buSzPct val="85000"/>
        <a:buFont typeface="Wingdings 2"/>
        <a:buChar char=""/>
        <a:defRPr kumimoji="0"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822960" indent="-228600" algn="l" rtl="0" eaLnBrk="1" latinLnBrk="0" hangingPunct="1">
        <a:spcBef>
          <a:spcPts val="370"/>
        </a:spcBef>
        <a:buClr>
          <a:schemeClr val="accent1">
            <a:tint val="60000"/>
          </a:schemeClr>
        </a:buClr>
        <a:buSzPct val="85000"/>
        <a:buFont typeface="Wingdings 2"/>
        <a:buChar char=""/>
        <a:defRPr kumimoji="0"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097280" indent="-228600" algn="l" rtl="0" eaLnBrk="1" latinLnBrk="0" hangingPunct="1">
        <a:spcBef>
          <a:spcPts val="370"/>
        </a:spcBef>
        <a:buClr>
          <a:schemeClr val="accent3"/>
        </a:buClr>
        <a:buSzPct val="80000"/>
        <a:buFont typeface="Wingdings 2"/>
        <a:buChar char=""/>
        <a:defRPr kumimoji="0"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indent="-228600" algn="l" rtl="0" eaLnBrk="1" latinLnBrk="0" hangingPunct="1">
        <a:spcBef>
          <a:spcPts val="370"/>
        </a:spcBef>
        <a:buClr>
          <a:schemeClr val="accent3"/>
        </a:buClr>
        <a:buFontTx/>
        <a:buChar char="o"/>
        <a:defRPr kumimoji="0"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1645920" indent="-228600" algn="l" rtl="0" eaLnBrk="1" latinLnBrk="0" hangingPunct="1">
        <a:spcBef>
          <a:spcPts val="370"/>
        </a:spcBef>
        <a:buClr>
          <a:schemeClr val="accent3"/>
        </a:buClr>
        <a:buChar char="•"/>
        <a:defRPr kumimoji="0" sz="18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1920240" indent="-228600" algn="l" rtl="0" eaLnBrk="1" latinLnBrk="0" hangingPunct="1">
        <a:spcBef>
          <a:spcPts val="370"/>
        </a:spcBef>
        <a:buClr>
          <a:schemeClr val="accent2"/>
        </a:buClr>
        <a:buChar char="•"/>
        <a:defRPr kumimoji="0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2194560" indent="-228600" algn="l" rtl="0" eaLnBrk="1" latinLnBrk="0" hangingPunct="1">
        <a:spcBef>
          <a:spcPts val="370"/>
        </a:spcBef>
        <a:buClr>
          <a:schemeClr val="accent1">
            <a:tint val="60000"/>
          </a:schemeClr>
        </a:buClr>
        <a:buChar char="•"/>
        <a:defRPr kumimoji="0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2468880" indent="-228600" algn="l" rtl="0" eaLnBrk="1" latinLnBrk="0" hangingPunct="1">
        <a:spcBef>
          <a:spcPts val="370"/>
        </a:spcBef>
        <a:buClr>
          <a:schemeClr val="accent2">
            <a:tint val="60000"/>
          </a:schemeClr>
        </a:buClr>
        <a:buChar char="•"/>
        <a:defRPr kumimoji="0"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lvl1pPr marL="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.bin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0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0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0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0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0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0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0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0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0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12.xml"/></Relationships>
</file>

<file path=ppt/slides/_rels/slide10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2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12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1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.xml"/><Relationship Id="rId1" Type="http://schemas.openxmlformats.org/officeDocument/2006/relationships/slideLayout" Target="../slideLayouts/slideLayout12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.xml"/><Relationship Id="rId1" Type="http://schemas.openxmlformats.org/officeDocument/2006/relationships/slideLayout" Target="../slideLayouts/slideLayout12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chart" Target="../charts/chart4.xml"/><Relationship Id="rId1" Type="http://schemas.openxmlformats.org/officeDocument/2006/relationships/slideLayout" Target="../slideLayouts/slideLayout12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chart" Target="../charts/chart5.xml"/><Relationship Id="rId1" Type="http://schemas.openxmlformats.org/officeDocument/2006/relationships/slideLayout" Target="../slideLayouts/slideLayout12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6.xm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2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emf"/><Relationship Id="rId2" Type="http://schemas.openxmlformats.org/officeDocument/2006/relationships/image" Target="../media/image8.emf"/><Relationship Id="rId1" Type="http://schemas.openxmlformats.org/officeDocument/2006/relationships/slideLayout" Target="../slideLayouts/slideLayout12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emf"/><Relationship Id="rId2" Type="http://schemas.openxmlformats.org/officeDocument/2006/relationships/image" Target="../media/image10.emf"/><Relationship Id="rId1" Type="http://schemas.openxmlformats.org/officeDocument/2006/relationships/slideLayout" Target="../slideLayouts/slideLayout12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emf"/><Relationship Id="rId2" Type="http://schemas.openxmlformats.org/officeDocument/2006/relationships/image" Target="../media/image12.emf"/><Relationship Id="rId1" Type="http://schemas.openxmlformats.org/officeDocument/2006/relationships/slideLayout" Target="../slideLayouts/slideLayout12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chart" Target="../charts/chart7.xml"/><Relationship Id="rId1" Type="http://schemas.openxmlformats.org/officeDocument/2006/relationships/slideLayout" Target="../slideLayouts/slideLayout1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chart" Target="../charts/chart8.xml"/><Relationship Id="rId1" Type="http://schemas.openxmlformats.org/officeDocument/2006/relationships/slideLayout" Target="../slideLayouts/slideLayout12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chart" Target="../charts/chart9.xml"/><Relationship Id="rId1" Type="http://schemas.openxmlformats.org/officeDocument/2006/relationships/slideLayout" Target="../slideLayouts/slideLayout12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0.xml"/><Relationship Id="rId1" Type="http://schemas.openxmlformats.org/officeDocument/2006/relationships/slideLayout" Target="../slideLayouts/slideLayout12.xml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3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3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3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3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7.xml"/></Relationships>
</file>

<file path=ppt/slides/_rels/slide4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4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4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4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4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2.xml"/></Relationships>
</file>

<file path=ppt/slides/_rels/slide4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4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2.xml"/></Relationships>
</file>

<file path=ppt/slides/_rels/slide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1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.xml"/></Relationships>
</file>

<file path=ppt/slides/_rels/slide5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5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5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2.xml"/></Relationships>
</file>

<file path=ppt/slides/_rels/slide54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1.xml"/><Relationship Id="rId1" Type="http://schemas.openxmlformats.org/officeDocument/2006/relationships/slideLayout" Target="../slideLayouts/slideLayout12.xml"/></Relationships>
</file>

<file path=ppt/slides/_rels/slide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20.jpeg"/><Relationship Id="rId5" Type="http://schemas.openxmlformats.org/officeDocument/2006/relationships/image" Target="../media/image19.png"/><Relationship Id="rId4" Type="http://schemas.openxmlformats.org/officeDocument/2006/relationships/image" Target="../media/image18.png"/></Relationships>
</file>

<file path=ppt/slides/_rels/slide5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5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5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5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7.xml"/><Relationship Id="rId1" Type="http://schemas.openxmlformats.org/officeDocument/2006/relationships/vmlDrawing" Target="../drawings/vmlDrawing2.vml"/><Relationship Id="rId4" Type="http://schemas.openxmlformats.org/officeDocument/2006/relationships/image" Target="../media/image6.wmf"/></Relationships>
</file>

<file path=ppt/slides/_rels/slide60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2.xml"/><Relationship Id="rId1" Type="http://schemas.openxmlformats.org/officeDocument/2006/relationships/slideLayout" Target="../slideLayouts/slideLayout12.xml"/></Relationships>
</file>

<file path=ppt/slides/_rels/slide61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3.xml"/><Relationship Id="rId1" Type="http://schemas.openxmlformats.org/officeDocument/2006/relationships/slideLayout" Target="../slideLayouts/slideLayout12.xml"/></Relationships>
</file>

<file path=ppt/slides/_rels/slide62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4.xml"/><Relationship Id="rId1" Type="http://schemas.openxmlformats.org/officeDocument/2006/relationships/slideLayout" Target="../slideLayouts/slideLayout12.xml"/></Relationships>
</file>

<file path=ppt/slides/_rels/slide63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5.xml"/><Relationship Id="rId1" Type="http://schemas.openxmlformats.org/officeDocument/2006/relationships/slideLayout" Target="../slideLayouts/slideLayout12.xml"/></Relationships>
</file>

<file path=ppt/slides/_rels/slide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12.xml"/></Relationships>
</file>

<file path=ppt/slides/_rels/slide6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6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12.xml"/></Relationships>
</file>

<file path=ppt/slides/_rels/slide68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6.xml"/><Relationship Id="rId1" Type="http://schemas.openxmlformats.org/officeDocument/2006/relationships/slideLayout" Target="../slideLayouts/slideLayout12.xml"/></Relationships>
</file>

<file path=ppt/slides/_rels/slide69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7.xml"/><Relationship Id="rId1" Type="http://schemas.openxmlformats.org/officeDocument/2006/relationships/slideLayout" Target="../slideLayouts/slideLayout1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70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8.xml"/><Relationship Id="rId1" Type="http://schemas.openxmlformats.org/officeDocument/2006/relationships/slideLayout" Target="../slideLayouts/slideLayout12.xml"/></Relationships>
</file>

<file path=ppt/slides/_rels/slide7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7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7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74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9.xml"/><Relationship Id="rId1" Type="http://schemas.openxmlformats.org/officeDocument/2006/relationships/slideLayout" Target="../slideLayouts/slideLayout12.xml"/></Relationships>
</file>

<file path=ppt/slides/_rels/slide7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7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7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7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7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8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8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82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0.xml"/><Relationship Id="rId1" Type="http://schemas.openxmlformats.org/officeDocument/2006/relationships/slideLayout" Target="../slideLayouts/slideLayout12.xml"/></Relationships>
</file>

<file path=ppt/slides/_rels/slide83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1.xml"/><Relationship Id="rId1" Type="http://schemas.openxmlformats.org/officeDocument/2006/relationships/slideLayout" Target="../slideLayouts/slideLayout12.xml"/></Relationships>
</file>

<file path=ppt/slides/_rels/slide84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2.xml"/><Relationship Id="rId1" Type="http://schemas.openxmlformats.org/officeDocument/2006/relationships/slideLayout" Target="../slideLayouts/slideLayout12.xml"/></Relationships>
</file>

<file path=ppt/slides/_rels/slide85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3.xml"/><Relationship Id="rId1" Type="http://schemas.openxmlformats.org/officeDocument/2006/relationships/slideLayout" Target="../slideLayouts/slideLayout12.xml"/></Relationships>
</file>

<file path=ppt/slides/_rels/slide86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4.xml"/><Relationship Id="rId1" Type="http://schemas.openxmlformats.org/officeDocument/2006/relationships/slideLayout" Target="../slideLayouts/slideLayout12.xml"/></Relationships>
</file>

<file path=ppt/slides/_rels/slide87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5.xml"/><Relationship Id="rId1" Type="http://schemas.openxmlformats.org/officeDocument/2006/relationships/slideLayout" Target="../slideLayouts/slideLayout12.xml"/></Relationships>
</file>

<file path=ppt/slides/_rels/slide88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6.xml"/><Relationship Id="rId1" Type="http://schemas.openxmlformats.org/officeDocument/2006/relationships/slideLayout" Target="../slideLayouts/slideLayout12.xml"/></Relationships>
</file>

<file path=ppt/slides/_rels/slide89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7.xml"/><Relationship Id="rId1" Type="http://schemas.openxmlformats.org/officeDocument/2006/relationships/slideLayout" Target="../slideLayouts/slideLayout1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90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8.xml"/><Relationship Id="rId1" Type="http://schemas.openxmlformats.org/officeDocument/2006/relationships/slideLayout" Target="../slideLayouts/slideLayout12.xml"/></Relationships>
</file>

<file path=ppt/slides/_rels/slide9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2.xml"/><Relationship Id="rId5" Type="http://schemas.openxmlformats.org/officeDocument/2006/relationships/image" Target="../media/image25.png"/><Relationship Id="rId4" Type="http://schemas.openxmlformats.org/officeDocument/2006/relationships/image" Target="../media/image24.png"/></Relationships>
</file>

<file path=ppt/slides/_rels/slide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12.xml"/></Relationships>
</file>

<file path=ppt/slides/_rels/slide9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12.xml"/></Relationships>
</file>

<file path=ppt/slides/_rels/slide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12.xml"/></Relationships>
</file>

<file path=ppt/slides/_rels/slide9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9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12.xml"/></Relationships>
</file>

<file path=ppt/slides/_rels/slide9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595" y="857250"/>
          <a:ext cx="119063" cy="1190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014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595" y="857250"/>
                        <a:ext cx="119063" cy="11906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ctrTitle"/>
          </p:nvPr>
        </p:nvSpPr>
        <p:spPr/>
        <p:txBody>
          <a:bodyPr>
            <a:normAutofit/>
          </a:bodyPr>
          <a:lstStyle/>
          <a:p>
            <a:r>
              <a:rPr lang="pt-BR" dirty="0" smtClean="0"/>
              <a:t>Do </a:t>
            </a:r>
            <a:r>
              <a:rPr lang="pt-BR" dirty="0" err="1" smtClean="0"/>
              <a:t>Barter</a:t>
            </a:r>
            <a:r>
              <a:rPr lang="pt-BR" dirty="0" smtClean="0"/>
              <a:t> à Securitização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/>
        <p:txBody>
          <a:bodyPr>
            <a:normAutofit/>
          </a:bodyPr>
          <a:lstStyle/>
          <a:p>
            <a:r>
              <a:rPr lang="pt-BR" dirty="0" smtClean="0"/>
              <a:t>Prof</a:t>
            </a:r>
            <a:r>
              <a:rPr lang="pt-BR" dirty="0"/>
              <a:t>. Dr. Roberto Arruda de Souza Lima </a:t>
            </a:r>
            <a:br>
              <a:rPr lang="pt-BR" dirty="0"/>
            </a:br>
            <a:r>
              <a:rPr lang="pt-BR" dirty="0" smtClean="0"/>
              <a:t>ESALQ/USP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152221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1411" name="Rectangle 3"/>
          <p:cNvSpPr>
            <a:spLocks noChangeArrowheads="1"/>
          </p:cNvSpPr>
          <p:nvPr/>
        </p:nvSpPr>
        <p:spPr bwMode="auto">
          <a:xfrm>
            <a:off x="0" y="476672"/>
            <a:ext cx="9144000" cy="69532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anchor="ctr"/>
          <a:lstStyle/>
          <a:p>
            <a:pPr algn="ctr">
              <a:defRPr/>
            </a:pPr>
            <a:r>
              <a:rPr lang="pt-BR" sz="2700" b="1" dirty="0">
                <a:effectLst>
                  <a:outerShdw blurRad="38100" dist="38100" dir="2700000" algn="tl">
                    <a:srgbClr val="C0C0C0"/>
                  </a:outerShdw>
                </a:effectLst>
                <a:latin typeface="Tahoma" pitchFamily="34" charset="0"/>
              </a:rPr>
              <a:t>Precificando a operação</a:t>
            </a:r>
          </a:p>
        </p:txBody>
      </p:sp>
      <p:graphicFrame>
        <p:nvGraphicFramePr>
          <p:cNvPr id="15" name="Group 393"/>
          <p:cNvGraphicFramePr>
            <a:graphicFrameLocks noGrp="1"/>
          </p:cNvGraphicFramePr>
          <p:nvPr>
            <p:ph sz="quarter" idx="13"/>
            <p:extLst/>
          </p:nvPr>
        </p:nvGraphicFramePr>
        <p:xfrm>
          <a:off x="1357312" y="3501010"/>
          <a:ext cx="7031042" cy="1166811"/>
        </p:xfrm>
        <a:graphic>
          <a:graphicData uri="http://schemas.openxmlformats.org/drawingml/2006/table">
            <a:tbl>
              <a:tblPr/>
              <a:tblGrid>
                <a:gridCol w="1039631"/>
                <a:gridCol w="3408680"/>
                <a:gridCol w="2582731"/>
              </a:tblGrid>
              <a:tr h="388937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2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(1)</a:t>
                      </a:r>
                    </a:p>
                  </a:txBody>
                  <a:tcPr marL="97161" marR="97161" marT="34318" marB="34318" horzOverflow="overflow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2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Valor em Reais</a:t>
                      </a:r>
                    </a:p>
                  </a:txBody>
                  <a:tcPr marL="97161" marR="97161" marT="34318" marB="34318" horzOverflow="overflow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174625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2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R$</a:t>
                      </a:r>
                    </a:p>
                  </a:txBody>
                  <a:tcPr marL="97161" marR="97161" marT="34318" marB="34318" horzOverflow="overflow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88937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2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(2)</a:t>
                      </a:r>
                    </a:p>
                  </a:txBody>
                  <a:tcPr marL="97161" marR="97161" marT="34318" marB="34318" horzOverflow="overflow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2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Preço (por </a:t>
                      </a:r>
                      <a:r>
                        <a:rPr kumimoji="0" lang="pt-BR" sz="21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sc</a:t>
                      </a:r>
                      <a:r>
                        <a:rPr kumimoji="0" lang="pt-BR" sz="2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)</a:t>
                      </a:r>
                    </a:p>
                  </a:txBody>
                  <a:tcPr marL="97161" marR="97161" marT="34318" marB="34318" horzOverflow="overflow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2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R$            /</a:t>
                      </a:r>
                      <a:r>
                        <a:rPr kumimoji="0" lang="pt-BR" sz="21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sc</a:t>
                      </a:r>
                      <a:endParaRPr kumimoji="0" lang="pt-BR" sz="2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7161" marR="97161" marT="34318" marB="34318" horzOverflow="overflow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88937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2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(3)</a:t>
                      </a:r>
                    </a:p>
                  </a:txBody>
                  <a:tcPr marL="97161" marR="97161" marT="34318" marB="34318" horzOverflow="overflow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2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Valor em </a:t>
                      </a:r>
                      <a:r>
                        <a:rPr kumimoji="0" lang="pt-BR" sz="21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sc</a:t>
                      </a:r>
                      <a:r>
                        <a:rPr kumimoji="0" lang="pt-BR" sz="2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 (1) </a:t>
                      </a:r>
                      <a:r>
                        <a:rPr kumimoji="0" lang="en-US" sz="2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÷</a:t>
                      </a:r>
                      <a:r>
                        <a:rPr kumimoji="0" lang="pt-BR" sz="2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 (2)</a:t>
                      </a:r>
                    </a:p>
                  </a:txBody>
                  <a:tcPr marL="97161" marR="97161" marT="34318" marB="34318" horzOverflow="overflow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174625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21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sc</a:t>
                      </a:r>
                      <a:endParaRPr kumimoji="0" lang="pt-BR" sz="2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7161" marR="97161" marT="34318" marB="34318" horzOverflow="overflow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16" name="Text Box 2"/>
          <p:cNvSpPr txBox="1">
            <a:spLocks noChangeArrowheads="1"/>
          </p:cNvSpPr>
          <p:nvPr/>
        </p:nvSpPr>
        <p:spPr bwMode="auto">
          <a:xfrm>
            <a:off x="467544" y="1646803"/>
            <a:ext cx="8640960" cy="153272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457200" indent="-457200"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9pPr>
          </a:lstStyle>
          <a:p>
            <a:pPr>
              <a:lnSpc>
                <a:spcPct val="110000"/>
              </a:lnSpc>
              <a:spcBef>
                <a:spcPct val="30000"/>
              </a:spcBef>
              <a:buFont typeface="Wingdings" pitchFamily="2" charset="2"/>
              <a:buChar char="§"/>
            </a:pPr>
            <a:r>
              <a:rPr lang="pt-BR" sz="2400" dirty="0">
                <a:latin typeface="Arial" pitchFamily="34" charset="0"/>
              </a:rPr>
              <a:t>Valor do insumo a ser recuperado (em R$): 	</a:t>
            </a:r>
            <a:r>
              <a:rPr lang="pt-BR" sz="2400" b="1" dirty="0" smtClean="0">
                <a:latin typeface="Arial" pitchFamily="34" charset="0"/>
              </a:rPr>
              <a:t>131.796,40</a:t>
            </a:r>
            <a:endParaRPr lang="pt-BR" sz="2400" b="1" dirty="0">
              <a:latin typeface="Arial" pitchFamily="34" charset="0"/>
            </a:endParaRPr>
          </a:p>
          <a:p>
            <a:pPr>
              <a:lnSpc>
                <a:spcPct val="110000"/>
              </a:lnSpc>
              <a:spcBef>
                <a:spcPct val="30000"/>
              </a:spcBef>
              <a:buFont typeface="Wingdings" pitchFamily="2" charset="2"/>
              <a:buChar char="§"/>
            </a:pPr>
            <a:endParaRPr lang="pt-BR" sz="2400" b="1" dirty="0">
              <a:latin typeface="Arial" pitchFamily="34" charset="0"/>
            </a:endParaRPr>
          </a:p>
          <a:p>
            <a:pPr>
              <a:lnSpc>
                <a:spcPct val="110000"/>
              </a:lnSpc>
              <a:spcBef>
                <a:spcPct val="30000"/>
              </a:spcBef>
              <a:buFont typeface="Wingdings" pitchFamily="2" charset="2"/>
              <a:buChar char="§"/>
            </a:pPr>
            <a:r>
              <a:rPr lang="pt-BR" sz="2400" dirty="0">
                <a:latin typeface="Arial" pitchFamily="34" charset="0"/>
              </a:rPr>
              <a:t>Valor do insumo a ser recuperado (em </a:t>
            </a:r>
            <a:r>
              <a:rPr lang="pt-BR" sz="2400" dirty="0" err="1">
                <a:latin typeface="Arial" pitchFamily="34" charset="0"/>
              </a:rPr>
              <a:t>sc</a:t>
            </a:r>
            <a:r>
              <a:rPr lang="pt-BR" sz="2400" dirty="0">
                <a:latin typeface="Arial" pitchFamily="34" charset="0"/>
              </a:rPr>
              <a:t>): </a:t>
            </a:r>
          </a:p>
        </p:txBody>
      </p:sp>
      <p:graphicFrame>
        <p:nvGraphicFramePr>
          <p:cNvPr id="17" name="Group 145"/>
          <p:cNvGraphicFramePr>
            <a:graphicFrameLocks noGrp="1"/>
          </p:cNvGraphicFramePr>
          <p:nvPr>
            <p:extLst/>
          </p:nvPr>
        </p:nvGraphicFramePr>
        <p:xfrm>
          <a:off x="6354765" y="3501008"/>
          <a:ext cx="2052637" cy="388536"/>
        </p:xfrm>
        <a:graphic>
          <a:graphicData uri="http://schemas.openxmlformats.org/drawingml/2006/table">
            <a:tbl>
              <a:tblPr/>
              <a:tblGrid>
                <a:gridCol w="2052637"/>
              </a:tblGrid>
              <a:tr h="388536"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2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131.796,40</a:t>
                      </a:r>
                    </a:p>
                  </a:txBody>
                  <a:tcPr marL="91471" marR="91471" marT="34248" marB="34248" horzOverflow="overflow">
                    <a:lnL cap="flat">
                      <a:noFill/>
                    </a:lnL>
                    <a:lnR cap="flat"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graphicFrame>
        <p:nvGraphicFramePr>
          <p:cNvPr id="18" name="Group 395"/>
          <p:cNvGraphicFramePr>
            <a:graphicFrameLocks noGrp="1"/>
          </p:cNvGraphicFramePr>
          <p:nvPr>
            <p:extLst/>
          </p:nvPr>
        </p:nvGraphicFramePr>
        <p:xfrm>
          <a:off x="6539247" y="3885580"/>
          <a:ext cx="1381125" cy="388536"/>
        </p:xfrm>
        <a:graphic>
          <a:graphicData uri="http://schemas.openxmlformats.org/drawingml/2006/table">
            <a:tbl>
              <a:tblPr/>
              <a:tblGrid>
                <a:gridCol w="1381125"/>
              </a:tblGrid>
              <a:tr h="388536"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2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10,46</a:t>
                      </a:r>
                    </a:p>
                  </a:txBody>
                  <a:tcPr marL="91371" marR="91371" marT="34248" marB="34248" horzOverflow="overflow">
                    <a:lnL cap="flat">
                      <a:noFill/>
                    </a:lnL>
                    <a:lnR cap="flat"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graphicFrame>
        <p:nvGraphicFramePr>
          <p:cNvPr id="19" name="Group 397"/>
          <p:cNvGraphicFramePr>
            <a:graphicFrameLocks noGrp="1"/>
          </p:cNvGraphicFramePr>
          <p:nvPr>
            <p:extLst/>
          </p:nvPr>
        </p:nvGraphicFramePr>
        <p:xfrm>
          <a:off x="6129341" y="4285630"/>
          <a:ext cx="1785937" cy="389334"/>
        </p:xfrm>
        <a:graphic>
          <a:graphicData uri="http://schemas.openxmlformats.org/drawingml/2006/table">
            <a:tbl>
              <a:tblPr/>
              <a:tblGrid>
                <a:gridCol w="1785937"/>
              </a:tblGrid>
              <a:tr h="389334"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2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12.600,00</a:t>
                      </a:r>
                    </a:p>
                  </a:txBody>
                  <a:tcPr marL="91419" marR="91419" marT="34353" marB="34353" horzOverflow="overflow">
                    <a:lnL cap="flat">
                      <a:noFill/>
                    </a:lnL>
                    <a:lnR cap="flat"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9297600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8" presetClass="entr" presetSubtype="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downRight)">
                                      <p:cBhvr>
                                        <p:cTn id="7" dur="500"/>
                                        <p:tgtEl>
                                          <p:spTgt spid="1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4" presetClass="entr" presetSubtype="3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out)">
                                      <p:cBhvr>
                                        <p:cTn id="11" dur="10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2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6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7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2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2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>
                      <p:stCondLst>
                        <p:cond delay="indefinite"/>
                      </p:stCondLst>
                      <p:childTnLst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2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8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 build="p" autoUpdateAnimBg="0"/>
    </p:bldLst>
  </p:timing>
</p:sld>
</file>

<file path=ppt/slides/slide10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11857" name="Group 817"/>
          <p:cNvGraphicFramePr>
            <a:graphicFrameLocks noGrp="1"/>
          </p:cNvGraphicFramePr>
          <p:nvPr>
            <p:ph sz="quarter" idx="13"/>
            <p:extLst>
              <p:ext uri="{D42A27DB-BD31-4B8C-83A1-F6EECF244321}">
                <p14:modId xmlns:p14="http://schemas.microsoft.com/office/powerpoint/2010/main" val="1354458090"/>
              </p:ext>
            </p:extLst>
          </p:nvPr>
        </p:nvGraphicFramePr>
        <p:xfrm>
          <a:off x="251519" y="1097730"/>
          <a:ext cx="8582607" cy="5427616"/>
        </p:xfrm>
        <a:graphic>
          <a:graphicData uri="http://schemas.openxmlformats.org/drawingml/2006/table">
            <a:tbl>
              <a:tblPr/>
              <a:tblGrid>
                <a:gridCol w="1387258"/>
                <a:gridCol w="684379"/>
                <a:gridCol w="721375"/>
                <a:gridCol w="739871"/>
                <a:gridCol w="214304"/>
                <a:gridCol w="812319"/>
                <a:gridCol w="758369"/>
                <a:gridCol w="730622"/>
                <a:gridCol w="214304"/>
                <a:gridCol w="803070"/>
                <a:gridCol w="767616"/>
                <a:gridCol w="749120"/>
              </a:tblGrid>
              <a:tr h="249827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pt-BR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80679" marR="80679" marT="34290" marB="34290" anchor="b" horzOverflow="overflow">
                    <a:lnL cap="flat"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3">
                  <a:txBody>
                    <a:bodyPr/>
                    <a:lstStyle/>
                    <a:p>
                      <a:pPr marL="342900" marR="0" lvl="0" indent="-34290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Direto</a:t>
                      </a:r>
                    </a:p>
                  </a:txBody>
                  <a:tcPr marL="80679" marR="80679" marT="34290" marB="34290" anchor="b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pt-BR" sz="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80679" marR="80679" marT="34290" marB="34290" anchor="b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3">
                  <a:txBody>
                    <a:bodyPr/>
                    <a:lstStyle/>
                    <a:p>
                      <a:pPr marL="342900" marR="0" lvl="0" indent="-34290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Distribuidor</a:t>
                      </a:r>
                    </a:p>
                  </a:txBody>
                  <a:tcPr marL="80679" marR="80679" marT="34290" marB="34290" anchor="b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pt-BR" sz="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80679" marR="80679" marT="34290" marB="34290" anchor="b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3">
                  <a:txBody>
                    <a:bodyPr/>
                    <a:lstStyle/>
                    <a:p>
                      <a:pPr marL="342900" marR="0" lvl="0" indent="-34290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Subtotal</a:t>
                      </a:r>
                    </a:p>
                  </a:txBody>
                  <a:tcPr marL="80679" marR="80679" marT="34290" marB="34290" anchor="b" horzOverflow="overflow">
                    <a:lnL>
                      <a:noFill/>
                    </a:lnL>
                    <a:lnR cap="flat">
                      <a:noFill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</a:tr>
              <a:tr h="249827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pt-BR" sz="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80679" marR="80679" marT="34290" marB="34290" anchor="b" horzOverflow="overflow">
                    <a:lnL cap="flat"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R$</a:t>
                      </a:r>
                    </a:p>
                  </a:txBody>
                  <a:tcPr marL="80679" marR="80679" marT="34290" marB="34290" anchor="b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%</a:t>
                      </a:r>
                    </a:p>
                  </a:txBody>
                  <a:tcPr marL="80679" marR="80679" marT="34290" marB="34290" anchor="b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% </a:t>
                      </a:r>
                      <a:r>
                        <a:rPr kumimoji="0" lang="pt-B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Acum</a:t>
                      </a: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.</a:t>
                      </a:r>
                    </a:p>
                  </a:txBody>
                  <a:tcPr marL="80679" marR="80679" marT="34290" marB="34290" anchor="b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pt-BR" sz="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80679" marR="80679" marT="34290" marB="34290"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R$</a:t>
                      </a:r>
                    </a:p>
                  </a:txBody>
                  <a:tcPr marL="80679" marR="80679" marT="34290" marB="34290" anchor="b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%</a:t>
                      </a:r>
                    </a:p>
                  </a:txBody>
                  <a:tcPr marL="80679" marR="80679" marT="34290" marB="34290" anchor="b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% Acum.</a:t>
                      </a:r>
                    </a:p>
                  </a:txBody>
                  <a:tcPr marL="80679" marR="80679" marT="34290" marB="34290" anchor="b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pt-BR" sz="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80679" marR="80679" marT="34290" marB="34290"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R$</a:t>
                      </a:r>
                    </a:p>
                  </a:txBody>
                  <a:tcPr marL="80679" marR="80679" marT="34290" marB="34290" anchor="b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%</a:t>
                      </a:r>
                    </a:p>
                  </a:txBody>
                  <a:tcPr marL="80679" marR="80679" marT="34290" marB="34290" anchor="b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% Acum.</a:t>
                      </a:r>
                    </a:p>
                  </a:txBody>
                  <a:tcPr marL="80679" marR="80679" marT="34290" marB="34290" anchor="b" horzOverflow="overflow">
                    <a:lnL>
                      <a:noFill/>
                    </a:lnL>
                    <a:lnR cap="flat">
                      <a:noFill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49827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pt-BR" sz="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80679" marR="80679" marT="34290" marB="34290" anchor="b" horzOverflow="overflow">
                    <a:lnL cap="flat"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pt-BR" sz="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80679" marR="80679" marT="34290" marB="34290" anchor="b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pt-BR" sz="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80679" marR="80679" marT="34290" marB="34290" anchor="b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pt-BR" sz="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80679" marR="80679" marT="34290" marB="34290" anchor="b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pt-BR" sz="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80679" marR="80679" marT="34290" marB="34290" anchor="b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pt-BR" sz="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80679" marR="80679" marT="34290" marB="34290" anchor="b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pt-BR" sz="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80679" marR="80679" marT="34290" marB="34290" anchor="b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pt-BR" sz="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80679" marR="80679" marT="34290" marB="34290" anchor="b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pt-BR" sz="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80679" marR="80679" marT="34290" marB="34290" anchor="b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pt-BR" sz="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80679" marR="80679" marT="34290" marB="34290" anchor="b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pt-BR" sz="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80679" marR="80679" marT="34290" marB="34290" anchor="b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pt-BR" sz="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80679" marR="80679" marT="34290" marB="34290" anchor="b" horzOverflow="overflow">
                    <a:lnL>
                      <a:noFill/>
                    </a:lnL>
                    <a:lnR cap="flat">
                      <a:noFill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49827">
                <a:tc>
                  <a:txBody>
                    <a:bodyPr/>
                    <a:lstStyle/>
                    <a:p>
                      <a:pPr marL="342900" marR="0" lvl="0" indent="-34290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Maior Cliente</a:t>
                      </a:r>
                    </a:p>
                  </a:txBody>
                  <a:tcPr marL="80679" marR="80679" marT="34290" marB="34290" anchor="b" horzOverflow="overflow">
                    <a:lnL cap="flat"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20.892</a:t>
                      </a:r>
                    </a:p>
                  </a:txBody>
                  <a:tcPr marL="80679" marR="80679" marT="34290" marB="34290"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3,14%</a:t>
                      </a:r>
                    </a:p>
                  </a:txBody>
                  <a:tcPr marL="80679" marR="80679" marT="34290" marB="34290"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3,14%</a:t>
                      </a:r>
                    </a:p>
                  </a:txBody>
                  <a:tcPr marL="80679" marR="80679" marT="34290" marB="34290"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pt-BR" sz="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80679" marR="80679" marT="34290" marB="34290"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70.088</a:t>
                      </a:r>
                    </a:p>
                  </a:txBody>
                  <a:tcPr marL="80679" marR="80679" marT="34290" marB="34290"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3,97%</a:t>
                      </a:r>
                    </a:p>
                  </a:txBody>
                  <a:tcPr marL="80679" marR="80679" marT="34290" marB="34290"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3,97%</a:t>
                      </a:r>
                    </a:p>
                  </a:txBody>
                  <a:tcPr marL="80679" marR="80679" marT="34290" marB="34290"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pt-BR" sz="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80679" marR="80679" marT="34290" marB="34290"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90.980</a:t>
                      </a:r>
                    </a:p>
                  </a:txBody>
                  <a:tcPr marL="80679" marR="80679" marT="34290" marB="34290"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3,75%</a:t>
                      </a:r>
                    </a:p>
                  </a:txBody>
                  <a:tcPr marL="80679" marR="80679" marT="34290" marB="34290"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3,75%</a:t>
                      </a:r>
                    </a:p>
                  </a:txBody>
                  <a:tcPr marL="80679" marR="80679" marT="34290" marB="34290" anchor="b" horzOverflow="overflow">
                    <a:lnL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49827">
                <a:tc>
                  <a:txBody>
                    <a:bodyPr/>
                    <a:lstStyle/>
                    <a:p>
                      <a:pPr marL="342900" marR="0" lvl="0" indent="-34290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2 a 5</a:t>
                      </a:r>
                    </a:p>
                  </a:txBody>
                  <a:tcPr marL="80679" marR="80679" marT="34290" marB="34290" anchor="b" horzOverflow="overflow">
                    <a:lnL cap="flat"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66.456</a:t>
                      </a:r>
                    </a:p>
                  </a:txBody>
                  <a:tcPr marL="80679" marR="80679" marT="34290" marB="34290"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10,00%</a:t>
                      </a:r>
                    </a:p>
                  </a:txBody>
                  <a:tcPr marL="80679" marR="80679" marT="34290" marB="34290"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13,14%</a:t>
                      </a:r>
                    </a:p>
                  </a:txBody>
                  <a:tcPr marL="80679" marR="80679" marT="34290" marB="34290"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pt-BR" sz="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80679" marR="80679" marT="34290" marB="34290"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141.321</a:t>
                      </a:r>
                    </a:p>
                  </a:txBody>
                  <a:tcPr marL="80679" marR="80679" marT="34290" marB="34290"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8,01%</a:t>
                      </a:r>
                    </a:p>
                  </a:txBody>
                  <a:tcPr marL="80679" marR="80679" marT="34290" marB="34290"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11,99%</a:t>
                      </a:r>
                    </a:p>
                  </a:txBody>
                  <a:tcPr marL="80679" marR="80679" marT="34290" marB="34290"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pt-BR" sz="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80679" marR="80679" marT="34290" marB="34290"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207.777</a:t>
                      </a:r>
                    </a:p>
                  </a:txBody>
                  <a:tcPr marL="80679" marR="80679" marT="34290" marB="34290"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8,56%</a:t>
                      </a:r>
                    </a:p>
                  </a:txBody>
                  <a:tcPr marL="80679" marR="80679" marT="34290" marB="34290"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12,30%</a:t>
                      </a:r>
                    </a:p>
                  </a:txBody>
                  <a:tcPr marL="80679" marR="80679" marT="34290" marB="34290" anchor="b" horzOverflow="overflow">
                    <a:lnL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49827">
                <a:tc>
                  <a:txBody>
                    <a:bodyPr/>
                    <a:lstStyle/>
                    <a:p>
                      <a:pPr marL="342900" marR="0" lvl="0" indent="-34290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6 a 10</a:t>
                      </a:r>
                    </a:p>
                  </a:txBody>
                  <a:tcPr marL="80679" marR="80679" marT="34290" marB="34290" anchor="b" horzOverflow="overflow">
                    <a:lnL cap="flat"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44.615</a:t>
                      </a:r>
                    </a:p>
                  </a:txBody>
                  <a:tcPr marL="80679" marR="80679" marT="34290" marB="34290"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6,71%</a:t>
                      </a:r>
                    </a:p>
                  </a:txBody>
                  <a:tcPr marL="80679" marR="80679" marT="34290" marB="34290"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19,85%</a:t>
                      </a:r>
                    </a:p>
                  </a:txBody>
                  <a:tcPr marL="80679" marR="80679" marT="34290" marB="34290"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pt-BR" sz="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80679" marR="80679" marT="34290" marB="34290"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120.534</a:t>
                      </a:r>
                    </a:p>
                  </a:txBody>
                  <a:tcPr marL="80679" marR="80679" marT="34290" marB="34290"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6,84%</a:t>
                      </a:r>
                    </a:p>
                  </a:txBody>
                  <a:tcPr marL="80679" marR="80679" marT="34290" marB="34290"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18,83%</a:t>
                      </a:r>
                    </a:p>
                  </a:txBody>
                  <a:tcPr marL="80679" marR="80679" marT="34290" marB="34290"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pt-BR" sz="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80679" marR="80679" marT="34290" marB="34290"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165.149</a:t>
                      </a:r>
                    </a:p>
                  </a:txBody>
                  <a:tcPr marL="80679" marR="80679" marT="34290" marB="34290"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6,80%</a:t>
                      </a:r>
                    </a:p>
                  </a:txBody>
                  <a:tcPr marL="80679" marR="80679" marT="34290" marB="34290"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19,11%</a:t>
                      </a:r>
                    </a:p>
                  </a:txBody>
                  <a:tcPr marL="80679" marR="80679" marT="34290" marB="34290" anchor="b" horzOverflow="overflow">
                    <a:lnL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49827">
                <a:tc>
                  <a:txBody>
                    <a:bodyPr/>
                    <a:lstStyle/>
                    <a:p>
                      <a:pPr marL="342900" marR="0" lvl="0" indent="-34290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11 ao 25</a:t>
                      </a:r>
                    </a:p>
                  </a:txBody>
                  <a:tcPr marL="80679" marR="80679" marT="34290" marB="34290" anchor="b" horzOverflow="overflow">
                    <a:lnL cap="flat"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72.069</a:t>
                      </a:r>
                    </a:p>
                  </a:txBody>
                  <a:tcPr marL="80679" marR="80679" marT="34290" marB="34290"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10,84%</a:t>
                      </a:r>
                    </a:p>
                  </a:txBody>
                  <a:tcPr marL="80679" marR="80679" marT="34290" marB="34290"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30,69%</a:t>
                      </a:r>
                    </a:p>
                  </a:txBody>
                  <a:tcPr marL="80679" marR="80679" marT="34290" marB="34290"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pt-BR" sz="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80679" marR="80679" marT="34290" marB="34290"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246.796</a:t>
                      </a:r>
                    </a:p>
                  </a:txBody>
                  <a:tcPr marL="80679" marR="80679" marT="34290" marB="34290"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14,00%</a:t>
                      </a:r>
                    </a:p>
                  </a:txBody>
                  <a:tcPr marL="80679" marR="80679" marT="34290" marB="34290"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32,82%</a:t>
                      </a:r>
                    </a:p>
                  </a:txBody>
                  <a:tcPr marL="80679" marR="80679" marT="34290" marB="34290"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pt-BR" sz="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80679" marR="80679" marT="34290" marB="34290"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318.864</a:t>
                      </a:r>
                    </a:p>
                  </a:txBody>
                  <a:tcPr marL="80679" marR="80679" marT="34290" marB="34290"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13,13%</a:t>
                      </a:r>
                    </a:p>
                  </a:txBody>
                  <a:tcPr marL="80679" marR="80679" marT="34290" marB="34290"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32,24%</a:t>
                      </a:r>
                    </a:p>
                  </a:txBody>
                  <a:tcPr marL="80679" marR="80679" marT="34290" marB="34290" anchor="b" horzOverflow="overflow">
                    <a:lnL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49827">
                <a:tc>
                  <a:txBody>
                    <a:bodyPr/>
                    <a:lstStyle/>
                    <a:p>
                      <a:pPr marL="342900" marR="0" lvl="0" indent="-34290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Total 25 maiores</a:t>
                      </a:r>
                    </a:p>
                  </a:txBody>
                  <a:tcPr marL="80679" marR="80679" marT="34290" marB="34290" anchor="b" horzOverflow="overflow">
                    <a:lnL cap="flat"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204.031</a:t>
                      </a:r>
                    </a:p>
                  </a:txBody>
                  <a:tcPr marL="80679" marR="80679" marT="34290" marB="34290"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30,69%</a:t>
                      </a:r>
                    </a:p>
                  </a:txBody>
                  <a:tcPr marL="80679" marR="80679" marT="34290" marB="34290"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30,69%</a:t>
                      </a:r>
                    </a:p>
                  </a:txBody>
                  <a:tcPr marL="80679" marR="80679" marT="34290" marB="34290"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pt-BR" sz="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80679" marR="80679" marT="34290" marB="34290"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578.739</a:t>
                      </a:r>
                    </a:p>
                  </a:txBody>
                  <a:tcPr marL="80679" marR="80679" marT="34290" marB="34290"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32,82%</a:t>
                      </a:r>
                    </a:p>
                  </a:txBody>
                  <a:tcPr marL="80679" marR="80679" marT="34290" marB="34290"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32,82%</a:t>
                      </a:r>
                    </a:p>
                  </a:txBody>
                  <a:tcPr marL="80679" marR="80679" marT="34290" marB="34290"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pt-BR" sz="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80679" marR="80679" marT="34290" marB="34290"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782.771</a:t>
                      </a:r>
                    </a:p>
                  </a:txBody>
                  <a:tcPr marL="80679" marR="80679" marT="34290" marB="34290"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32,24%</a:t>
                      </a:r>
                    </a:p>
                  </a:txBody>
                  <a:tcPr marL="80679" marR="80679" marT="34290" marB="34290"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32,24%</a:t>
                      </a:r>
                    </a:p>
                  </a:txBody>
                  <a:tcPr marL="80679" marR="80679" marT="34290" marB="34290" anchor="b" horzOverflow="overflow">
                    <a:lnL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49827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pt-BR" sz="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80679" marR="80679" marT="34290" marB="34290" anchor="b" horzOverflow="overflow">
                    <a:lnL cap="flat"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pt-BR" sz="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80679" marR="80679" marT="34290" marB="34290"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pt-BR" sz="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80679" marR="80679" marT="34290" marB="34290"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pt-BR" sz="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80679" marR="80679" marT="34290" marB="34290"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pt-BR" sz="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80679" marR="80679" marT="34290" marB="34290"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pt-BR" sz="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80679" marR="80679" marT="34290" marB="34290"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pt-BR" sz="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80679" marR="80679" marT="34290" marB="34290"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pt-BR" sz="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80679" marR="80679" marT="34290" marB="34290"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pt-BR" sz="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80679" marR="80679" marT="34290" marB="34290"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pt-BR" sz="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80679" marR="80679" marT="34290" marB="34290"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pt-BR" sz="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80679" marR="80679" marT="34290" marB="34290"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pt-BR" sz="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80679" marR="80679" marT="34290" marB="34290" anchor="b" horzOverflow="overflow">
                    <a:lnL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69422">
                <a:tc>
                  <a:txBody>
                    <a:bodyPr/>
                    <a:lstStyle/>
                    <a:p>
                      <a:pPr marL="342900" marR="0" lvl="0" indent="-34290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26 a 50</a:t>
                      </a:r>
                    </a:p>
                  </a:txBody>
                  <a:tcPr marL="80679" marR="80679" marT="34290" marB="34290" anchor="b" horzOverflow="overflow">
                    <a:lnL cap="flat"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61.299</a:t>
                      </a:r>
                    </a:p>
                  </a:txBody>
                  <a:tcPr marL="80679" marR="80679" marT="34290" marB="34290"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9,22%</a:t>
                      </a:r>
                    </a:p>
                  </a:txBody>
                  <a:tcPr marL="80679" marR="80679" marT="34290" marB="34290"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39,91%</a:t>
                      </a:r>
                    </a:p>
                  </a:txBody>
                  <a:tcPr marL="80679" marR="80679" marT="34290" marB="34290"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pt-BR" sz="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80679" marR="80679" marT="34290" marB="34290"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260.922</a:t>
                      </a:r>
                    </a:p>
                  </a:txBody>
                  <a:tcPr marL="80679" marR="80679" marT="34290" marB="34290"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14,80%</a:t>
                      </a:r>
                    </a:p>
                  </a:txBody>
                  <a:tcPr marL="80679" marR="80679" marT="34290" marB="34290"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47,62%</a:t>
                      </a:r>
                    </a:p>
                  </a:txBody>
                  <a:tcPr marL="80679" marR="80679" marT="34290" marB="34290"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pt-BR" sz="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80679" marR="80679" marT="34290" marB="34290"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322.221</a:t>
                      </a:r>
                    </a:p>
                  </a:txBody>
                  <a:tcPr marL="80679" marR="80679" marT="34290" marB="34290"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13,27%</a:t>
                      </a:r>
                    </a:p>
                  </a:txBody>
                  <a:tcPr marL="80679" marR="80679" marT="34290" marB="34290"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45,51%</a:t>
                      </a:r>
                    </a:p>
                  </a:txBody>
                  <a:tcPr marL="80679" marR="80679" marT="34290" marB="34290" anchor="b" horzOverflow="overflow">
                    <a:lnL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49827">
                <a:tc>
                  <a:txBody>
                    <a:bodyPr/>
                    <a:lstStyle/>
                    <a:p>
                      <a:pPr marL="342900" marR="0" lvl="0" indent="-34290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51 a 100</a:t>
                      </a:r>
                    </a:p>
                  </a:txBody>
                  <a:tcPr marL="80679" marR="80679" marT="34290" marB="34290" anchor="b" horzOverflow="overflow">
                    <a:lnL cap="flat"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70.867</a:t>
                      </a:r>
                    </a:p>
                  </a:txBody>
                  <a:tcPr marL="80679" marR="80679" marT="34290" marB="34290"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10,66%</a:t>
                      </a:r>
                    </a:p>
                  </a:txBody>
                  <a:tcPr marL="80679" marR="80679" marT="34290" marB="34290"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50,57%</a:t>
                      </a:r>
                    </a:p>
                  </a:txBody>
                  <a:tcPr marL="80679" marR="80679" marT="34290" marB="34290"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pt-BR" sz="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80679" marR="80679" marT="34290" marB="34290"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312.071</a:t>
                      </a:r>
                    </a:p>
                  </a:txBody>
                  <a:tcPr marL="80679" marR="80679" marT="34290" marB="34290"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17,70%</a:t>
                      </a:r>
                    </a:p>
                  </a:txBody>
                  <a:tcPr marL="80679" marR="80679" marT="34290" marB="34290"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65,32%</a:t>
                      </a:r>
                    </a:p>
                  </a:txBody>
                  <a:tcPr marL="80679" marR="80679" marT="34290" marB="34290"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pt-BR" sz="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80679" marR="80679" marT="34290" marB="34290"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382.937</a:t>
                      </a:r>
                    </a:p>
                  </a:txBody>
                  <a:tcPr marL="80679" marR="80679" marT="34290" marB="34290"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15,77%</a:t>
                      </a:r>
                    </a:p>
                  </a:txBody>
                  <a:tcPr marL="80679" marR="80679" marT="34290" marB="34290"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61,28%</a:t>
                      </a:r>
                    </a:p>
                  </a:txBody>
                  <a:tcPr marL="80679" marR="80679" marT="34290" marB="34290" anchor="b" horzOverflow="overflow">
                    <a:lnL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49827">
                <a:tc>
                  <a:txBody>
                    <a:bodyPr/>
                    <a:lstStyle/>
                    <a:p>
                      <a:pPr marL="342900" marR="0" lvl="0" indent="-34290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Total 100 maiores</a:t>
                      </a:r>
                    </a:p>
                  </a:txBody>
                  <a:tcPr marL="80679" marR="80679" marT="34290" marB="34290" anchor="b" horzOverflow="overflow">
                    <a:lnL cap="flat"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336.197</a:t>
                      </a:r>
                    </a:p>
                  </a:txBody>
                  <a:tcPr marL="80679" marR="80679" marT="34290" marB="34290"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50,57%</a:t>
                      </a:r>
                    </a:p>
                  </a:txBody>
                  <a:tcPr marL="80679" marR="80679" marT="34290" marB="34290"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50,57%</a:t>
                      </a:r>
                    </a:p>
                  </a:txBody>
                  <a:tcPr marL="80679" marR="80679" marT="34290" marB="34290"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pt-BR" sz="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80679" marR="80679" marT="34290" marB="34290"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1.151.732</a:t>
                      </a:r>
                    </a:p>
                  </a:txBody>
                  <a:tcPr marL="80679" marR="80679" marT="34290" marB="34290"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65,32%</a:t>
                      </a:r>
                    </a:p>
                  </a:txBody>
                  <a:tcPr marL="80679" marR="80679" marT="34290" marB="34290"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65,32%</a:t>
                      </a:r>
                    </a:p>
                  </a:txBody>
                  <a:tcPr marL="80679" marR="80679" marT="34290" marB="34290"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pt-BR" sz="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80679" marR="80679" marT="34290" marB="34290"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1.487.929</a:t>
                      </a:r>
                    </a:p>
                  </a:txBody>
                  <a:tcPr marL="80679" marR="80679" marT="34290" marB="34290"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61,28%</a:t>
                      </a:r>
                    </a:p>
                  </a:txBody>
                  <a:tcPr marL="80679" marR="80679" marT="34290" marB="34290"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61,28%</a:t>
                      </a:r>
                    </a:p>
                  </a:txBody>
                  <a:tcPr marL="80679" marR="80679" marT="34290" marB="34290" anchor="b" horzOverflow="overflow">
                    <a:lnL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49827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pt-BR" sz="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80679" marR="80679" marT="34290" marB="34290" anchor="b" horzOverflow="overflow">
                    <a:lnL cap="flat"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pt-BR" sz="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80679" marR="80679" marT="34290" marB="34290"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pt-BR" sz="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80679" marR="80679" marT="34290" marB="34290"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pt-BR" sz="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80679" marR="80679" marT="34290" marB="34290"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pt-BR" sz="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80679" marR="80679" marT="34290" marB="34290"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pt-BR" sz="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80679" marR="80679" marT="34290" marB="34290"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pt-BR" sz="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80679" marR="80679" marT="34290" marB="34290"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pt-BR" sz="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80679" marR="80679" marT="34290" marB="34290"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pt-BR" sz="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80679" marR="80679" marT="34290" marB="34290"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pt-BR" sz="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80679" marR="80679" marT="34290" marB="34290"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pt-BR" sz="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80679" marR="80679" marT="34290" marB="34290"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pt-BR" sz="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80679" marR="80679" marT="34290" marB="34290" anchor="b" horzOverflow="overflow">
                    <a:lnL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49827">
                <a:tc>
                  <a:txBody>
                    <a:bodyPr/>
                    <a:lstStyle/>
                    <a:p>
                      <a:pPr marL="342900" marR="0" lvl="0" indent="-34290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101 a 200</a:t>
                      </a:r>
                    </a:p>
                  </a:txBody>
                  <a:tcPr marL="80679" marR="80679" marT="34290" marB="34290" anchor="b" horzOverflow="overflow">
                    <a:lnL cap="flat"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69.241</a:t>
                      </a:r>
                    </a:p>
                  </a:txBody>
                  <a:tcPr marL="80679" marR="80679" marT="34290" marB="34290"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10,41%</a:t>
                      </a:r>
                    </a:p>
                  </a:txBody>
                  <a:tcPr marL="80679" marR="80679" marT="34290" marB="34290"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60,98%</a:t>
                      </a:r>
                    </a:p>
                  </a:txBody>
                  <a:tcPr marL="80679" marR="80679" marT="34290" marB="34290"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pt-BR" sz="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80679" marR="80679" marT="34290" marB="34290"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303.634</a:t>
                      </a:r>
                    </a:p>
                  </a:txBody>
                  <a:tcPr marL="80679" marR="80679" marT="34290" marB="34290"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17,22%</a:t>
                      </a:r>
                    </a:p>
                  </a:txBody>
                  <a:tcPr marL="80679" marR="80679" marT="34290" marB="34290"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82,54%</a:t>
                      </a:r>
                    </a:p>
                  </a:txBody>
                  <a:tcPr marL="80679" marR="80679" marT="34290" marB="34290"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pt-BR" sz="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80679" marR="80679" marT="34290" marB="34290"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372.874</a:t>
                      </a:r>
                    </a:p>
                  </a:txBody>
                  <a:tcPr marL="80679" marR="80679" marT="34290" marB="34290"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15,36%</a:t>
                      </a:r>
                    </a:p>
                  </a:txBody>
                  <a:tcPr marL="80679" marR="80679" marT="34290" marB="34290"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76,64%</a:t>
                      </a:r>
                    </a:p>
                  </a:txBody>
                  <a:tcPr marL="80679" marR="80679" marT="34290" marB="34290" anchor="b" horzOverflow="overflow">
                    <a:lnL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49827">
                <a:tc>
                  <a:txBody>
                    <a:bodyPr/>
                    <a:lstStyle/>
                    <a:p>
                      <a:pPr marL="342900" marR="0" lvl="0" indent="-34290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201 a 500</a:t>
                      </a:r>
                    </a:p>
                  </a:txBody>
                  <a:tcPr marL="80679" marR="80679" marT="34290" marB="34290" anchor="b" horzOverflow="overflow">
                    <a:lnL cap="flat"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81.755</a:t>
                      </a:r>
                    </a:p>
                  </a:txBody>
                  <a:tcPr marL="80679" marR="80679" marT="34290" marB="34290"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12,30%</a:t>
                      </a:r>
                    </a:p>
                  </a:txBody>
                  <a:tcPr marL="80679" marR="80679" marT="34290" marB="34290"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73,28%</a:t>
                      </a:r>
                    </a:p>
                  </a:txBody>
                  <a:tcPr marL="80679" marR="80679" marT="34290" marB="34290"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pt-BR" sz="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80679" marR="80679" marT="34290" marB="34290"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265.132</a:t>
                      </a:r>
                    </a:p>
                  </a:txBody>
                  <a:tcPr marL="80679" marR="80679" marT="34290" marB="34290"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15,04%</a:t>
                      </a:r>
                    </a:p>
                  </a:txBody>
                  <a:tcPr marL="80679" marR="80679" marT="34290" marB="34290"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97,58%</a:t>
                      </a:r>
                    </a:p>
                  </a:txBody>
                  <a:tcPr marL="80679" marR="80679" marT="34290" marB="34290"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pt-BR" sz="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80679" marR="80679" marT="34290" marB="34290"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346.887</a:t>
                      </a:r>
                    </a:p>
                  </a:txBody>
                  <a:tcPr marL="80679" marR="80679" marT="34290" marB="34290"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14,29%</a:t>
                      </a:r>
                    </a:p>
                  </a:txBody>
                  <a:tcPr marL="80679" marR="80679" marT="34290" marB="34290"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90,92%</a:t>
                      </a:r>
                    </a:p>
                  </a:txBody>
                  <a:tcPr marL="80679" marR="80679" marT="34290" marB="34290" anchor="b" horzOverflow="overflow">
                    <a:lnL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49827">
                <a:tc>
                  <a:txBody>
                    <a:bodyPr/>
                    <a:lstStyle/>
                    <a:p>
                      <a:pPr marL="342900" marR="0" lvl="0" indent="-34290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501 a 1.000</a:t>
                      </a:r>
                    </a:p>
                  </a:txBody>
                  <a:tcPr marL="80679" marR="80679" marT="34290" marB="34290" anchor="b" horzOverflow="overflow">
                    <a:lnL cap="flat"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67.252</a:t>
                      </a:r>
                    </a:p>
                  </a:txBody>
                  <a:tcPr marL="80679" marR="80679" marT="34290" marB="34290"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10,11%</a:t>
                      </a:r>
                    </a:p>
                  </a:txBody>
                  <a:tcPr marL="80679" marR="80679" marT="34290" marB="34290"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83,39%</a:t>
                      </a:r>
                    </a:p>
                  </a:txBody>
                  <a:tcPr marL="80679" marR="80679" marT="34290" marB="34290"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pt-BR" sz="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80679" marR="80679" marT="34290" marB="34290"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42.757</a:t>
                      </a:r>
                    </a:p>
                  </a:txBody>
                  <a:tcPr marL="80679" marR="80679" marT="34290" marB="34290"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2,42%</a:t>
                      </a:r>
                    </a:p>
                  </a:txBody>
                  <a:tcPr marL="80679" marR="80679" marT="34290" marB="34290"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100,00%</a:t>
                      </a:r>
                    </a:p>
                  </a:txBody>
                  <a:tcPr marL="80679" marR="80679" marT="34290" marB="34290"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pt-BR" sz="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80679" marR="80679" marT="34290" marB="34290"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110.009</a:t>
                      </a:r>
                    </a:p>
                  </a:txBody>
                  <a:tcPr marL="80679" marR="80679" marT="34290" marB="34290"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4,53%</a:t>
                      </a:r>
                    </a:p>
                  </a:txBody>
                  <a:tcPr marL="80679" marR="80679" marT="34290" marB="34290"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95,45%</a:t>
                      </a:r>
                    </a:p>
                  </a:txBody>
                  <a:tcPr marL="80679" marR="80679" marT="34290" marB="34290" anchor="b" horzOverflow="overflow">
                    <a:lnL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411481">
                <a:tc>
                  <a:txBody>
                    <a:bodyPr/>
                    <a:lstStyle/>
                    <a:p>
                      <a:pPr marL="342900" marR="0" lvl="0" indent="-34290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Total 1.000 maiores</a:t>
                      </a:r>
                    </a:p>
                  </a:txBody>
                  <a:tcPr marL="80679" marR="80679" marT="34290" marB="34290" anchor="b" horzOverflow="overflow">
                    <a:lnL cap="flat"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554.444</a:t>
                      </a:r>
                    </a:p>
                  </a:txBody>
                  <a:tcPr marL="80679" marR="80679" marT="34290" marB="34290"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83,39%</a:t>
                      </a:r>
                    </a:p>
                  </a:txBody>
                  <a:tcPr marL="80679" marR="80679" marT="34290" marB="34290"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83,39%</a:t>
                      </a:r>
                    </a:p>
                  </a:txBody>
                  <a:tcPr marL="80679" marR="80679" marT="34290" marB="34290"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pt-BR" sz="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80679" marR="80679" marT="34290" marB="34290"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1.763.255</a:t>
                      </a:r>
                    </a:p>
                  </a:txBody>
                  <a:tcPr marL="80679" marR="80679" marT="34290" marB="34290"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100,00%</a:t>
                      </a:r>
                    </a:p>
                  </a:txBody>
                  <a:tcPr marL="80679" marR="80679" marT="34290" marB="34290"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100,00%</a:t>
                      </a:r>
                    </a:p>
                  </a:txBody>
                  <a:tcPr marL="80679" marR="80679" marT="34290" marB="34290"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pt-BR" sz="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80679" marR="80679" marT="34290" marB="34290"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2.317.700</a:t>
                      </a:r>
                    </a:p>
                  </a:txBody>
                  <a:tcPr marL="80679" marR="80679" marT="34290" marB="34290"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95,45%</a:t>
                      </a:r>
                    </a:p>
                  </a:txBody>
                  <a:tcPr marL="80679" marR="80679" marT="34290" marB="34290"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95,45%</a:t>
                      </a:r>
                    </a:p>
                  </a:txBody>
                  <a:tcPr marL="80679" marR="80679" marT="34290" marB="34290" anchor="b" horzOverflow="overflow">
                    <a:lnL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49827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pt-BR" sz="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80679" marR="80679" marT="34290" marB="34290" anchor="b" horzOverflow="overflow">
                    <a:lnL cap="flat"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pt-BR" sz="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80679" marR="80679" marT="34290" marB="34290"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pt-BR" sz="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80679" marR="80679" marT="34290" marB="34290"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pt-BR" sz="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80679" marR="80679" marT="34290" marB="34290"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pt-BR" sz="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80679" marR="80679" marT="34290" marB="34290"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pt-BR" sz="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80679" marR="80679" marT="34290" marB="34290"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pt-BR" sz="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80679" marR="80679" marT="34290" marB="34290"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pt-BR" sz="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80679" marR="80679" marT="34290" marB="34290"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pt-BR" sz="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80679" marR="80679" marT="34290" marB="34290"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pt-BR" sz="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80679" marR="80679" marT="34290" marB="34290"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pt-BR" sz="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80679" marR="80679" marT="34290" marB="34290"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pt-BR" sz="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80679" marR="80679" marT="34290" marB="34290" anchor="b" horzOverflow="overflow">
                    <a:lnL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49827">
                <a:tc>
                  <a:txBody>
                    <a:bodyPr/>
                    <a:lstStyle/>
                    <a:p>
                      <a:pPr marL="342900" marR="0" lvl="0" indent="-34290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Demais clientes</a:t>
                      </a:r>
                    </a:p>
                  </a:txBody>
                  <a:tcPr marL="80679" marR="80679" marT="34290" marB="34290" anchor="b" horzOverflow="overflow">
                    <a:lnL cap="flat"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110.430</a:t>
                      </a:r>
                    </a:p>
                  </a:txBody>
                  <a:tcPr marL="80679" marR="80679" marT="34290" marB="34290"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16,61%</a:t>
                      </a:r>
                    </a:p>
                  </a:txBody>
                  <a:tcPr marL="80679" marR="80679" marT="34290" marB="34290"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100,00%</a:t>
                      </a:r>
                    </a:p>
                  </a:txBody>
                  <a:tcPr marL="80679" marR="80679" marT="34290" marB="34290"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pt-BR" sz="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80679" marR="80679" marT="34290" marB="34290"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0</a:t>
                      </a:r>
                    </a:p>
                  </a:txBody>
                  <a:tcPr marL="80679" marR="80679" marT="34290" marB="34290"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0,00%</a:t>
                      </a:r>
                    </a:p>
                  </a:txBody>
                  <a:tcPr marL="80679" marR="80679" marT="34290" marB="34290"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100,00%</a:t>
                      </a:r>
                    </a:p>
                  </a:txBody>
                  <a:tcPr marL="80679" marR="80679" marT="34290" marB="34290"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pt-BR" sz="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80679" marR="80679" marT="34290" marB="34290"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110.430</a:t>
                      </a:r>
                    </a:p>
                  </a:txBody>
                  <a:tcPr marL="80679" marR="80679" marT="34290" marB="34290"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4,55%</a:t>
                      </a:r>
                    </a:p>
                  </a:txBody>
                  <a:tcPr marL="80679" marR="80679" marT="34290" marB="34290"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100,00%</a:t>
                      </a:r>
                    </a:p>
                  </a:txBody>
                  <a:tcPr marL="80679" marR="80679" marT="34290" marB="34290" anchor="b" horzOverflow="overflow">
                    <a:lnL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49827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pt-BR" sz="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80679" marR="80679" marT="34290" marB="34290" anchor="b" horzOverflow="overflow">
                    <a:lnL cap="flat"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pt-BR" sz="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80679" marR="80679" marT="34290" marB="34290"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pt-BR" sz="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80679" marR="80679" marT="34290" marB="34290"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pt-BR" sz="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80679" marR="80679" marT="34290" marB="34290"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pt-BR" sz="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80679" marR="80679" marT="34290" marB="34290"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pt-BR" sz="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80679" marR="80679" marT="34290" marB="34290"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pt-BR" sz="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80679" marR="80679" marT="34290" marB="34290"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pt-BR" sz="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80679" marR="80679" marT="34290" marB="34290"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pt-BR" sz="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80679" marR="80679" marT="34290" marB="34290"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pt-BR" sz="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80679" marR="80679" marT="34290" marB="34290"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pt-BR" sz="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80679" marR="80679" marT="34290" marB="34290"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pt-BR" sz="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80679" marR="80679" marT="34290" marB="34290" anchor="b" horzOverflow="overflow">
                    <a:lnL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49827">
                <a:tc>
                  <a:txBody>
                    <a:bodyPr/>
                    <a:lstStyle/>
                    <a:p>
                      <a:pPr marL="342900" marR="0" lvl="0" indent="-34290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Total</a:t>
                      </a:r>
                    </a:p>
                  </a:txBody>
                  <a:tcPr marL="80679" marR="80679" marT="34290" marB="34290" anchor="b" horzOverflow="overflow">
                    <a:lnL cap="flat"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664.874</a:t>
                      </a:r>
                    </a:p>
                  </a:txBody>
                  <a:tcPr marL="80679" marR="80679" marT="34290" marB="34290"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100,00%</a:t>
                      </a:r>
                    </a:p>
                  </a:txBody>
                  <a:tcPr marL="80679" marR="80679" marT="34290" marB="34290"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100,00%</a:t>
                      </a:r>
                    </a:p>
                  </a:txBody>
                  <a:tcPr marL="80679" marR="80679" marT="34290" marB="34290"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pt-BR" sz="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80679" marR="80679" marT="34290" marB="34290"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1.763.255</a:t>
                      </a:r>
                    </a:p>
                  </a:txBody>
                  <a:tcPr marL="80679" marR="80679" marT="34290" marB="34290"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100,00%</a:t>
                      </a:r>
                    </a:p>
                  </a:txBody>
                  <a:tcPr marL="80679" marR="80679" marT="34290" marB="34290"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100,00%</a:t>
                      </a:r>
                    </a:p>
                  </a:txBody>
                  <a:tcPr marL="80679" marR="80679" marT="34290" marB="34290"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pt-BR" sz="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80679" marR="80679" marT="34290" marB="34290"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2.428.130</a:t>
                      </a:r>
                    </a:p>
                  </a:txBody>
                  <a:tcPr marL="80679" marR="80679" marT="34290" marB="34290"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100,00%</a:t>
                      </a:r>
                    </a:p>
                  </a:txBody>
                  <a:tcPr marL="80679" marR="80679" marT="34290" marB="34290"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100,00%</a:t>
                      </a:r>
                    </a:p>
                  </a:txBody>
                  <a:tcPr marL="80679" marR="80679" marT="34290" marB="34290" anchor="b" horzOverflow="overflow">
                    <a:lnL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graphicFrame>
        <p:nvGraphicFramePr>
          <p:cNvPr id="1111818" name="Group 778"/>
          <p:cNvGraphicFramePr>
            <a:graphicFrameLocks noGrp="1"/>
          </p:cNvGraphicFramePr>
          <p:nvPr>
            <p:extLst/>
          </p:nvPr>
        </p:nvGraphicFramePr>
        <p:xfrm>
          <a:off x="227014" y="855453"/>
          <a:ext cx="8670925" cy="251291"/>
        </p:xfrm>
        <a:graphic>
          <a:graphicData uri="http://schemas.openxmlformats.org/drawingml/2006/table">
            <a:tbl>
              <a:tblPr/>
              <a:tblGrid>
                <a:gridCol w="8670925"/>
              </a:tblGrid>
              <a:tr h="251291">
                <a:tc>
                  <a:txBody>
                    <a:bodyPr/>
                    <a:lstStyle/>
                    <a:p>
                      <a:pPr marL="342900" marR="0" lvl="0" indent="-34290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5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pitchFamily="34" charset="0"/>
                          <a:cs typeface="Times New Roman" pitchFamily="18" charset="0"/>
                        </a:rPr>
                        <a:t>Direitos Creditórios - Concentração por tipo de cliente</a:t>
                      </a:r>
                      <a:endParaRPr kumimoji="0" lang="pt-BR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T="34205" marB="34205" horzOverflow="overflow">
                    <a:lnL cap="flat">
                      <a:noFill/>
                    </a:lnL>
                    <a:lnR cap="flat"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0135483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0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15394" name="Group 258"/>
          <p:cNvGraphicFramePr>
            <a:graphicFrameLocks noGrp="1"/>
          </p:cNvGraphicFramePr>
          <p:nvPr>
            <p:extLst/>
          </p:nvPr>
        </p:nvGraphicFramePr>
        <p:xfrm>
          <a:off x="227014" y="855453"/>
          <a:ext cx="8670925" cy="251291"/>
        </p:xfrm>
        <a:graphic>
          <a:graphicData uri="http://schemas.openxmlformats.org/drawingml/2006/table">
            <a:tbl>
              <a:tblPr/>
              <a:tblGrid>
                <a:gridCol w="8670925"/>
              </a:tblGrid>
              <a:tr h="251291">
                <a:tc>
                  <a:txBody>
                    <a:bodyPr/>
                    <a:lstStyle/>
                    <a:p>
                      <a:pPr marL="342900" marR="0" lvl="0" indent="-34290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5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pitchFamily="34" charset="0"/>
                          <a:cs typeface="Times New Roman" pitchFamily="18" charset="0"/>
                        </a:rPr>
                        <a:t>Direitos Creditórios - Concentração por tipo de cliente</a:t>
                      </a:r>
                      <a:endParaRPr kumimoji="0" lang="pt-BR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T="34205" marB="34205" horzOverflow="overflow">
                    <a:lnL cap="flat">
                      <a:noFill/>
                    </a:lnL>
                    <a:lnR cap="flat"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graphicFrame>
        <p:nvGraphicFramePr>
          <p:cNvPr id="1116025" name="Group 889"/>
          <p:cNvGraphicFramePr>
            <a:graphicFrameLocks noGrp="1"/>
          </p:cNvGraphicFramePr>
          <p:nvPr>
            <p:ph sz="quarter" idx="13"/>
            <p:extLst/>
          </p:nvPr>
        </p:nvGraphicFramePr>
        <p:xfrm>
          <a:off x="1357312" y="1106742"/>
          <a:ext cx="7616092" cy="4206478"/>
        </p:xfrm>
        <a:graphic>
          <a:graphicData uri="http://schemas.openxmlformats.org/drawingml/2006/table">
            <a:tbl>
              <a:tblPr/>
              <a:tblGrid>
                <a:gridCol w="1110653"/>
                <a:gridCol w="696854"/>
                <a:gridCol w="641591"/>
                <a:gridCol w="640243"/>
                <a:gridCol w="184270"/>
                <a:gridCol w="739985"/>
                <a:gridCol w="628112"/>
                <a:gridCol w="677984"/>
                <a:gridCol w="184270"/>
                <a:gridCol w="719769"/>
                <a:gridCol w="677984"/>
                <a:gridCol w="714377"/>
              </a:tblGrid>
              <a:tr h="194321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pt-BR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9435" marR="79435" marT="34292" marB="34292" anchor="b" horzOverflow="overflow">
                    <a:lnL cap="flat"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Cooperativa</a:t>
                      </a:r>
                    </a:p>
                  </a:txBody>
                  <a:tcPr marL="79435" marR="79435" marT="34292" marB="34292" anchor="b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pt-BR" sz="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9435" marR="79435" marT="34292" marB="34292" anchor="b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Industrial</a:t>
                      </a:r>
                    </a:p>
                  </a:txBody>
                  <a:tcPr marL="79435" marR="79435" marT="34292" marB="34292" anchor="b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pt-BR" sz="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9435" marR="79435" marT="34292" marB="34292" anchor="b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Total</a:t>
                      </a:r>
                    </a:p>
                  </a:txBody>
                  <a:tcPr marL="79435" marR="79435" marT="34292" marB="34292" anchor="b" horzOverflow="overflow">
                    <a:lnL>
                      <a:noFill/>
                    </a:lnL>
                    <a:lnR cap="flat">
                      <a:noFill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</a:tr>
              <a:tr h="194321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pt-BR" sz="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9435" marR="79435" marT="34292" marB="34292" anchor="b" horzOverflow="overflow">
                    <a:lnL cap="flat"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R$</a:t>
                      </a:r>
                    </a:p>
                  </a:txBody>
                  <a:tcPr marL="79435" marR="79435" marT="34292" marB="34292" anchor="b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%</a:t>
                      </a:r>
                    </a:p>
                  </a:txBody>
                  <a:tcPr marL="79435" marR="79435" marT="34292" marB="34292" anchor="b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% Acum.</a:t>
                      </a:r>
                    </a:p>
                  </a:txBody>
                  <a:tcPr marL="79435" marR="79435" marT="34292" marB="34292" anchor="b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pt-BR" sz="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9435" marR="79435" marT="34292" marB="34292"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R$</a:t>
                      </a:r>
                    </a:p>
                  </a:txBody>
                  <a:tcPr marL="79435" marR="79435" marT="34292" marB="34292" anchor="b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%</a:t>
                      </a:r>
                    </a:p>
                  </a:txBody>
                  <a:tcPr marL="79435" marR="79435" marT="34292" marB="34292" anchor="b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% Acum.</a:t>
                      </a:r>
                    </a:p>
                  </a:txBody>
                  <a:tcPr marL="79435" marR="79435" marT="34292" marB="34292" anchor="b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pt-BR" sz="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9435" marR="79435" marT="34292" marB="34292"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R$</a:t>
                      </a:r>
                    </a:p>
                  </a:txBody>
                  <a:tcPr marL="79435" marR="79435" marT="34292" marB="34292" anchor="b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%</a:t>
                      </a:r>
                    </a:p>
                  </a:txBody>
                  <a:tcPr marL="79435" marR="79435" marT="34292" marB="34292" anchor="b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% Acum.</a:t>
                      </a:r>
                    </a:p>
                  </a:txBody>
                  <a:tcPr marL="79435" marR="79435" marT="34292" marB="34292" anchor="b" horzOverflow="overflow">
                    <a:lnL>
                      <a:noFill/>
                    </a:lnL>
                    <a:lnR cap="flat">
                      <a:noFill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94321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pt-BR" sz="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9435" marR="79435" marT="34292" marB="34292" anchor="b" horzOverflow="overflow">
                    <a:lnL cap="flat"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pt-BR" sz="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9435" marR="79435" marT="34292" marB="34292" anchor="b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pt-BR" sz="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9435" marR="79435" marT="34292" marB="34292" anchor="b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pt-BR" sz="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9435" marR="79435" marT="34292" marB="34292" anchor="b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pt-BR" sz="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9435" marR="79435" marT="34292" marB="34292" anchor="b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pt-BR" sz="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9435" marR="79435" marT="34292" marB="34292" anchor="b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pt-BR" sz="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9435" marR="79435" marT="34292" marB="34292" anchor="b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pt-BR" sz="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9435" marR="79435" marT="34292" marB="34292" anchor="b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pt-BR" sz="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9435" marR="79435" marT="34292" marB="34292" anchor="b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pt-BR" sz="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9435" marR="79435" marT="34292" marB="34292" anchor="b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pt-BR" sz="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9435" marR="79435" marT="34292" marB="34292" anchor="b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pt-BR" sz="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9435" marR="79435" marT="34292" marB="34292" anchor="b" horzOverflow="overflow">
                    <a:lnL>
                      <a:noFill/>
                    </a:lnL>
                    <a:lnR cap="flat">
                      <a:noFill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94321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Maior Cliente</a:t>
                      </a:r>
                    </a:p>
                  </a:txBody>
                  <a:tcPr marL="79435" marR="79435" marT="34292" marB="34292" anchor="b" horzOverflow="overflow">
                    <a:lnL cap="flat"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189.438</a:t>
                      </a:r>
                    </a:p>
                  </a:txBody>
                  <a:tcPr marL="79435" marR="79435" marT="34292" marB="34292"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16,89%</a:t>
                      </a:r>
                    </a:p>
                  </a:txBody>
                  <a:tcPr marL="79435" marR="79435" marT="34292" marB="34292"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16,89%</a:t>
                      </a:r>
                    </a:p>
                  </a:txBody>
                  <a:tcPr marL="79435" marR="79435" marT="34292" marB="34292"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pt-BR" sz="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9435" marR="79435" marT="34292" marB="34292"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381.363</a:t>
                      </a:r>
                    </a:p>
                  </a:txBody>
                  <a:tcPr marL="79435" marR="79435" marT="34292" marB="34292"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30,27%</a:t>
                      </a:r>
                    </a:p>
                  </a:txBody>
                  <a:tcPr marL="79435" marR="79435" marT="34292" marB="34292"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30,27%</a:t>
                      </a:r>
                    </a:p>
                  </a:txBody>
                  <a:tcPr marL="79435" marR="79435" marT="34292" marB="34292"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pt-BR" sz="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9435" marR="79435" marT="34292" marB="34292"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661.781</a:t>
                      </a:r>
                    </a:p>
                  </a:txBody>
                  <a:tcPr marL="79435" marR="79435" marT="34292" marB="34292"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13,76%</a:t>
                      </a:r>
                    </a:p>
                  </a:txBody>
                  <a:tcPr marL="79435" marR="79435" marT="34292" marB="34292"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13,76%</a:t>
                      </a:r>
                    </a:p>
                  </a:txBody>
                  <a:tcPr marL="79435" marR="79435" marT="34292" marB="34292" anchor="b" horzOverflow="overflow">
                    <a:lnL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94321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2 a 5</a:t>
                      </a:r>
                    </a:p>
                  </a:txBody>
                  <a:tcPr marL="79435" marR="79435" marT="34292" marB="34292" anchor="b" horzOverflow="overflow">
                    <a:lnL cap="flat"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208.392</a:t>
                      </a:r>
                    </a:p>
                  </a:txBody>
                  <a:tcPr marL="79435" marR="79435" marT="34292" marB="34292"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18,58%</a:t>
                      </a:r>
                    </a:p>
                  </a:txBody>
                  <a:tcPr marL="79435" marR="79435" marT="34292" marB="34292"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35,46%</a:t>
                      </a:r>
                    </a:p>
                  </a:txBody>
                  <a:tcPr marL="79435" marR="79435" marT="34292" marB="34292"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pt-BR" sz="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9435" marR="79435" marT="34292" marB="34292"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657.644</a:t>
                      </a:r>
                    </a:p>
                  </a:txBody>
                  <a:tcPr marL="79435" marR="79435" marT="34292" marB="34292"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52,20%</a:t>
                      </a:r>
                    </a:p>
                  </a:txBody>
                  <a:tcPr marL="79435" marR="79435" marT="34292" marB="34292"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82,46%</a:t>
                      </a:r>
                    </a:p>
                  </a:txBody>
                  <a:tcPr marL="79435" marR="79435" marT="34292" marB="34292"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pt-BR" sz="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9435" marR="79435" marT="34292" marB="34292"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1.073.813</a:t>
                      </a:r>
                    </a:p>
                  </a:txBody>
                  <a:tcPr marL="79435" marR="79435" marT="34292" marB="34292"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22,32%</a:t>
                      </a:r>
                    </a:p>
                  </a:txBody>
                  <a:tcPr marL="79435" marR="79435" marT="34292" marB="34292"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36,08%</a:t>
                      </a:r>
                    </a:p>
                  </a:txBody>
                  <a:tcPr marL="79435" marR="79435" marT="34292" marB="34292" anchor="b" horzOverflow="overflow">
                    <a:lnL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94321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6 a 10</a:t>
                      </a:r>
                    </a:p>
                  </a:txBody>
                  <a:tcPr marL="79435" marR="79435" marT="34292" marB="34292" anchor="b" horzOverflow="overflow">
                    <a:lnL cap="flat"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162.726</a:t>
                      </a:r>
                    </a:p>
                  </a:txBody>
                  <a:tcPr marL="79435" marR="79435" marT="34292" marB="34292"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14,50%</a:t>
                      </a:r>
                    </a:p>
                  </a:txBody>
                  <a:tcPr marL="79435" marR="79435" marT="34292" marB="34292"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49,97%</a:t>
                      </a:r>
                    </a:p>
                  </a:txBody>
                  <a:tcPr marL="79435" marR="79435" marT="34292" marB="34292"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pt-BR" sz="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9435" marR="79435" marT="34292" marB="34292"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220.902</a:t>
                      </a:r>
                    </a:p>
                  </a:txBody>
                  <a:tcPr marL="79435" marR="79435" marT="34292" marB="34292"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17,53%</a:t>
                      </a:r>
                    </a:p>
                  </a:txBody>
                  <a:tcPr marL="79435" marR="79435" marT="34292" marB="34292"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100,00%</a:t>
                      </a:r>
                    </a:p>
                  </a:txBody>
                  <a:tcPr marL="79435" marR="79435" marT="34292" marB="34292"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pt-BR" sz="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9435" marR="79435" marT="34292" marB="34292"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548.778</a:t>
                      </a:r>
                    </a:p>
                  </a:txBody>
                  <a:tcPr marL="79435" marR="79435" marT="34292" marB="34292"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11,41%</a:t>
                      </a:r>
                    </a:p>
                  </a:txBody>
                  <a:tcPr marL="79435" marR="79435" marT="34292" marB="34292"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47,49%</a:t>
                      </a:r>
                    </a:p>
                  </a:txBody>
                  <a:tcPr marL="79435" marR="79435" marT="34292" marB="34292" anchor="b" horzOverflow="overflow">
                    <a:lnL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94321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11 ao 25</a:t>
                      </a:r>
                    </a:p>
                  </a:txBody>
                  <a:tcPr marL="79435" marR="79435" marT="34292" marB="34292" anchor="b" horzOverflow="overflow">
                    <a:lnL cap="flat"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233.280</a:t>
                      </a:r>
                    </a:p>
                  </a:txBody>
                  <a:tcPr marL="79435" marR="79435" marT="34292" marB="34292"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20,79%</a:t>
                      </a:r>
                    </a:p>
                  </a:txBody>
                  <a:tcPr marL="79435" marR="79435" marT="34292" marB="34292"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70,76%</a:t>
                      </a:r>
                    </a:p>
                  </a:txBody>
                  <a:tcPr marL="79435" marR="79435" marT="34292" marB="34292"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pt-BR" sz="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9435" marR="79435" marT="34292" marB="34292"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31</a:t>
                      </a:r>
                    </a:p>
                  </a:txBody>
                  <a:tcPr marL="79435" marR="79435" marT="34292" marB="34292"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0,00%</a:t>
                      </a:r>
                    </a:p>
                  </a:txBody>
                  <a:tcPr marL="79435" marR="79435" marT="34292" marB="34292"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100,00%</a:t>
                      </a:r>
                    </a:p>
                  </a:txBody>
                  <a:tcPr marL="79435" marR="79435" marT="34292" marB="34292"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pt-BR" sz="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9435" marR="79435" marT="34292" marB="34292"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552.175</a:t>
                      </a:r>
                    </a:p>
                  </a:txBody>
                  <a:tcPr marL="79435" marR="79435" marT="34292" marB="34292"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11,48%</a:t>
                      </a:r>
                    </a:p>
                  </a:txBody>
                  <a:tcPr marL="79435" marR="79435" marT="34292" marB="34292"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58,97%</a:t>
                      </a:r>
                    </a:p>
                  </a:txBody>
                  <a:tcPr marL="79435" marR="79435" marT="34292" marB="34292" anchor="b" horzOverflow="overflow">
                    <a:lnL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94321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Total 25 maiores</a:t>
                      </a:r>
                    </a:p>
                  </a:txBody>
                  <a:tcPr marL="79435" marR="79435" marT="34292" marB="34292" anchor="b" horzOverflow="overflow">
                    <a:lnL cap="flat"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793.836</a:t>
                      </a:r>
                    </a:p>
                  </a:txBody>
                  <a:tcPr marL="79435" marR="79435" marT="34292" marB="34292"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70,76%</a:t>
                      </a:r>
                    </a:p>
                  </a:txBody>
                  <a:tcPr marL="79435" marR="79435" marT="34292" marB="34292"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70,76%</a:t>
                      </a:r>
                    </a:p>
                  </a:txBody>
                  <a:tcPr marL="79435" marR="79435" marT="34292" marB="34292"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pt-BR" sz="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9435" marR="79435" marT="34292" marB="34292"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1.259.941</a:t>
                      </a:r>
                    </a:p>
                  </a:txBody>
                  <a:tcPr marL="79435" marR="79435" marT="34292" marB="34292"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100,00%</a:t>
                      </a:r>
                    </a:p>
                  </a:txBody>
                  <a:tcPr marL="79435" marR="79435" marT="34292" marB="34292"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100,00%</a:t>
                      </a:r>
                    </a:p>
                  </a:txBody>
                  <a:tcPr marL="79435" marR="79435" marT="34292" marB="34292"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pt-BR" sz="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9435" marR="79435" marT="34292" marB="34292"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2.836.548</a:t>
                      </a:r>
                    </a:p>
                  </a:txBody>
                  <a:tcPr marL="79435" marR="79435" marT="34292" marB="34292"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58,97%</a:t>
                      </a:r>
                    </a:p>
                  </a:txBody>
                  <a:tcPr marL="79435" marR="79435" marT="34292" marB="34292"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58,97%</a:t>
                      </a:r>
                    </a:p>
                  </a:txBody>
                  <a:tcPr marL="79435" marR="79435" marT="34292" marB="34292" anchor="b" horzOverflow="overflow">
                    <a:lnL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94321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pt-BR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9435" marR="79435" marT="34292" marB="34292" anchor="b" horzOverflow="overflow">
                    <a:lnL cap="flat"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pt-BR" sz="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9435" marR="79435" marT="34292" marB="34292"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pt-BR" sz="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9435" marR="79435" marT="34292" marB="34292"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pt-BR" sz="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9435" marR="79435" marT="34292" marB="34292"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pt-BR" sz="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9435" marR="79435" marT="34292" marB="34292"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pt-BR" sz="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9435" marR="79435" marT="34292" marB="34292"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pt-BR" sz="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9435" marR="79435" marT="34292" marB="34292"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pt-BR" sz="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9435" marR="79435" marT="34292" marB="34292"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pt-BR" sz="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9435" marR="79435" marT="34292" marB="34292"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pt-BR" sz="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9435" marR="79435" marT="34292" marB="34292"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pt-BR" sz="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9435" marR="79435" marT="34292" marB="34292"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pt-BR" sz="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9435" marR="79435" marT="34292" marB="34292" anchor="b" horzOverflow="overflow">
                    <a:lnL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94321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26 a 50</a:t>
                      </a:r>
                    </a:p>
                  </a:txBody>
                  <a:tcPr marL="79435" marR="79435" marT="34292" marB="34292" anchor="b" horzOverflow="overflow">
                    <a:lnL cap="flat"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173.829</a:t>
                      </a:r>
                    </a:p>
                  </a:txBody>
                  <a:tcPr marL="79435" marR="79435" marT="34292" marB="34292"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15,49%</a:t>
                      </a:r>
                    </a:p>
                  </a:txBody>
                  <a:tcPr marL="79435" marR="79435" marT="34292" marB="34292"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86,25%</a:t>
                      </a:r>
                    </a:p>
                  </a:txBody>
                  <a:tcPr marL="79435" marR="79435" marT="34292" marB="34292"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pt-BR" sz="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9435" marR="79435" marT="34292" marB="34292"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0</a:t>
                      </a:r>
                    </a:p>
                  </a:txBody>
                  <a:tcPr marL="79435" marR="79435" marT="34292" marB="34292"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0,00%</a:t>
                      </a:r>
                    </a:p>
                  </a:txBody>
                  <a:tcPr marL="79435" marR="79435" marT="34292" marB="34292"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100,00%</a:t>
                      </a:r>
                    </a:p>
                  </a:txBody>
                  <a:tcPr marL="79435" marR="79435" marT="34292" marB="34292"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pt-BR" sz="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9435" marR="79435" marT="34292" marB="34292"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496.050</a:t>
                      </a:r>
                    </a:p>
                  </a:txBody>
                  <a:tcPr marL="79435" marR="79435" marT="34292" marB="34292"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10,31%</a:t>
                      </a:r>
                    </a:p>
                  </a:txBody>
                  <a:tcPr marL="79435" marR="79435" marT="34292" marB="34292"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69,29%</a:t>
                      </a:r>
                    </a:p>
                  </a:txBody>
                  <a:tcPr marL="79435" marR="79435" marT="34292" marB="34292" anchor="b" horzOverflow="overflow">
                    <a:lnL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94321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51 a 100</a:t>
                      </a:r>
                    </a:p>
                  </a:txBody>
                  <a:tcPr marL="79435" marR="79435" marT="34292" marB="34292" anchor="b" horzOverflow="overflow">
                    <a:lnL cap="flat"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113.574</a:t>
                      </a:r>
                    </a:p>
                  </a:txBody>
                  <a:tcPr marL="79435" marR="79435" marT="34292" marB="34292"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10,12%</a:t>
                      </a:r>
                    </a:p>
                  </a:txBody>
                  <a:tcPr marL="79435" marR="79435" marT="34292" marB="34292"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96,38%</a:t>
                      </a:r>
                    </a:p>
                  </a:txBody>
                  <a:tcPr marL="79435" marR="79435" marT="34292" marB="34292"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pt-BR" sz="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9435" marR="79435" marT="34292" marB="34292"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0</a:t>
                      </a:r>
                    </a:p>
                  </a:txBody>
                  <a:tcPr marL="79435" marR="79435" marT="34292" marB="34292"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0,00%</a:t>
                      </a:r>
                    </a:p>
                  </a:txBody>
                  <a:tcPr marL="79435" marR="79435" marT="34292" marB="34292"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100,00%</a:t>
                      </a:r>
                    </a:p>
                  </a:txBody>
                  <a:tcPr marL="79435" marR="79435" marT="34292" marB="34292"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pt-BR" sz="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9435" marR="79435" marT="34292" marB="34292"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496.512</a:t>
                      </a:r>
                    </a:p>
                  </a:txBody>
                  <a:tcPr marL="79435" marR="79435" marT="34292" marB="34292"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10,32%</a:t>
                      </a:r>
                    </a:p>
                  </a:txBody>
                  <a:tcPr marL="79435" marR="79435" marT="34292" marB="34292"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79,61%</a:t>
                      </a:r>
                    </a:p>
                  </a:txBody>
                  <a:tcPr marL="79435" marR="79435" marT="34292" marB="34292" anchor="b" horzOverflow="overflow">
                    <a:lnL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94321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Total 100 maiores</a:t>
                      </a:r>
                    </a:p>
                  </a:txBody>
                  <a:tcPr marL="79435" marR="79435" marT="34292" marB="34292" anchor="b" horzOverflow="overflow">
                    <a:lnL cap="flat"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1.081.240</a:t>
                      </a:r>
                    </a:p>
                  </a:txBody>
                  <a:tcPr marL="79435" marR="79435" marT="34292" marB="34292"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96,38%</a:t>
                      </a:r>
                    </a:p>
                  </a:txBody>
                  <a:tcPr marL="79435" marR="79435" marT="34292" marB="34292"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96,38%</a:t>
                      </a:r>
                    </a:p>
                  </a:txBody>
                  <a:tcPr marL="79435" marR="79435" marT="34292" marB="34292"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pt-BR" sz="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9435" marR="79435" marT="34292" marB="34292"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1.259.941</a:t>
                      </a:r>
                    </a:p>
                  </a:txBody>
                  <a:tcPr marL="79435" marR="79435" marT="34292" marB="34292"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100,00%</a:t>
                      </a:r>
                    </a:p>
                  </a:txBody>
                  <a:tcPr marL="79435" marR="79435" marT="34292" marB="34292"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100,00%</a:t>
                      </a:r>
                    </a:p>
                  </a:txBody>
                  <a:tcPr marL="79435" marR="79435" marT="34292" marB="34292"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pt-BR" sz="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9435" marR="79435" marT="34292" marB="34292"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3.829.110</a:t>
                      </a:r>
                    </a:p>
                  </a:txBody>
                  <a:tcPr marL="79435" marR="79435" marT="34292" marB="34292"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79,61%</a:t>
                      </a:r>
                    </a:p>
                  </a:txBody>
                  <a:tcPr marL="79435" marR="79435" marT="34292" marB="34292"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79,61%</a:t>
                      </a:r>
                    </a:p>
                  </a:txBody>
                  <a:tcPr marL="79435" marR="79435" marT="34292" marB="34292" anchor="b" horzOverflow="overflow">
                    <a:lnL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94321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pt-BR" sz="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9435" marR="79435" marT="34292" marB="34292" anchor="b" horzOverflow="overflow">
                    <a:lnL cap="flat"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pt-BR" sz="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9435" marR="79435" marT="34292" marB="34292"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pt-BR" sz="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9435" marR="79435" marT="34292" marB="34292"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pt-BR" sz="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9435" marR="79435" marT="34292" marB="34292"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pt-BR" sz="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9435" marR="79435" marT="34292" marB="34292"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pt-BR" sz="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9435" marR="79435" marT="34292" marB="34292"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pt-BR" sz="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9435" marR="79435" marT="34292" marB="34292"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pt-BR" sz="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9435" marR="79435" marT="34292" marB="34292"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pt-BR" sz="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9435" marR="79435" marT="34292" marB="34292"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pt-BR" sz="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9435" marR="79435" marT="34292" marB="34292"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pt-BR" sz="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9435" marR="79435" marT="34292" marB="34292"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pt-BR" sz="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9435" marR="79435" marT="34292" marB="34292" anchor="b" horzOverflow="overflow">
                    <a:lnL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94321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101 a 200</a:t>
                      </a:r>
                    </a:p>
                  </a:txBody>
                  <a:tcPr marL="79435" marR="79435" marT="34292" marB="34292" anchor="b" horzOverflow="overflow">
                    <a:lnL cap="flat"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40.565</a:t>
                      </a:r>
                    </a:p>
                  </a:txBody>
                  <a:tcPr marL="79435" marR="79435" marT="34292" marB="34292"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3,62%</a:t>
                      </a:r>
                    </a:p>
                  </a:txBody>
                  <a:tcPr marL="79435" marR="79435" marT="34292" marB="34292"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99,99%</a:t>
                      </a:r>
                    </a:p>
                  </a:txBody>
                  <a:tcPr marL="79435" marR="79435" marT="34292" marB="34292"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pt-BR" sz="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9435" marR="79435" marT="34292" marB="34292"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0</a:t>
                      </a:r>
                    </a:p>
                  </a:txBody>
                  <a:tcPr marL="79435" marR="79435" marT="34292" marB="34292"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0,00%</a:t>
                      </a:r>
                    </a:p>
                  </a:txBody>
                  <a:tcPr marL="79435" marR="79435" marT="34292" marB="34292"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100,00%</a:t>
                      </a:r>
                    </a:p>
                  </a:txBody>
                  <a:tcPr marL="79435" marR="79435" marT="34292" marB="34292"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pt-BR" sz="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9435" marR="79435" marT="34292" marB="34292"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413.439</a:t>
                      </a:r>
                    </a:p>
                  </a:txBody>
                  <a:tcPr marL="79435" marR="79435" marT="34292" marB="34292"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8,60%</a:t>
                      </a:r>
                    </a:p>
                  </a:txBody>
                  <a:tcPr marL="79435" marR="79435" marT="34292" marB="34292"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88,20%</a:t>
                      </a:r>
                    </a:p>
                  </a:txBody>
                  <a:tcPr marL="79435" marR="79435" marT="34292" marB="34292" anchor="b" horzOverflow="overflow">
                    <a:lnL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94321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201 a 500</a:t>
                      </a:r>
                    </a:p>
                  </a:txBody>
                  <a:tcPr marL="79435" marR="79435" marT="34292" marB="34292" anchor="b" horzOverflow="overflow">
                    <a:lnL cap="flat"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68</a:t>
                      </a:r>
                    </a:p>
                  </a:txBody>
                  <a:tcPr marL="79435" marR="79435" marT="34292" marB="34292"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0,01%</a:t>
                      </a:r>
                    </a:p>
                  </a:txBody>
                  <a:tcPr marL="79435" marR="79435" marT="34292" marB="34292"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100,00%</a:t>
                      </a:r>
                    </a:p>
                  </a:txBody>
                  <a:tcPr marL="79435" marR="79435" marT="34292" marB="34292"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pt-BR" sz="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9435" marR="79435" marT="34292" marB="34292"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0</a:t>
                      </a:r>
                    </a:p>
                  </a:txBody>
                  <a:tcPr marL="79435" marR="79435" marT="34292" marB="34292"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0,00%</a:t>
                      </a:r>
                    </a:p>
                  </a:txBody>
                  <a:tcPr marL="79435" marR="79435" marT="34292" marB="34292"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100,00%</a:t>
                      </a:r>
                    </a:p>
                  </a:txBody>
                  <a:tcPr marL="79435" marR="79435" marT="34292" marB="34292"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pt-BR" sz="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9435" marR="79435" marT="34292" marB="34292"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346.955</a:t>
                      </a:r>
                    </a:p>
                  </a:txBody>
                  <a:tcPr marL="79435" marR="79435" marT="34292" marB="34292"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7,21%</a:t>
                      </a:r>
                    </a:p>
                  </a:txBody>
                  <a:tcPr marL="79435" marR="79435" marT="34292" marB="34292"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95,42%</a:t>
                      </a:r>
                    </a:p>
                  </a:txBody>
                  <a:tcPr marL="79435" marR="79435" marT="34292" marB="34292" anchor="b" horzOverflow="overflow">
                    <a:lnL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94321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501 a 1.000</a:t>
                      </a:r>
                    </a:p>
                  </a:txBody>
                  <a:tcPr marL="79435" marR="79435" marT="34292" marB="34292" anchor="b" horzOverflow="overflow">
                    <a:lnL cap="flat"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0</a:t>
                      </a:r>
                    </a:p>
                  </a:txBody>
                  <a:tcPr marL="79435" marR="79435" marT="34292" marB="34292"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0,00%</a:t>
                      </a:r>
                    </a:p>
                  </a:txBody>
                  <a:tcPr marL="79435" marR="79435" marT="34292" marB="34292"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100,00%</a:t>
                      </a:r>
                    </a:p>
                  </a:txBody>
                  <a:tcPr marL="79435" marR="79435" marT="34292" marB="34292"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pt-BR" sz="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9435" marR="79435" marT="34292" marB="34292"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0</a:t>
                      </a:r>
                    </a:p>
                  </a:txBody>
                  <a:tcPr marL="79435" marR="79435" marT="34292" marB="34292"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0,00%</a:t>
                      </a:r>
                    </a:p>
                  </a:txBody>
                  <a:tcPr marL="79435" marR="79435" marT="34292" marB="34292"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100,00%</a:t>
                      </a:r>
                    </a:p>
                  </a:txBody>
                  <a:tcPr marL="79435" marR="79435" marT="34292" marB="34292"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pt-BR" sz="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9435" marR="79435" marT="34292" marB="34292"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110.009</a:t>
                      </a:r>
                    </a:p>
                  </a:txBody>
                  <a:tcPr marL="79435" marR="79435" marT="34292" marB="34292"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2,29%</a:t>
                      </a:r>
                    </a:p>
                  </a:txBody>
                  <a:tcPr marL="79435" marR="79435" marT="34292" marB="34292"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97,70%</a:t>
                      </a:r>
                    </a:p>
                  </a:txBody>
                  <a:tcPr marL="79435" marR="79435" marT="34292" marB="34292" anchor="b" horzOverflow="overflow">
                    <a:lnL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20058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Total 1.000 maiores</a:t>
                      </a:r>
                    </a:p>
                  </a:txBody>
                  <a:tcPr marL="79435" marR="79435" marT="34292" marB="34292" anchor="b" horzOverflow="overflow">
                    <a:lnL cap="flat"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1.121.873</a:t>
                      </a:r>
                    </a:p>
                  </a:txBody>
                  <a:tcPr marL="79435" marR="79435" marT="34292" marB="34292"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100,00%</a:t>
                      </a:r>
                    </a:p>
                  </a:txBody>
                  <a:tcPr marL="79435" marR="79435" marT="34292" marB="34292"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100,00%</a:t>
                      </a:r>
                    </a:p>
                  </a:txBody>
                  <a:tcPr marL="79435" marR="79435" marT="34292" marB="34292"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pt-BR" sz="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9435" marR="79435" marT="34292" marB="34292"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1.259.941</a:t>
                      </a:r>
                    </a:p>
                  </a:txBody>
                  <a:tcPr marL="79435" marR="79435" marT="34292" marB="34292"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100,00%</a:t>
                      </a:r>
                    </a:p>
                  </a:txBody>
                  <a:tcPr marL="79435" marR="79435" marT="34292" marB="34292"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100,00%</a:t>
                      </a:r>
                    </a:p>
                  </a:txBody>
                  <a:tcPr marL="79435" marR="79435" marT="34292" marB="34292"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pt-BR" sz="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9435" marR="79435" marT="34292" marB="34292"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4.699.513</a:t>
                      </a:r>
                    </a:p>
                  </a:txBody>
                  <a:tcPr marL="79435" marR="79435" marT="34292" marB="34292"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97,70%</a:t>
                      </a:r>
                    </a:p>
                  </a:txBody>
                  <a:tcPr marL="79435" marR="79435" marT="34292" marB="34292"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97,70%</a:t>
                      </a:r>
                    </a:p>
                  </a:txBody>
                  <a:tcPr marL="79435" marR="79435" marT="34292" marB="34292" anchor="b" horzOverflow="overflow">
                    <a:lnL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94321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pt-BR" sz="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9435" marR="79435" marT="34292" marB="34292" anchor="b" horzOverflow="overflow">
                    <a:lnL cap="flat"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pt-BR" sz="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9435" marR="79435" marT="34292" marB="34292"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pt-BR" sz="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9435" marR="79435" marT="34292" marB="34292"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pt-BR" sz="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9435" marR="79435" marT="34292" marB="34292"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pt-BR" sz="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9435" marR="79435" marT="34292" marB="34292"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pt-BR" sz="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9435" marR="79435" marT="34292" marB="34292"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pt-BR" sz="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9435" marR="79435" marT="34292" marB="34292"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pt-BR" sz="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9435" marR="79435" marT="34292" marB="34292"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pt-BR" sz="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9435" marR="79435" marT="34292" marB="34292"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pt-BR" sz="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9435" marR="79435" marT="34292" marB="34292"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pt-BR" sz="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9435" marR="79435" marT="34292" marB="34292"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pt-BR" sz="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9435" marR="79435" marT="34292" marB="34292" anchor="b" horzOverflow="overflow">
                    <a:lnL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94321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Demais clientes</a:t>
                      </a:r>
                    </a:p>
                  </a:txBody>
                  <a:tcPr marL="79435" marR="79435" marT="34292" marB="34292" anchor="b" horzOverflow="overflow">
                    <a:lnL cap="flat"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0</a:t>
                      </a:r>
                    </a:p>
                  </a:txBody>
                  <a:tcPr marL="79435" marR="79435" marT="34292" marB="34292"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0,00%</a:t>
                      </a:r>
                    </a:p>
                  </a:txBody>
                  <a:tcPr marL="79435" marR="79435" marT="34292" marB="34292"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100,00%</a:t>
                      </a:r>
                    </a:p>
                  </a:txBody>
                  <a:tcPr marL="79435" marR="79435" marT="34292" marB="34292"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pt-BR" sz="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9435" marR="79435" marT="34292" marB="34292"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0</a:t>
                      </a:r>
                    </a:p>
                  </a:txBody>
                  <a:tcPr marL="79435" marR="79435" marT="34292" marB="34292"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0,00%</a:t>
                      </a:r>
                    </a:p>
                  </a:txBody>
                  <a:tcPr marL="79435" marR="79435" marT="34292" marB="34292"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100,00%</a:t>
                      </a:r>
                    </a:p>
                  </a:txBody>
                  <a:tcPr marL="79435" marR="79435" marT="34292" marB="34292"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pt-BR" sz="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9435" marR="79435" marT="34292" marB="34292"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110.430</a:t>
                      </a:r>
                    </a:p>
                  </a:txBody>
                  <a:tcPr marL="79435" marR="79435" marT="34292" marB="34292"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2,30%</a:t>
                      </a:r>
                    </a:p>
                  </a:txBody>
                  <a:tcPr marL="79435" marR="79435" marT="34292" marB="34292"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100,00%</a:t>
                      </a:r>
                    </a:p>
                  </a:txBody>
                  <a:tcPr marL="79435" marR="79435" marT="34292" marB="34292" anchor="b" horzOverflow="overflow">
                    <a:lnL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94321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pt-BR" sz="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9435" marR="79435" marT="34292" marB="34292" anchor="b" horzOverflow="overflow">
                    <a:lnL cap="flat"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pt-BR" sz="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9435" marR="79435" marT="34292" marB="34292"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pt-BR" sz="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9435" marR="79435" marT="34292" marB="34292"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pt-BR" sz="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9435" marR="79435" marT="34292" marB="34292"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pt-BR" sz="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9435" marR="79435" marT="34292" marB="34292"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pt-BR" sz="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9435" marR="79435" marT="34292" marB="34292"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pt-BR" sz="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9435" marR="79435" marT="34292" marB="34292"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pt-BR" sz="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9435" marR="79435" marT="34292" marB="34292"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pt-BR" sz="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9435" marR="79435" marT="34292" marB="34292"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pt-BR" sz="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9435" marR="79435" marT="34292" marB="34292"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pt-BR" sz="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9435" marR="79435" marT="34292" marB="34292"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pt-BR" sz="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9435" marR="79435" marT="34292" marB="34292" anchor="b" horzOverflow="overflow">
                    <a:lnL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94321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Total</a:t>
                      </a:r>
                    </a:p>
                  </a:txBody>
                  <a:tcPr marL="79435" marR="79435" marT="34292" marB="34292" anchor="b" horzOverflow="overflow">
                    <a:lnL cap="flat"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1.121.873</a:t>
                      </a:r>
                    </a:p>
                  </a:txBody>
                  <a:tcPr marL="79435" marR="79435" marT="34292" marB="34292"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100,00%</a:t>
                      </a:r>
                    </a:p>
                  </a:txBody>
                  <a:tcPr marL="79435" marR="79435" marT="34292" marB="34292"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100,00%</a:t>
                      </a:r>
                    </a:p>
                  </a:txBody>
                  <a:tcPr marL="79435" marR="79435" marT="34292" marB="34292"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pt-BR" sz="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9435" marR="79435" marT="34292" marB="34292"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1.259.941</a:t>
                      </a:r>
                    </a:p>
                  </a:txBody>
                  <a:tcPr marL="79435" marR="79435" marT="34292" marB="34292"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100,00%</a:t>
                      </a:r>
                    </a:p>
                  </a:txBody>
                  <a:tcPr marL="79435" marR="79435" marT="34292" marB="34292"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100,00%</a:t>
                      </a:r>
                    </a:p>
                  </a:txBody>
                  <a:tcPr marL="79435" marR="79435" marT="34292" marB="34292"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pt-BR" sz="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9435" marR="79435" marT="34292" marB="34292"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4.809.943</a:t>
                      </a:r>
                    </a:p>
                  </a:txBody>
                  <a:tcPr marL="79435" marR="79435" marT="34292" marB="34292"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100,00%</a:t>
                      </a:r>
                    </a:p>
                  </a:txBody>
                  <a:tcPr marL="79435" marR="79435" marT="34292" marB="34292"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100,00%</a:t>
                      </a:r>
                    </a:p>
                  </a:txBody>
                  <a:tcPr marL="79435" marR="79435" marT="34292" marB="34292" anchor="b" horzOverflow="overflow">
                    <a:lnL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212368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0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2306" name="Rectangle 2"/>
          <p:cNvSpPr>
            <a:spLocks noChangeArrowheads="1"/>
          </p:cNvSpPr>
          <p:nvPr/>
        </p:nvSpPr>
        <p:spPr bwMode="auto">
          <a:xfrm>
            <a:off x="0" y="897733"/>
            <a:ext cx="9144000" cy="69532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anchor="ctr"/>
          <a:lstStyle/>
          <a:p>
            <a:pPr algn="ctr">
              <a:defRPr/>
            </a:pPr>
            <a:r>
              <a:rPr lang="en-US" sz="2700" b="1">
                <a:solidFill>
                  <a:schemeClr val="tx2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Tahoma" pitchFamily="34" charset="0"/>
              </a:rPr>
              <a:t>Algumas Características</a:t>
            </a:r>
          </a:p>
        </p:txBody>
      </p:sp>
      <p:graphicFrame>
        <p:nvGraphicFramePr>
          <p:cNvPr id="1122307" name="Group 3"/>
          <p:cNvGraphicFramePr>
            <a:graphicFrameLocks noGrp="1"/>
          </p:cNvGraphicFramePr>
          <p:nvPr>
            <p:extLst/>
          </p:nvPr>
        </p:nvGraphicFramePr>
        <p:xfrm>
          <a:off x="227014" y="1411914"/>
          <a:ext cx="8670925" cy="342900"/>
        </p:xfrm>
        <a:graphic>
          <a:graphicData uri="http://schemas.openxmlformats.org/drawingml/2006/table">
            <a:tbl>
              <a:tblPr/>
              <a:tblGrid>
                <a:gridCol w="8670925"/>
              </a:tblGrid>
              <a:tr h="342900">
                <a:tc>
                  <a:txBody>
                    <a:bodyPr/>
                    <a:lstStyle/>
                    <a:p>
                      <a:pPr marL="342900" marR="0" lvl="0" indent="-34290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5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1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pitchFamily="34" charset="0"/>
                          <a:cs typeface="Times New Roman" pitchFamily="18" charset="0"/>
                        </a:rPr>
                        <a:t>Participantes do Fundo</a:t>
                      </a:r>
                      <a:endParaRPr kumimoji="0" lang="pt-BR" sz="18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T="34290" marB="34290" horzOverflow="overflow">
                    <a:lnL cap="flat">
                      <a:noFill/>
                    </a:lnL>
                    <a:lnR cap="flat"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246790" name="Rectangle 37"/>
          <p:cNvSpPr>
            <a:spLocks noChangeArrowheads="1"/>
          </p:cNvSpPr>
          <p:nvPr/>
        </p:nvSpPr>
        <p:spPr bwMode="auto">
          <a:xfrm>
            <a:off x="1357312" y="1927766"/>
            <a:ext cx="7294564" cy="32547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anchor="ctr">
            <a:spAutoFit/>
          </a:bodyPr>
          <a:lstStyle/>
          <a:p>
            <a:pPr marL="196449" indent="-196449"/>
            <a:r>
              <a:rPr lang="pt-BR" sz="1500" dirty="0">
                <a:solidFill>
                  <a:srgbClr val="FF0000"/>
                </a:solidFill>
                <a:latin typeface="Arial" pitchFamily="34" charset="0"/>
              </a:rPr>
              <a:t>Eram</a:t>
            </a:r>
            <a:r>
              <a:rPr lang="pt-BR" sz="1500" dirty="0">
                <a:solidFill>
                  <a:schemeClr val="tx2"/>
                </a:solidFill>
                <a:latin typeface="Arial" pitchFamily="34" charset="0"/>
              </a:rPr>
              <a:t> considerados investidores qualificados:</a:t>
            </a:r>
          </a:p>
          <a:p>
            <a:pPr marL="196449" indent="-196449">
              <a:buFontTx/>
              <a:buChar char="•"/>
            </a:pPr>
            <a:r>
              <a:rPr lang="pt-BR" sz="1500" dirty="0">
                <a:solidFill>
                  <a:schemeClr val="tx2"/>
                </a:solidFill>
                <a:latin typeface="Arial" pitchFamily="34" charset="0"/>
              </a:rPr>
              <a:t>instituições financeiras;</a:t>
            </a:r>
          </a:p>
          <a:p>
            <a:pPr marL="196449" indent="-196449">
              <a:buFontTx/>
              <a:buChar char="•"/>
            </a:pPr>
            <a:r>
              <a:rPr lang="pt-BR" sz="1500" dirty="0">
                <a:solidFill>
                  <a:schemeClr val="tx2"/>
                </a:solidFill>
                <a:latin typeface="Arial" pitchFamily="34" charset="0"/>
              </a:rPr>
              <a:t>companhias seguradoras e sociedades de capitalização;</a:t>
            </a:r>
          </a:p>
          <a:p>
            <a:pPr marL="196449" indent="-196449">
              <a:buFontTx/>
              <a:buChar char="•"/>
            </a:pPr>
            <a:r>
              <a:rPr lang="pt-BR" sz="1500" dirty="0">
                <a:solidFill>
                  <a:schemeClr val="tx2"/>
                </a:solidFill>
                <a:latin typeface="Arial" pitchFamily="34" charset="0"/>
              </a:rPr>
              <a:t>entidades abertas e fechadas de previdência complementar;</a:t>
            </a:r>
          </a:p>
          <a:p>
            <a:pPr marL="196449" indent="-196449">
              <a:buFontTx/>
              <a:buChar char="•"/>
            </a:pPr>
            <a:r>
              <a:rPr lang="pt-BR" sz="1500" dirty="0">
                <a:solidFill>
                  <a:schemeClr val="tx2"/>
                </a:solidFill>
                <a:latin typeface="Arial" pitchFamily="34" charset="0"/>
              </a:rPr>
              <a:t>pessoas físicas ou jurídicas que possuam investimentos financeiros em valor superior a R$ 300.000,00 (trezentos mil reais) e que, adicionalmente, atestem por escrito sua condição de investidor qualificado mediante termo próprio, de acordo com o Anexo I;</a:t>
            </a:r>
          </a:p>
          <a:p>
            <a:pPr marL="196449" indent="-196449">
              <a:buFontTx/>
              <a:buChar char="•"/>
            </a:pPr>
            <a:r>
              <a:rPr lang="pt-BR" sz="1500" dirty="0">
                <a:solidFill>
                  <a:schemeClr val="tx2"/>
                </a:solidFill>
                <a:latin typeface="Arial" pitchFamily="34" charset="0"/>
              </a:rPr>
              <a:t>fundos de investimento destinados exclusivamente a investidores qualificados; e</a:t>
            </a:r>
          </a:p>
          <a:p>
            <a:pPr marL="196449" indent="-196449">
              <a:buFontTx/>
              <a:buChar char="•"/>
            </a:pPr>
            <a:r>
              <a:rPr lang="pt-BR" sz="1500" dirty="0">
                <a:solidFill>
                  <a:schemeClr val="tx2"/>
                </a:solidFill>
                <a:latin typeface="Arial" pitchFamily="34" charset="0"/>
              </a:rPr>
              <a:t>administradores de carteira e consultores de valores mobiliários autorizados pela CVM, em relação a seus recursos próprios.</a:t>
            </a:r>
          </a:p>
          <a:p>
            <a:pPr marL="196449" indent="-196449">
              <a:buFontTx/>
              <a:buChar char="•"/>
            </a:pPr>
            <a:r>
              <a:rPr lang="pt-BR" sz="1350" dirty="0">
                <a:solidFill>
                  <a:schemeClr val="tx2"/>
                </a:solidFill>
                <a:latin typeface="Arial" pitchFamily="34" charset="0"/>
              </a:rPr>
              <a:t>§ 1º Poderão ser admitidos, como cotistas de um fundo para investidores qualificados, os empregados e/ou sócios das instituições administradoras ou gestoras deste fundo, expressamente autorizados pelo diretor responsável da instituição perante a CVM.</a:t>
            </a:r>
          </a:p>
        </p:txBody>
      </p:sp>
    </p:spTree>
    <p:extLst>
      <p:ext uri="{BB962C8B-B14F-4D97-AF65-F5344CB8AC3E}">
        <p14:creationId xmlns:p14="http://schemas.microsoft.com/office/powerpoint/2010/main" val="22917883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0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2306" name="Rectangle 2"/>
          <p:cNvSpPr>
            <a:spLocks noChangeArrowheads="1"/>
          </p:cNvSpPr>
          <p:nvPr/>
        </p:nvSpPr>
        <p:spPr bwMode="auto">
          <a:xfrm>
            <a:off x="0" y="897733"/>
            <a:ext cx="9144000" cy="69532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anchor="ctr"/>
          <a:lstStyle/>
          <a:p>
            <a:pPr algn="ctr">
              <a:defRPr/>
            </a:pPr>
            <a:r>
              <a:rPr lang="en-US" sz="2700" b="1">
                <a:solidFill>
                  <a:schemeClr val="tx2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Tahoma" pitchFamily="34" charset="0"/>
              </a:rPr>
              <a:t>Algumas Características</a:t>
            </a:r>
          </a:p>
        </p:txBody>
      </p:sp>
      <p:graphicFrame>
        <p:nvGraphicFramePr>
          <p:cNvPr id="1122307" name="Group 3"/>
          <p:cNvGraphicFramePr>
            <a:graphicFrameLocks noGrp="1"/>
          </p:cNvGraphicFramePr>
          <p:nvPr>
            <p:extLst/>
          </p:nvPr>
        </p:nvGraphicFramePr>
        <p:xfrm>
          <a:off x="227014" y="1411914"/>
          <a:ext cx="8670925" cy="342900"/>
        </p:xfrm>
        <a:graphic>
          <a:graphicData uri="http://schemas.openxmlformats.org/drawingml/2006/table">
            <a:tbl>
              <a:tblPr/>
              <a:tblGrid>
                <a:gridCol w="8670925"/>
              </a:tblGrid>
              <a:tr h="342900">
                <a:tc>
                  <a:txBody>
                    <a:bodyPr/>
                    <a:lstStyle/>
                    <a:p>
                      <a:pPr marL="342900" marR="0" lvl="0" indent="-34290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5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1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pitchFamily="34" charset="0"/>
                          <a:cs typeface="Times New Roman" pitchFamily="18" charset="0"/>
                        </a:rPr>
                        <a:t>Participantes do Fundo</a:t>
                      </a:r>
                      <a:endParaRPr kumimoji="0" lang="pt-BR" sz="18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T="34290" marB="34290" horzOverflow="overflow">
                    <a:lnL cap="flat">
                      <a:noFill/>
                    </a:lnL>
                    <a:lnR cap="flat"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246790" name="Rectangle 37"/>
          <p:cNvSpPr>
            <a:spLocks noChangeArrowheads="1"/>
          </p:cNvSpPr>
          <p:nvPr/>
        </p:nvSpPr>
        <p:spPr bwMode="auto">
          <a:xfrm>
            <a:off x="1357313" y="2026732"/>
            <a:ext cx="7535169" cy="33958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anchor="ctr">
            <a:spAutoFit/>
          </a:bodyPr>
          <a:lstStyle/>
          <a:p>
            <a:pPr marL="196449" indent="-196449"/>
            <a:r>
              <a:rPr lang="pt-BR" sz="1650" dirty="0">
                <a:solidFill>
                  <a:srgbClr val="FF0000"/>
                </a:solidFill>
                <a:latin typeface="Arial" pitchFamily="34" charset="0"/>
              </a:rPr>
              <a:t>INSTRUÇÃO CVM Nº 554, DE 17 DE DEZEMBRO DE 2014</a:t>
            </a:r>
          </a:p>
          <a:p>
            <a:pPr>
              <a:spcAft>
                <a:spcPts val="450"/>
              </a:spcAft>
            </a:pPr>
            <a:r>
              <a:rPr lang="pt-BR" sz="1650" dirty="0"/>
              <a:t>“Art. 9º-B  São considerados investidores qualificados:</a:t>
            </a:r>
          </a:p>
          <a:p>
            <a:pPr>
              <a:spcAft>
                <a:spcPts val="450"/>
              </a:spcAft>
            </a:pPr>
            <a:r>
              <a:rPr lang="pt-BR" sz="1650" dirty="0"/>
              <a:t> I – investidores profissionais; </a:t>
            </a:r>
          </a:p>
          <a:p>
            <a:pPr>
              <a:spcAft>
                <a:spcPts val="450"/>
              </a:spcAft>
            </a:pPr>
            <a:r>
              <a:rPr lang="pt-BR" sz="1650" dirty="0"/>
              <a:t> II – pessoas naturais ou jurídicas que possuam investimentos financeiros em valor superior a R$ 1.000.000,00 (um milhão de reais) e que, adicionalmente, atestem por escrito sua condição de investidor qualificado mediante termo próprio, de acordo com o Anexo 9-B; </a:t>
            </a:r>
          </a:p>
          <a:p>
            <a:pPr>
              <a:spcAft>
                <a:spcPts val="450"/>
              </a:spcAft>
            </a:pPr>
            <a:r>
              <a:rPr lang="pt-BR" sz="1650" dirty="0"/>
              <a:t> III – </a:t>
            </a:r>
            <a:r>
              <a:rPr lang="pt-PT" sz="1650" dirty="0"/>
              <a:t>as pessoas naturais que tenham sido aprovadas em exames de qualificação técnica ou possuam certificações aprovadas pela CVM como requisitos para o registro de </a:t>
            </a:r>
            <a:r>
              <a:rPr lang="pt-BR" sz="1650" dirty="0"/>
              <a:t>agentes autônomos de investimento, administradores de carteira, analistas e consultores de valores mobiliários, em relação a seus recursos próprios; e</a:t>
            </a:r>
          </a:p>
          <a:p>
            <a:pPr>
              <a:spcAft>
                <a:spcPts val="450"/>
              </a:spcAft>
            </a:pPr>
            <a:r>
              <a:rPr lang="pt-BR" sz="1650" dirty="0"/>
              <a:t> IV – clubes de investimento, desde que tenham a carteira gerida por um ou mais cotistas, que sejam investidores qualificados.” (NR)  </a:t>
            </a:r>
          </a:p>
        </p:txBody>
      </p:sp>
    </p:spTree>
    <p:extLst>
      <p:ext uri="{BB962C8B-B14F-4D97-AF65-F5344CB8AC3E}">
        <p14:creationId xmlns:p14="http://schemas.microsoft.com/office/powerpoint/2010/main" val="22586859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0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2306" name="Rectangle 2"/>
          <p:cNvSpPr>
            <a:spLocks noChangeArrowheads="1"/>
          </p:cNvSpPr>
          <p:nvPr/>
        </p:nvSpPr>
        <p:spPr bwMode="auto">
          <a:xfrm>
            <a:off x="0" y="897733"/>
            <a:ext cx="9144000" cy="69532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anchor="ctr"/>
          <a:lstStyle/>
          <a:p>
            <a:pPr algn="ctr">
              <a:defRPr/>
            </a:pPr>
            <a:r>
              <a:rPr lang="en-US" sz="2700" b="1">
                <a:solidFill>
                  <a:schemeClr val="tx2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Tahoma" pitchFamily="34" charset="0"/>
              </a:rPr>
              <a:t>Algumas Características</a:t>
            </a:r>
          </a:p>
        </p:txBody>
      </p:sp>
      <p:graphicFrame>
        <p:nvGraphicFramePr>
          <p:cNvPr id="1122307" name="Group 3"/>
          <p:cNvGraphicFramePr>
            <a:graphicFrameLocks noGrp="1"/>
          </p:cNvGraphicFramePr>
          <p:nvPr>
            <p:extLst/>
          </p:nvPr>
        </p:nvGraphicFramePr>
        <p:xfrm>
          <a:off x="227014" y="1411914"/>
          <a:ext cx="8670925" cy="342900"/>
        </p:xfrm>
        <a:graphic>
          <a:graphicData uri="http://schemas.openxmlformats.org/drawingml/2006/table">
            <a:tbl>
              <a:tblPr/>
              <a:tblGrid>
                <a:gridCol w="8670925"/>
              </a:tblGrid>
              <a:tr h="342900">
                <a:tc>
                  <a:txBody>
                    <a:bodyPr/>
                    <a:lstStyle/>
                    <a:p>
                      <a:pPr marL="342900" marR="0" lvl="0" indent="-34290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5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1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pitchFamily="34" charset="0"/>
                          <a:cs typeface="Times New Roman" pitchFamily="18" charset="0"/>
                        </a:rPr>
                        <a:t>Participantes do Fundo</a:t>
                      </a:r>
                      <a:endParaRPr kumimoji="0" lang="pt-BR" sz="18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T="34290" marB="34290" horzOverflow="overflow">
                    <a:lnL cap="flat">
                      <a:noFill/>
                    </a:lnL>
                    <a:lnR cap="flat"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246790" name="Rectangle 37"/>
          <p:cNvSpPr>
            <a:spLocks noChangeArrowheads="1"/>
          </p:cNvSpPr>
          <p:nvPr/>
        </p:nvSpPr>
        <p:spPr bwMode="auto">
          <a:xfrm>
            <a:off x="1357312" y="1875598"/>
            <a:ext cx="7751764" cy="35779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anchor="ctr">
            <a:spAutoFit/>
          </a:bodyPr>
          <a:lstStyle/>
          <a:p>
            <a:pPr marL="196449" indent="-196449">
              <a:spcAft>
                <a:spcPts val="450"/>
              </a:spcAft>
            </a:pPr>
            <a:r>
              <a:rPr lang="pt-BR" sz="1350" dirty="0">
                <a:solidFill>
                  <a:srgbClr val="FF0000"/>
                </a:solidFill>
                <a:latin typeface="Arial" pitchFamily="34" charset="0"/>
              </a:rPr>
              <a:t>INSTRUÇÃO CVM Nº 554, DE 17 DE DEZEMBRO DE 2014</a:t>
            </a:r>
          </a:p>
          <a:p>
            <a:pPr>
              <a:spcAft>
                <a:spcPts val="450"/>
              </a:spcAft>
            </a:pPr>
            <a:r>
              <a:rPr lang="pt-BR" sz="1350" dirty="0"/>
              <a:t>“Art. 9º-A  São considerados investidores profissionais: </a:t>
            </a:r>
          </a:p>
          <a:p>
            <a:pPr>
              <a:spcAft>
                <a:spcPts val="450"/>
              </a:spcAft>
            </a:pPr>
            <a:r>
              <a:rPr lang="pt-BR" sz="1350" dirty="0"/>
              <a:t> I – instituições financeiras e demais instituições autorizadas a funcionar pelo Banco Central do Brasil;</a:t>
            </a:r>
          </a:p>
          <a:p>
            <a:pPr>
              <a:spcAft>
                <a:spcPts val="450"/>
              </a:spcAft>
            </a:pPr>
            <a:r>
              <a:rPr lang="pt-BR" sz="1350" dirty="0"/>
              <a:t> II – companhias seguradoras e sociedades de capitalização;</a:t>
            </a:r>
          </a:p>
          <a:p>
            <a:pPr>
              <a:spcAft>
                <a:spcPts val="450"/>
              </a:spcAft>
            </a:pPr>
            <a:r>
              <a:rPr lang="pt-BR" sz="1350" dirty="0"/>
              <a:t> III – entidades abertas e fechadas de previdência complementar;</a:t>
            </a:r>
          </a:p>
          <a:p>
            <a:pPr>
              <a:spcAft>
                <a:spcPts val="450"/>
              </a:spcAft>
            </a:pPr>
            <a:r>
              <a:rPr lang="pt-BR" sz="1350" dirty="0"/>
              <a:t> IV – pessoas naturais ou jurídicas que possuam investimentos financeiros em valor superior a R$ 10.000.000,00 (dez milhões de reais) e que, adicionalmente, atestem por escrito sua condição de investidor profissional mediante termo próprio, de acordo com o Anexo 9-A;</a:t>
            </a:r>
          </a:p>
          <a:p>
            <a:pPr>
              <a:spcAft>
                <a:spcPts val="450"/>
              </a:spcAft>
            </a:pPr>
            <a:r>
              <a:rPr lang="pt-BR" sz="1350" dirty="0"/>
              <a:t> V – fundos de investimento;</a:t>
            </a:r>
          </a:p>
          <a:p>
            <a:pPr>
              <a:spcAft>
                <a:spcPts val="450"/>
              </a:spcAft>
            </a:pPr>
            <a:r>
              <a:rPr lang="pt-BR" sz="1350" dirty="0"/>
              <a:t> VI – clubes de investimento, desde que tenham a carteira gerida por administrador de carteira de valores mobiliários autorizado pela CVM;</a:t>
            </a:r>
          </a:p>
          <a:p>
            <a:pPr>
              <a:spcAft>
                <a:spcPts val="450"/>
              </a:spcAft>
            </a:pPr>
            <a:r>
              <a:rPr lang="pt-BR" sz="1350" dirty="0"/>
              <a:t> VII – agentes autônomos de investimento, administradores de carteira, analistas e consultores de valores mobiliários autorizados pela CVM, em relação a seus recursos próprios; </a:t>
            </a:r>
          </a:p>
          <a:p>
            <a:pPr>
              <a:spcAft>
                <a:spcPts val="450"/>
              </a:spcAft>
            </a:pPr>
            <a:r>
              <a:rPr lang="pt-BR" sz="1350" dirty="0"/>
              <a:t> VIII – investidores não residentes.” (NR) </a:t>
            </a:r>
          </a:p>
        </p:txBody>
      </p:sp>
    </p:spTree>
    <p:extLst>
      <p:ext uri="{BB962C8B-B14F-4D97-AF65-F5344CB8AC3E}">
        <p14:creationId xmlns:p14="http://schemas.microsoft.com/office/powerpoint/2010/main" val="29026328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0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5378" name="Rectangle 2"/>
          <p:cNvSpPr>
            <a:spLocks noChangeArrowheads="1"/>
          </p:cNvSpPr>
          <p:nvPr/>
        </p:nvSpPr>
        <p:spPr bwMode="auto">
          <a:xfrm>
            <a:off x="0" y="897733"/>
            <a:ext cx="9144000" cy="69532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anchor="ctr"/>
          <a:lstStyle/>
          <a:p>
            <a:pPr algn="ctr">
              <a:defRPr/>
            </a:pPr>
            <a:r>
              <a:rPr lang="en-US" sz="2700" b="1">
                <a:solidFill>
                  <a:schemeClr val="tx2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Tahoma" pitchFamily="34" charset="0"/>
              </a:rPr>
              <a:t>Algumas Características</a:t>
            </a:r>
          </a:p>
        </p:txBody>
      </p:sp>
      <p:graphicFrame>
        <p:nvGraphicFramePr>
          <p:cNvPr id="1125379" name="Group 3"/>
          <p:cNvGraphicFramePr>
            <a:graphicFrameLocks noGrp="1"/>
          </p:cNvGraphicFramePr>
          <p:nvPr/>
        </p:nvGraphicFramePr>
        <p:xfrm>
          <a:off x="227014" y="1751410"/>
          <a:ext cx="8670925" cy="342900"/>
        </p:xfrm>
        <a:graphic>
          <a:graphicData uri="http://schemas.openxmlformats.org/drawingml/2006/table">
            <a:tbl>
              <a:tblPr/>
              <a:tblGrid>
                <a:gridCol w="8670925"/>
              </a:tblGrid>
              <a:tr h="342900">
                <a:tc>
                  <a:txBody>
                    <a:bodyPr/>
                    <a:lstStyle/>
                    <a:p>
                      <a:pPr marL="342900" marR="0" lvl="0" indent="-34290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5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1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pitchFamily="34" charset="0"/>
                          <a:cs typeface="Times New Roman" pitchFamily="18" charset="0"/>
                        </a:rPr>
                        <a:t>Rentabilidade-alvo</a:t>
                      </a:r>
                      <a:endParaRPr kumimoji="0" lang="pt-BR" sz="18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T="34290" marB="34290" horzOverflow="overflow">
                    <a:lnL cap="flat">
                      <a:noFill/>
                    </a:lnL>
                    <a:lnR cap="flat"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247814" name="Rectangle 9"/>
          <p:cNvSpPr>
            <a:spLocks noChangeArrowheads="1"/>
          </p:cNvSpPr>
          <p:nvPr/>
        </p:nvSpPr>
        <p:spPr bwMode="auto">
          <a:xfrm>
            <a:off x="1357312" y="2467663"/>
            <a:ext cx="7297739" cy="6463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anchor="ctr">
            <a:spAutoFit/>
          </a:bodyPr>
          <a:lstStyle/>
          <a:p>
            <a:pPr marL="196449" indent="-196449">
              <a:buFontTx/>
              <a:buChar char="•"/>
            </a:pPr>
            <a:r>
              <a:rPr lang="pt-BR" dirty="0">
                <a:solidFill>
                  <a:schemeClr val="tx2"/>
                </a:solidFill>
                <a:latin typeface="Arial" pitchFamily="34" charset="0"/>
              </a:rPr>
              <a:t>A primeira série de quotas seniores buscará retorno de equivalente a taxa DI Over + 3,4% a.a.</a:t>
            </a:r>
          </a:p>
        </p:txBody>
      </p:sp>
    </p:spTree>
    <p:extLst>
      <p:ext uri="{BB962C8B-B14F-4D97-AF65-F5344CB8AC3E}">
        <p14:creationId xmlns:p14="http://schemas.microsoft.com/office/powerpoint/2010/main" val="13639923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0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1282" name="Rectangle 2"/>
          <p:cNvSpPr>
            <a:spLocks noChangeArrowheads="1"/>
          </p:cNvSpPr>
          <p:nvPr/>
        </p:nvSpPr>
        <p:spPr bwMode="auto">
          <a:xfrm>
            <a:off x="0" y="897733"/>
            <a:ext cx="9144000" cy="69532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anchor="ctr"/>
          <a:lstStyle/>
          <a:p>
            <a:pPr algn="ctr">
              <a:defRPr/>
            </a:pPr>
            <a:r>
              <a:rPr lang="en-US" sz="2700" b="1">
                <a:solidFill>
                  <a:schemeClr val="tx2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Tahoma" pitchFamily="34" charset="0"/>
              </a:rPr>
              <a:t>Potenciais Conflitos de Interesse</a:t>
            </a:r>
          </a:p>
        </p:txBody>
      </p:sp>
      <p:graphicFrame>
        <p:nvGraphicFramePr>
          <p:cNvPr id="1121283" name="Group 3"/>
          <p:cNvGraphicFramePr>
            <a:graphicFrameLocks noGrp="1"/>
          </p:cNvGraphicFramePr>
          <p:nvPr>
            <p:extLst/>
          </p:nvPr>
        </p:nvGraphicFramePr>
        <p:xfrm>
          <a:off x="1357313" y="2201468"/>
          <a:ext cx="7540626" cy="3313509"/>
        </p:xfrm>
        <a:graphic>
          <a:graphicData uri="http://schemas.openxmlformats.org/drawingml/2006/table">
            <a:tbl>
              <a:tblPr/>
              <a:tblGrid>
                <a:gridCol w="7540626"/>
              </a:tblGrid>
              <a:tr h="3313509">
                <a:tc>
                  <a:txBody>
                    <a:bodyPr/>
                    <a:lstStyle/>
                    <a:p>
                      <a:pPr marL="342900" marR="0" lvl="0" indent="-3429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50000"/>
                        </a:spcAft>
                        <a:buClrTx/>
                        <a:buSzTx/>
                        <a:buFontTx/>
                        <a:buChar char="•"/>
                        <a:tabLst/>
                      </a:pPr>
                      <a:r>
                        <a:rPr kumimoji="0" lang="pt-BR" sz="1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pitchFamily="34" charset="0"/>
                          <a:cs typeface="Times New Roman" pitchFamily="18" charset="0"/>
                        </a:rPr>
                        <a:t>Relação com instituições financeiras (Monsanto, Citibank e Santander)</a:t>
                      </a:r>
                    </a:p>
                    <a:p>
                      <a:pPr marL="342900" marR="0" lvl="0" indent="-3429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50000"/>
                        </a:spcAft>
                        <a:buClrTx/>
                        <a:buSzTx/>
                        <a:buFontTx/>
                        <a:buChar char="•"/>
                        <a:tabLst/>
                      </a:pPr>
                      <a:r>
                        <a:rPr kumimoji="0" lang="pt-BR" sz="1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pitchFamily="34" charset="0"/>
                          <a:cs typeface="Times New Roman" pitchFamily="18" charset="0"/>
                        </a:rPr>
                        <a:t>Agência de classificação de risco (Monsanto e Standard &amp; </a:t>
                      </a:r>
                      <a:r>
                        <a:rPr kumimoji="0" lang="pt-BR" sz="1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pitchFamily="34" charset="0"/>
                          <a:cs typeface="Times New Roman" pitchFamily="18" charset="0"/>
                        </a:rPr>
                        <a:t>Poor´s</a:t>
                      </a:r>
                      <a:endParaRPr kumimoji="0" lang="pt-BR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Arial" pitchFamily="34" charset="0"/>
                        <a:cs typeface="Times New Roman" pitchFamily="18" charset="0"/>
                      </a:endParaRPr>
                    </a:p>
                    <a:p>
                      <a:pPr marL="342900" marR="0" lvl="0" indent="-3429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50000"/>
                        </a:spcAft>
                        <a:buClrTx/>
                        <a:buSzTx/>
                        <a:buFontTx/>
                        <a:buChar char="•"/>
                        <a:tabLst/>
                      </a:pPr>
                      <a:r>
                        <a:rPr kumimoji="0" lang="pt-BR" sz="1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pitchFamily="34" charset="0"/>
                          <a:cs typeface="Times New Roman" pitchFamily="18" charset="0"/>
                        </a:rPr>
                        <a:t>Empresa de auditoria </a:t>
                      </a:r>
                    </a:p>
                    <a:p>
                      <a:pPr marL="342900" marR="0" lvl="0" indent="-3429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50000"/>
                        </a:spcAft>
                        <a:buClrTx/>
                        <a:buSzTx/>
                        <a:buFontTx/>
                        <a:buChar char="•"/>
                        <a:tabLst/>
                      </a:pPr>
                      <a:r>
                        <a:rPr kumimoji="0" lang="pt-BR" sz="1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pitchFamily="34" charset="0"/>
                          <a:cs typeface="Times New Roman" pitchFamily="18" charset="0"/>
                        </a:rPr>
                        <a:t>Administradora e </a:t>
                      </a:r>
                      <a:r>
                        <a:rPr kumimoji="0" lang="pt-BR" sz="1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pitchFamily="34" charset="0"/>
                          <a:cs typeface="Times New Roman" pitchFamily="18" charset="0"/>
                        </a:rPr>
                        <a:t>Custodiante</a:t>
                      </a:r>
                      <a:r>
                        <a:rPr kumimoji="0" lang="pt-BR" sz="1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pitchFamily="34" charset="0"/>
                          <a:cs typeface="Times New Roman" pitchFamily="18" charset="0"/>
                        </a:rPr>
                        <a:t> (a mesma pessoa: Monsanto)</a:t>
                      </a:r>
                      <a:endParaRPr kumimoji="0" lang="pt-BR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T="34290" marB="34290" horzOverflow="overflow">
                    <a:lnL cap="flat">
                      <a:noFill/>
                    </a:lnL>
                    <a:lnR cap="flat"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9808002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0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35618" name="Rectangle 2"/>
          <p:cNvSpPr>
            <a:spLocks noChangeArrowheads="1"/>
          </p:cNvSpPr>
          <p:nvPr/>
        </p:nvSpPr>
        <p:spPr bwMode="auto">
          <a:xfrm>
            <a:off x="0" y="897733"/>
            <a:ext cx="9144000" cy="69532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anchor="ctr"/>
          <a:lstStyle/>
          <a:p>
            <a:pPr algn="ctr">
              <a:defRPr/>
            </a:pPr>
            <a:r>
              <a:rPr lang="en-US" sz="2700" b="1">
                <a:solidFill>
                  <a:schemeClr val="tx2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Tahoma" pitchFamily="34" charset="0"/>
              </a:rPr>
              <a:t>Inadimplência e Perda</a:t>
            </a:r>
          </a:p>
        </p:txBody>
      </p:sp>
      <p:graphicFrame>
        <p:nvGraphicFramePr>
          <p:cNvPr id="1135619" name="Group 3"/>
          <p:cNvGraphicFramePr>
            <a:graphicFrameLocks noGrp="1"/>
          </p:cNvGraphicFramePr>
          <p:nvPr>
            <p:extLst/>
          </p:nvPr>
        </p:nvGraphicFramePr>
        <p:xfrm>
          <a:off x="227014" y="1465920"/>
          <a:ext cx="8670925" cy="342900"/>
        </p:xfrm>
        <a:graphic>
          <a:graphicData uri="http://schemas.openxmlformats.org/drawingml/2006/table">
            <a:tbl>
              <a:tblPr/>
              <a:tblGrid>
                <a:gridCol w="8670925"/>
              </a:tblGrid>
              <a:tr h="342900">
                <a:tc>
                  <a:txBody>
                    <a:bodyPr/>
                    <a:lstStyle/>
                    <a:p>
                      <a:pPr marL="342900" marR="0" lvl="0" indent="-34290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5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1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pitchFamily="34" charset="0"/>
                          <a:cs typeface="Times New Roman" pitchFamily="18" charset="0"/>
                        </a:rPr>
                        <a:t>Direitos Creditórios - Inadimplência</a:t>
                      </a:r>
                      <a:endParaRPr kumimoji="0" lang="pt-BR" sz="18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T="34290" marB="34290" horzOverflow="overflow">
                    <a:lnL cap="flat">
                      <a:noFill/>
                    </a:lnL>
                    <a:lnR cap="flat"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graphicFrame>
        <p:nvGraphicFramePr>
          <p:cNvPr id="1135661" name="Group 45"/>
          <p:cNvGraphicFramePr>
            <a:graphicFrameLocks noGrp="1"/>
          </p:cNvGraphicFramePr>
          <p:nvPr>
            <p:ph sz="quarter" idx="13"/>
            <p:extLst/>
          </p:nvPr>
        </p:nvGraphicFramePr>
        <p:xfrm>
          <a:off x="1357312" y="1808821"/>
          <a:ext cx="7031044" cy="3468529"/>
        </p:xfrm>
        <a:graphic>
          <a:graphicData uri="http://schemas.openxmlformats.org/drawingml/2006/table">
            <a:tbl>
              <a:tblPr/>
              <a:tblGrid>
                <a:gridCol w="4051042"/>
                <a:gridCol w="1509317"/>
                <a:gridCol w="214475"/>
                <a:gridCol w="1256210"/>
              </a:tblGrid>
              <a:tr h="891540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pt-BR" sz="15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84875" marR="84875" marT="34290" marB="34290" anchor="b" horzOverflow="overflow">
                    <a:lnL cap="flat"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1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% em relação ao vencido</a:t>
                      </a:r>
                    </a:p>
                  </a:txBody>
                  <a:tcPr marL="84875" marR="84875" marT="34290" marB="34290" anchor="b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1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% em relação ao total</a:t>
                      </a:r>
                    </a:p>
                  </a:txBody>
                  <a:tcPr marL="84875" marR="84875" marT="34290" marB="34290" anchor="b" horzOverflow="overflow">
                    <a:lnL>
                      <a:noFill/>
                    </a:lnL>
                    <a:lnR cap="flat">
                      <a:noFill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</a:tr>
              <a:tr h="364331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15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Vencidos e não pagos até 30 dias</a:t>
                      </a:r>
                    </a:p>
                  </a:txBody>
                  <a:tcPr marL="84875" marR="84875" marT="34290" marB="34290" anchor="b" horzOverflow="overflow">
                    <a:lnL cap="flat"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15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1,73%</a:t>
                      </a:r>
                    </a:p>
                  </a:txBody>
                  <a:tcPr marL="84875" marR="84875" marT="34290" marB="34290" anchor="b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15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0,04%</a:t>
                      </a:r>
                    </a:p>
                  </a:txBody>
                  <a:tcPr marL="84875" marR="84875" marT="34290" marB="34290" anchor="b" horzOverflow="overflow">
                    <a:lnL>
                      <a:noFill/>
                    </a:lnL>
                    <a:lnR cap="flat">
                      <a:noFill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</a:tr>
              <a:tr h="297180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15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Vencidos e não pagos de 31 a 60 dias</a:t>
                      </a:r>
                    </a:p>
                  </a:txBody>
                  <a:tcPr marL="84875" marR="84875" marT="34290" marB="34290" anchor="b" horzOverflow="overflow">
                    <a:lnL cap="flat"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15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12,73%</a:t>
                      </a:r>
                    </a:p>
                  </a:txBody>
                  <a:tcPr marL="84875" marR="84875" marT="34290" marB="34290"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15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0,32%</a:t>
                      </a:r>
                    </a:p>
                  </a:txBody>
                  <a:tcPr marL="84875" marR="84875" marT="34290" marB="34290" anchor="b" horzOverflow="overflow">
                    <a:lnL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525780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15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Vencidos e não pagos de 61 a 120 dias</a:t>
                      </a:r>
                    </a:p>
                  </a:txBody>
                  <a:tcPr marL="84875" marR="84875" marT="34290" marB="34290" anchor="b" horzOverflow="overflow">
                    <a:lnL cap="flat"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15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45,48%</a:t>
                      </a:r>
                    </a:p>
                  </a:txBody>
                  <a:tcPr marL="84875" marR="84875" marT="34290" marB="34290"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15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1,15%</a:t>
                      </a:r>
                    </a:p>
                  </a:txBody>
                  <a:tcPr marL="84875" marR="84875" marT="34290" marB="34290" anchor="b" horzOverflow="overflow">
                    <a:lnL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525780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15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Vencidos e não pagos de 121 a 180 dias</a:t>
                      </a:r>
                    </a:p>
                  </a:txBody>
                  <a:tcPr marL="84875" marR="84875" marT="34290" marB="34290" anchor="b" horzOverflow="overflow">
                    <a:lnL cap="flat"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15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5,83%</a:t>
                      </a:r>
                    </a:p>
                  </a:txBody>
                  <a:tcPr marL="84875" marR="84875" marT="34290" marB="34290"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15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0,15%</a:t>
                      </a:r>
                    </a:p>
                  </a:txBody>
                  <a:tcPr marL="84875" marR="84875" marT="34290" marB="34290" anchor="b" horzOverflow="overflow">
                    <a:lnL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525780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15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Vencidos e não pagos acima de 180 dias</a:t>
                      </a:r>
                    </a:p>
                  </a:txBody>
                  <a:tcPr marL="84875" marR="84875" marT="34290" marB="34290" anchor="b" horzOverflow="overflow">
                    <a:lnL cap="flat"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15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34,24%</a:t>
                      </a:r>
                    </a:p>
                  </a:txBody>
                  <a:tcPr marL="84875" marR="84875" marT="34290" marB="34290"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15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0,87%</a:t>
                      </a:r>
                    </a:p>
                  </a:txBody>
                  <a:tcPr marL="84875" marR="84875" marT="34290" marB="34290" anchor="b" horzOverflow="overflow">
                    <a:lnL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38138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15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Total</a:t>
                      </a:r>
                    </a:p>
                  </a:txBody>
                  <a:tcPr marL="84875" marR="84875" marT="34290" marB="34290" anchor="b" horzOverflow="overflow">
                    <a:lnL cap="flat"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15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100,00%</a:t>
                      </a:r>
                    </a:p>
                  </a:txBody>
                  <a:tcPr marL="84875" marR="84875" marT="34290" marB="34290"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15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2,54%</a:t>
                      </a:r>
                    </a:p>
                  </a:txBody>
                  <a:tcPr marL="84875" marR="84875" marT="34290" marB="34290" anchor="b" horzOverflow="overflow">
                    <a:lnL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868402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0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16162" name="Rectangle 2"/>
          <p:cNvSpPr>
            <a:spLocks noChangeArrowheads="1"/>
          </p:cNvSpPr>
          <p:nvPr/>
        </p:nvSpPr>
        <p:spPr bwMode="auto">
          <a:xfrm>
            <a:off x="0" y="897733"/>
            <a:ext cx="9144000" cy="69532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anchor="ctr"/>
          <a:lstStyle/>
          <a:p>
            <a:pPr algn="ctr">
              <a:defRPr/>
            </a:pPr>
            <a:r>
              <a:rPr lang="en-US" sz="2700" b="1">
                <a:solidFill>
                  <a:schemeClr val="tx2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Tahoma" pitchFamily="34" charset="0"/>
              </a:rPr>
              <a:t>Inadimplência e Perda</a:t>
            </a:r>
          </a:p>
        </p:txBody>
      </p:sp>
      <p:graphicFrame>
        <p:nvGraphicFramePr>
          <p:cNvPr id="1116537" name="Group 377"/>
          <p:cNvGraphicFramePr>
            <a:graphicFrameLocks noGrp="1"/>
          </p:cNvGraphicFramePr>
          <p:nvPr>
            <p:extLst/>
          </p:nvPr>
        </p:nvGraphicFramePr>
        <p:xfrm>
          <a:off x="227014" y="1484784"/>
          <a:ext cx="8670925" cy="342900"/>
        </p:xfrm>
        <a:graphic>
          <a:graphicData uri="http://schemas.openxmlformats.org/drawingml/2006/table">
            <a:tbl>
              <a:tblPr/>
              <a:tblGrid>
                <a:gridCol w="8670925"/>
              </a:tblGrid>
              <a:tr h="342900">
                <a:tc>
                  <a:txBody>
                    <a:bodyPr/>
                    <a:lstStyle/>
                    <a:p>
                      <a:pPr marL="342900" marR="0" lvl="0" indent="-34290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5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1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pitchFamily="34" charset="0"/>
                          <a:cs typeface="Times New Roman" pitchFamily="18" charset="0"/>
                        </a:rPr>
                        <a:t>Direitos Creditórios – Perda (&gt; 90 dias atraso)</a:t>
                      </a:r>
                      <a:endParaRPr kumimoji="0" lang="pt-BR" sz="18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T="34290" marB="34290" horzOverflow="overflow">
                    <a:lnL cap="flat">
                      <a:noFill/>
                    </a:lnL>
                    <a:lnR cap="flat"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pic>
        <p:nvPicPr>
          <p:cNvPr id="250886" name="Picture 379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57313" y="1852687"/>
            <a:ext cx="7486652" cy="38707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50887" name="Line 380"/>
          <p:cNvSpPr>
            <a:spLocks noChangeShapeType="1"/>
          </p:cNvSpPr>
          <p:nvPr/>
        </p:nvSpPr>
        <p:spPr bwMode="auto">
          <a:xfrm>
            <a:off x="1952710" y="4995174"/>
            <a:ext cx="6507723" cy="27003"/>
          </a:xfrm>
          <a:prstGeom prst="line">
            <a:avLst/>
          </a:prstGeom>
          <a:noFill/>
          <a:ln w="38100">
            <a:solidFill>
              <a:srgbClr val="FF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pt-BR" sz="1350"/>
          </a:p>
        </p:txBody>
      </p:sp>
      <p:sp>
        <p:nvSpPr>
          <p:cNvPr id="250888" name="Text Box 381"/>
          <p:cNvSpPr txBox="1">
            <a:spLocks noChangeArrowheads="1"/>
          </p:cNvSpPr>
          <p:nvPr/>
        </p:nvSpPr>
        <p:spPr bwMode="auto">
          <a:xfrm>
            <a:off x="4619212" y="4149081"/>
            <a:ext cx="4168775" cy="61170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9pPr>
          </a:lstStyle>
          <a:p>
            <a:pPr algn="ctr">
              <a:spcBef>
                <a:spcPct val="50000"/>
              </a:spcBef>
            </a:pPr>
            <a:r>
              <a:rPr lang="pt-BR" sz="1350" b="1" dirty="0">
                <a:solidFill>
                  <a:schemeClr val="tx2"/>
                </a:solidFill>
                <a:latin typeface="Arial" pitchFamily="34" charset="0"/>
              </a:rPr>
              <a:t>Média móvel ponderada de 3 meses:</a:t>
            </a:r>
          </a:p>
          <a:p>
            <a:pPr algn="ctr">
              <a:spcBef>
                <a:spcPct val="50000"/>
              </a:spcBef>
            </a:pPr>
            <a:r>
              <a:rPr lang="pt-BR" sz="1350" b="1" dirty="0">
                <a:solidFill>
                  <a:schemeClr val="tx2"/>
                </a:solidFill>
                <a:latin typeface="Arial" pitchFamily="34" charset="0"/>
              </a:rPr>
              <a:t>1,93%</a:t>
            </a:r>
          </a:p>
        </p:txBody>
      </p:sp>
    </p:spTree>
    <p:extLst>
      <p:ext uri="{BB962C8B-B14F-4D97-AF65-F5344CB8AC3E}">
        <p14:creationId xmlns:p14="http://schemas.microsoft.com/office/powerpoint/2010/main" val="32222644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0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37666" name="Rectangle 2"/>
          <p:cNvSpPr>
            <a:spLocks noChangeArrowheads="1"/>
          </p:cNvSpPr>
          <p:nvPr/>
        </p:nvSpPr>
        <p:spPr bwMode="auto">
          <a:xfrm>
            <a:off x="0" y="897733"/>
            <a:ext cx="9144000" cy="69532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anchor="ctr"/>
          <a:lstStyle/>
          <a:p>
            <a:pPr algn="ctr">
              <a:defRPr/>
            </a:pPr>
            <a:r>
              <a:rPr lang="en-US" sz="2700" b="1">
                <a:solidFill>
                  <a:schemeClr val="tx2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Tahoma" pitchFamily="34" charset="0"/>
              </a:rPr>
              <a:t>Reforço de Qualidade de Crédito</a:t>
            </a:r>
          </a:p>
        </p:txBody>
      </p:sp>
      <p:graphicFrame>
        <p:nvGraphicFramePr>
          <p:cNvPr id="1137667" name="Group 3"/>
          <p:cNvGraphicFramePr>
            <a:graphicFrameLocks noGrp="1"/>
          </p:cNvGraphicFramePr>
          <p:nvPr>
            <p:extLst/>
          </p:nvPr>
        </p:nvGraphicFramePr>
        <p:xfrm>
          <a:off x="1357313" y="1484784"/>
          <a:ext cx="7540626" cy="1634728"/>
        </p:xfrm>
        <a:graphic>
          <a:graphicData uri="http://schemas.openxmlformats.org/drawingml/2006/table">
            <a:tbl>
              <a:tblPr/>
              <a:tblGrid>
                <a:gridCol w="7540626"/>
              </a:tblGrid>
              <a:tr h="1634728">
                <a:tc>
                  <a:txBody>
                    <a:bodyPr/>
                    <a:lstStyle/>
                    <a:p>
                      <a:pPr marL="533400" marR="0" lvl="0" indent="-5334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50000"/>
                        </a:spcAft>
                        <a:buClrTx/>
                        <a:buSzTx/>
                        <a:buFont typeface="Symbol" pitchFamily="18" charset="2"/>
                        <a:buChar char="Þ"/>
                        <a:tabLst/>
                      </a:pPr>
                      <a:r>
                        <a:rPr kumimoji="0" lang="pt-BR" sz="1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pitchFamily="34" charset="0"/>
                          <a:cs typeface="Times New Roman" pitchFamily="18" charset="0"/>
                        </a:rPr>
                        <a:t>Reserva necessária para cobrir eventual deterioração da qualidade de crédito dos recebíveis:</a:t>
                      </a:r>
                    </a:p>
                    <a:p>
                      <a:pPr marL="914400" marR="0" lvl="1" indent="-4572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50000"/>
                        </a:spcAft>
                        <a:buClrTx/>
                        <a:buSzTx/>
                        <a:buFont typeface="Symbol" pitchFamily="18" charset="2"/>
                        <a:buNone/>
                        <a:tabLst/>
                      </a:pPr>
                      <a:endParaRPr kumimoji="0" lang="pt-BR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  <a:p>
                      <a:pPr marL="914400" marR="0" lvl="1" indent="-45720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50000"/>
                        </a:spcAft>
                        <a:buClrTx/>
                        <a:buSzTx/>
                        <a:buFont typeface="Symbol" pitchFamily="18" charset="2"/>
                        <a:buNone/>
                        <a:tabLst/>
                      </a:pPr>
                      <a:r>
                        <a:rPr kumimoji="0" lang="pt-BR" sz="1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Arial" pitchFamily="34" charset="0"/>
                          <a:cs typeface="Arial" pitchFamily="34" charset="0"/>
                        </a:rPr>
                        <a:t>Reforço = Max(reserva dinâmica; reserva mínima)</a:t>
                      </a:r>
                    </a:p>
                  </a:txBody>
                  <a:tcPr marT="34290" marB="34290" horzOverflow="overflow">
                    <a:lnL cap="flat">
                      <a:noFill/>
                    </a:lnL>
                    <a:lnR cap="flat"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251910" name="Text Box 9"/>
          <p:cNvSpPr txBox="1">
            <a:spLocks noChangeArrowheads="1"/>
          </p:cNvSpPr>
          <p:nvPr/>
        </p:nvSpPr>
        <p:spPr bwMode="auto">
          <a:xfrm>
            <a:off x="1357312" y="2896866"/>
            <a:ext cx="7786688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9pPr>
          </a:lstStyle>
          <a:p>
            <a:pPr>
              <a:spcBef>
                <a:spcPct val="50000"/>
              </a:spcBef>
            </a:pPr>
            <a:r>
              <a:rPr lang="pt-BR" dirty="0">
                <a:solidFill>
                  <a:schemeClr val="tx2"/>
                </a:solidFill>
                <a:latin typeface="Arial" pitchFamily="34" charset="0"/>
              </a:rPr>
              <a:t>Reserva dinâmica = Reserva de Perda + Reserva de Diluição</a:t>
            </a:r>
          </a:p>
        </p:txBody>
      </p:sp>
      <p:sp>
        <p:nvSpPr>
          <p:cNvPr id="251911" name="Text Box 10"/>
          <p:cNvSpPr txBox="1">
            <a:spLocks noChangeArrowheads="1"/>
          </p:cNvSpPr>
          <p:nvPr/>
        </p:nvSpPr>
        <p:spPr bwMode="auto">
          <a:xfrm>
            <a:off x="1357313" y="3354067"/>
            <a:ext cx="7773162" cy="10064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9pPr>
          </a:lstStyle>
          <a:p>
            <a:pPr>
              <a:spcBef>
                <a:spcPct val="15000"/>
              </a:spcBef>
            </a:pPr>
            <a:r>
              <a:rPr lang="pt-BR" dirty="0">
                <a:solidFill>
                  <a:schemeClr val="tx2"/>
                </a:solidFill>
                <a:latin typeface="Arial" pitchFamily="34" charset="0"/>
              </a:rPr>
              <a:t>Reserva de Perda = índice de perdas (LR) x Fator de stress (SF)</a:t>
            </a:r>
          </a:p>
          <a:p>
            <a:pPr>
              <a:spcBef>
                <a:spcPct val="15000"/>
              </a:spcBef>
            </a:pPr>
            <a:r>
              <a:rPr lang="pt-BR" dirty="0">
                <a:solidFill>
                  <a:schemeClr val="tx2"/>
                </a:solidFill>
                <a:latin typeface="Arial" pitchFamily="34" charset="0"/>
              </a:rPr>
              <a:t>Reserva de Perda = 1,93% x 5,0 = 9,65%</a:t>
            </a:r>
          </a:p>
          <a:p>
            <a:pPr>
              <a:spcBef>
                <a:spcPct val="15000"/>
              </a:spcBef>
            </a:pPr>
            <a:r>
              <a:rPr lang="pt-BR" dirty="0">
                <a:solidFill>
                  <a:schemeClr val="tx2"/>
                </a:solidFill>
                <a:latin typeface="Arial" pitchFamily="34" charset="0"/>
              </a:rPr>
              <a:t>Reserva de Diluição (devoluções, cancelamentos, ...) = 0</a:t>
            </a:r>
          </a:p>
        </p:txBody>
      </p:sp>
      <p:sp>
        <p:nvSpPr>
          <p:cNvPr id="251912" name="Text Box 11"/>
          <p:cNvSpPr txBox="1">
            <a:spLocks noChangeArrowheads="1"/>
          </p:cNvSpPr>
          <p:nvPr/>
        </p:nvSpPr>
        <p:spPr bwMode="auto">
          <a:xfrm>
            <a:off x="1357312" y="4418963"/>
            <a:ext cx="7588253" cy="113107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9pPr>
          </a:lstStyle>
          <a:p>
            <a:r>
              <a:rPr lang="pt-BR" sz="1350" dirty="0">
                <a:solidFill>
                  <a:schemeClr val="tx2"/>
                </a:solidFill>
                <a:latin typeface="Arial" pitchFamily="34" charset="0"/>
              </a:rPr>
              <a:t>“Uma vez efetuada a venda perfeita e acabada (</a:t>
            </a:r>
            <a:r>
              <a:rPr lang="pt-BR" sz="1350" i="1" dirty="0" err="1">
                <a:solidFill>
                  <a:schemeClr val="tx2"/>
                </a:solidFill>
                <a:latin typeface="Arial" pitchFamily="34" charset="0"/>
              </a:rPr>
              <a:t>true</a:t>
            </a:r>
            <a:r>
              <a:rPr lang="pt-BR" sz="1350" i="1" dirty="0">
                <a:solidFill>
                  <a:schemeClr val="tx2"/>
                </a:solidFill>
                <a:latin typeface="Arial" pitchFamily="34" charset="0"/>
              </a:rPr>
              <a:t> </a:t>
            </a:r>
            <a:r>
              <a:rPr lang="pt-BR" sz="1350" i="1" dirty="0" err="1">
                <a:solidFill>
                  <a:schemeClr val="tx2"/>
                </a:solidFill>
                <a:latin typeface="Arial" pitchFamily="34" charset="0"/>
              </a:rPr>
              <a:t>sale</a:t>
            </a:r>
            <a:r>
              <a:rPr lang="pt-BR" sz="1350" dirty="0">
                <a:solidFill>
                  <a:schemeClr val="tx2"/>
                </a:solidFill>
                <a:latin typeface="Arial" pitchFamily="34" charset="0"/>
              </a:rPr>
              <a:t>) dos direitos creditórios ao FIDC, a </a:t>
            </a:r>
            <a:r>
              <a:rPr lang="pt-BR" sz="1350" dirty="0" err="1">
                <a:solidFill>
                  <a:schemeClr val="tx2"/>
                </a:solidFill>
                <a:latin typeface="Arial" pitchFamily="34" charset="0"/>
              </a:rPr>
              <a:t>MdB</a:t>
            </a:r>
            <a:r>
              <a:rPr lang="pt-BR" sz="1350" dirty="0">
                <a:solidFill>
                  <a:schemeClr val="tx2"/>
                </a:solidFill>
                <a:latin typeface="Arial" pitchFamily="34" charset="0"/>
              </a:rPr>
              <a:t> não possuirá qualquer direito sobre estes e, dessa forma, não poderá mais oferecer qualquer desconto a seus clientes ou abater qualquer crédito sobre os recebíveis já cedidos ao FIDC”.</a:t>
            </a:r>
          </a:p>
          <a:p>
            <a:pPr algn="r"/>
            <a:r>
              <a:rPr lang="pt-BR" sz="1350" dirty="0">
                <a:solidFill>
                  <a:schemeClr val="tx2"/>
                </a:solidFill>
                <a:latin typeface="Arial" pitchFamily="34" charset="0"/>
              </a:rPr>
              <a:t>     (Motta Fernandes Rocha Advogados)</a:t>
            </a:r>
          </a:p>
        </p:txBody>
      </p:sp>
      <p:sp>
        <p:nvSpPr>
          <p:cNvPr id="251913" name="Freeform 12"/>
          <p:cNvSpPr>
            <a:spLocks/>
          </p:cNvSpPr>
          <p:nvPr/>
        </p:nvSpPr>
        <p:spPr bwMode="auto">
          <a:xfrm>
            <a:off x="1524001" y="2669458"/>
            <a:ext cx="3367088" cy="217885"/>
          </a:xfrm>
          <a:custGeom>
            <a:avLst/>
            <a:gdLst>
              <a:gd name="T0" fmla="*/ 2147483647 w 2121"/>
              <a:gd name="T1" fmla="*/ 0 h 183"/>
              <a:gd name="T2" fmla="*/ 2147483647 w 2121"/>
              <a:gd name="T3" fmla="*/ 2147483647 h 183"/>
              <a:gd name="T4" fmla="*/ 2147483647 w 2121"/>
              <a:gd name="T5" fmla="*/ 2147483647 h 183"/>
              <a:gd name="T6" fmla="*/ 0 w 2121"/>
              <a:gd name="T7" fmla="*/ 2147483647 h 183"/>
              <a:gd name="T8" fmla="*/ 0 60000 65536"/>
              <a:gd name="T9" fmla="*/ 0 60000 65536"/>
              <a:gd name="T10" fmla="*/ 0 60000 65536"/>
              <a:gd name="T11" fmla="*/ 0 60000 65536"/>
              <a:gd name="T12" fmla="*/ 0 w 2121"/>
              <a:gd name="T13" fmla="*/ 0 h 183"/>
              <a:gd name="T14" fmla="*/ 2121 w 2121"/>
              <a:gd name="T15" fmla="*/ 183 h 183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2121" h="183">
                <a:moveTo>
                  <a:pt x="1966" y="0"/>
                </a:moveTo>
                <a:cubicBezTo>
                  <a:pt x="2043" y="48"/>
                  <a:pt x="2121" y="96"/>
                  <a:pt x="1865" y="101"/>
                </a:cubicBezTo>
                <a:cubicBezTo>
                  <a:pt x="1609" y="106"/>
                  <a:pt x="741" y="14"/>
                  <a:pt x="430" y="28"/>
                </a:cubicBezTo>
                <a:cubicBezTo>
                  <a:pt x="119" y="42"/>
                  <a:pt x="59" y="112"/>
                  <a:pt x="0" y="183"/>
                </a:cubicBezTo>
              </a:path>
            </a:pathLst>
          </a:custGeom>
          <a:noFill/>
          <a:ln w="19050" cmpd="sng">
            <a:solidFill>
              <a:schemeClr val="tx2"/>
            </a:solidFill>
            <a:round/>
            <a:headEnd type="none" w="med" len="med"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/>
          <a:p>
            <a:endParaRPr lang="pt-BR" sz="1350"/>
          </a:p>
        </p:txBody>
      </p:sp>
    </p:spTree>
    <p:extLst>
      <p:ext uri="{BB962C8B-B14F-4D97-AF65-F5344CB8AC3E}">
        <p14:creationId xmlns:p14="http://schemas.microsoft.com/office/powerpoint/2010/main" val="4379382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5266" name="Text Box 2"/>
          <p:cNvSpPr txBox="1">
            <a:spLocks noChangeArrowheads="1"/>
          </p:cNvSpPr>
          <p:nvPr/>
        </p:nvSpPr>
        <p:spPr bwMode="auto">
          <a:xfrm>
            <a:off x="1211263" y="2311400"/>
            <a:ext cx="6673850" cy="15696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 algn="ctr">
              <a:lnSpc>
                <a:spcPct val="110000"/>
              </a:lnSpc>
              <a:spcBef>
                <a:spcPct val="20000"/>
              </a:spcBef>
              <a:defRPr/>
            </a:pPr>
            <a:r>
              <a:rPr lang="pt-BR" sz="4000" b="1" dirty="0" smtClean="0">
                <a:effectLst>
                  <a:outerShdw blurRad="38100" dist="38100" dir="2700000" algn="tl">
                    <a:srgbClr val="C0C0C0"/>
                  </a:outerShdw>
                </a:effectLst>
                <a:latin typeface="Lucida Sans Unicode" pitchFamily="34" charset="0"/>
                <a:cs typeface="+mn-cs"/>
              </a:rPr>
              <a:t>Exercício</a:t>
            </a:r>
          </a:p>
          <a:p>
            <a:pPr algn="ctr">
              <a:lnSpc>
                <a:spcPct val="110000"/>
              </a:lnSpc>
              <a:spcBef>
                <a:spcPct val="20000"/>
              </a:spcBef>
              <a:defRPr/>
            </a:pPr>
            <a:r>
              <a:rPr lang="pt-BR" sz="4000" b="1" dirty="0" smtClean="0">
                <a:effectLst>
                  <a:outerShdw blurRad="38100" dist="38100" dir="2700000" algn="tl">
                    <a:srgbClr val="C0C0C0"/>
                  </a:outerShdw>
                </a:effectLst>
                <a:latin typeface="Lucida Sans Unicode" pitchFamily="34" charset="0"/>
                <a:cs typeface="+mn-cs"/>
              </a:rPr>
              <a:t>Operações </a:t>
            </a:r>
            <a:r>
              <a:rPr lang="pt-BR" sz="4000" b="1" dirty="0">
                <a:effectLst>
                  <a:outerShdw blurRad="38100" dist="38100" dir="2700000" algn="tl">
                    <a:srgbClr val="C0C0C0"/>
                  </a:outerShdw>
                </a:effectLst>
                <a:latin typeface="Lucida Sans Unicode" pitchFamily="34" charset="0"/>
                <a:cs typeface="+mn-cs"/>
              </a:rPr>
              <a:t>de </a:t>
            </a:r>
            <a:r>
              <a:rPr lang="pt-BR" sz="4000" b="1" dirty="0" err="1">
                <a:effectLst>
                  <a:outerShdw blurRad="38100" dist="38100" dir="2700000" algn="tl">
                    <a:srgbClr val="C0C0C0"/>
                  </a:outerShdw>
                </a:effectLst>
                <a:latin typeface="Lucida Sans Unicode" pitchFamily="34" charset="0"/>
                <a:cs typeface="+mn-cs"/>
              </a:rPr>
              <a:t>Barter</a:t>
            </a:r>
            <a:endParaRPr lang="pt-BR" sz="4000" b="1" dirty="0">
              <a:effectLst>
                <a:outerShdw blurRad="38100" dist="38100" dir="2700000" algn="tl">
                  <a:srgbClr val="C0C0C0"/>
                </a:outerShdw>
              </a:effectLst>
              <a:latin typeface="Lucida Sans Unicode" pitchFamily="34" charset="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413942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52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7" dur="500"/>
                                        <p:tgtEl>
                                          <p:spTgt spid="103526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35266" grpId="0" autoUpdateAnimBg="0"/>
    </p:bldLst>
  </p:timing>
</p:sld>
</file>

<file path=ppt/slides/slide1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38690" name="Rectangle 2"/>
          <p:cNvSpPr>
            <a:spLocks noChangeArrowheads="1"/>
          </p:cNvSpPr>
          <p:nvPr/>
        </p:nvSpPr>
        <p:spPr bwMode="auto">
          <a:xfrm>
            <a:off x="0" y="897733"/>
            <a:ext cx="9144000" cy="69532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anchor="ctr"/>
          <a:lstStyle/>
          <a:p>
            <a:pPr algn="ctr">
              <a:defRPr/>
            </a:pPr>
            <a:r>
              <a:rPr lang="en-US" sz="2700" b="1">
                <a:solidFill>
                  <a:schemeClr val="tx2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Tahoma" pitchFamily="34" charset="0"/>
              </a:rPr>
              <a:t>Reforço de Qualidade de Crédito</a:t>
            </a:r>
          </a:p>
        </p:txBody>
      </p:sp>
      <p:graphicFrame>
        <p:nvGraphicFramePr>
          <p:cNvPr id="1138691" name="Group 3"/>
          <p:cNvGraphicFramePr>
            <a:graphicFrameLocks noGrp="1"/>
          </p:cNvGraphicFramePr>
          <p:nvPr>
            <p:extLst/>
          </p:nvPr>
        </p:nvGraphicFramePr>
        <p:xfrm>
          <a:off x="1357313" y="1751411"/>
          <a:ext cx="7540626" cy="1634728"/>
        </p:xfrm>
        <a:graphic>
          <a:graphicData uri="http://schemas.openxmlformats.org/drawingml/2006/table">
            <a:tbl>
              <a:tblPr/>
              <a:tblGrid>
                <a:gridCol w="7540626"/>
              </a:tblGrid>
              <a:tr h="1634728">
                <a:tc>
                  <a:txBody>
                    <a:bodyPr/>
                    <a:lstStyle/>
                    <a:p>
                      <a:pPr marL="533400" marR="0" lvl="0" indent="-5334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50000"/>
                        </a:spcAft>
                        <a:buClrTx/>
                        <a:buSzTx/>
                        <a:buFont typeface="Symbol" pitchFamily="18" charset="2"/>
                        <a:buChar char="Þ"/>
                        <a:tabLst/>
                      </a:pPr>
                      <a:r>
                        <a:rPr kumimoji="0" lang="pt-BR" sz="1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pitchFamily="34" charset="0"/>
                          <a:cs typeface="Times New Roman" pitchFamily="18" charset="0"/>
                        </a:rPr>
                        <a:t>Reserva necessária para cobrir eventual deterioração da qualidade de crédito dos recebíveis:</a:t>
                      </a:r>
                    </a:p>
                    <a:p>
                      <a:pPr marL="914400" marR="0" lvl="1" indent="-4572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50000"/>
                        </a:spcAft>
                        <a:buClrTx/>
                        <a:buSzTx/>
                        <a:buFont typeface="Symbol" pitchFamily="18" charset="2"/>
                        <a:buNone/>
                        <a:tabLst/>
                      </a:pPr>
                      <a:endParaRPr kumimoji="0" lang="pt-BR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  <a:p>
                      <a:pPr marL="914400" marR="0" lvl="1" indent="-45720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50000"/>
                        </a:spcAft>
                        <a:buClrTx/>
                        <a:buSzTx/>
                        <a:buFont typeface="Symbol" pitchFamily="18" charset="2"/>
                        <a:buNone/>
                        <a:tabLst/>
                      </a:pPr>
                      <a:r>
                        <a:rPr kumimoji="0" lang="pt-BR" sz="1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Arial" pitchFamily="34" charset="0"/>
                          <a:cs typeface="Arial" pitchFamily="34" charset="0"/>
                        </a:rPr>
                        <a:t>Reforço = Max(reserva dinâmica; reserva mínima)</a:t>
                      </a:r>
                    </a:p>
                  </a:txBody>
                  <a:tcPr marT="34290" marB="34290" horzOverflow="overflow">
                    <a:lnL cap="flat">
                      <a:noFill/>
                    </a:lnL>
                    <a:lnR cap="flat"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252934" name="Text Box 9"/>
          <p:cNvSpPr txBox="1">
            <a:spLocks noChangeArrowheads="1"/>
          </p:cNvSpPr>
          <p:nvPr/>
        </p:nvSpPr>
        <p:spPr bwMode="auto">
          <a:xfrm>
            <a:off x="1357313" y="3163492"/>
            <a:ext cx="7631179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9pPr>
          </a:lstStyle>
          <a:p>
            <a:pPr>
              <a:spcBef>
                <a:spcPct val="50000"/>
              </a:spcBef>
            </a:pPr>
            <a:r>
              <a:rPr lang="pt-BR" dirty="0">
                <a:solidFill>
                  <a:schemeClr val="tx2"/>
                </a:solidFill>
                <a:latin typeface="Arial" pitchFamily="34" charset="0"/>
              </a:rPr>
              <a:t>Reserva dinâmica = Reserva de Perda + Reserva de Diluição</a:t>
            </a:r>
          </a:p>
        </p:txBody>
      </p:sp>
      <p:sp>
        <p:nvSpPr>
          <p:cNvPr id="252935" name="Text Box 10"/>
          <p:cNvSpPr txBox="1">
            <a:spLocks noChangeArrowheads="1"/>
          </p:cNvSpPr>
          <p:nvPr/>
        </p:nvSpPr>
        <p:spPr bwMode="auto">
          <a:xfrm>
            <a:off x="1357313" y="3620692"/>
            <a:ext cx="7786687" cy="10064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9pPr>
          </a:lstStyle>
          <a:p>
            <a:pPr>
              <a:spcBef>
                <a:spcPct val="15000"/>
              </a:spcBef>
            </a:pPr>
            <a:r>
              <a:rPr lang="pt-BR" dirty="0">
                <a:solidFill>
                  <a:schemeClr val="tx2"/>
                </a:solidFill>
                <a:latin typeface="Arial" pitchFamily="34" charset="0"/>
              </a:rPr>
              <a:t>Reserva de Perda = índice de perdas (LR) x Fator de stress (SF)</a:t>
            </a:r>
          </a:p>
          <a:p>
            <a:pPr>
              <a:spcBef>
                <a:spcPct val="15000"/>
              </a:spcBef>
            </a:pPr>
            <a:r>
              <a:rPr lang="pt-BR" dirty="0">
                <a:solidFill>
                  <a:schemeClr val="tx2"/>
                </a:solidFill>
                <a:latin typeface="Arial" pitchFamily="34" charset="0"/>
              </a:rPr>
              <a:t>Reserva de Perda = 1,93% x 5,0 = 9,65%</a:t>
            </a:r>
          </a:p>
          <a:p>
            <a:pPr>
              <a:spcBef>
                <a:spcPct val="15000"/>
              </a:spcBef>
            </a:pPr>
            <a:r>
              <a:rPr lang="pt-BR" dirty="0">
                <a:solidFill>
                  <a:schemeClr val="tx2"/>
                </a:solidFill>
                <a:latin typeface="Arial" pitchFamily="34" charset="0"/>
              </a:rPr>
              <a:t>Reserva de Diluição = 0,00% </a:t>
            </a:r>
          </a:p>
        </p:txBody>
      </p:sp>
      <p:sp>
        <p:nvSpPr>
          <p:cNvPr id="252936" name="AutoShape 12"/>
          <p:cNvSpPr>
            <a:spLocks/>
          </p:cNvSpPr>
          <p:nvPr/>
        </p:nvSpPr>
        <p:spPr bwMode="auto">
          <a:xfrm>
            <a:off x="5892801" y="3993358"/>
            <a:ext cx="203200" cy="586979"/>
          </a:xfrm>
          <a:prstGeom prst="rightBrace">
            <a:avLst>
              <a:gd name="adj1" fmla="val 32096"/>
              <a:gd name="adj2" fmla="val 50000"/>
            </a:avLst>
          </a:prstGeom>
          <a:noFill/>
          <a:ln w="28575">
            <a:solidFill>
              <a:schemeClr val="tx2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anchor="ctr"/>
          <a:lstStyle/>
          <a:p>
            <a:endParaRPr lang="pt-BR" sz="1350"/>
          </a:p>
        </p:txBody>
      </p:sp>
      <p:sp>
        <p:nvSpPr>
          <p:cNvPr id="252937" name="Text Box 13"/>
          <p:cNvSpPr txBox="1">
            <a:spLocks noChangeArrowheads="1"/>
          </p:cNvSpPr>
          <p:nvPr/>
        </p:nvSpPr>
        <p:spPr bwMode="auto">
          <a:xfrm>
            <a:off x="6045200" y="4001693"/>
            <a:ext cx="2970213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9pPr>
          </a:lstStyle>
          <a:p>
            <a:pPr algn="ctr">
              <a:spcBef>
                <a:spcPct val="15000"/>
              </a:spcBef>
            </a:pPr>
            <a:r>
              <a:rPr lang="pt-BR">
                <a:solidFill>
                  <a:schemeClr val="tx2"/>
                </a:solidFill>
                <a:latin typeface="Arial" pitchFamily="34" charset="0"/>
              </a:rPr>
              <a:t>Reserva Dinâmica = 9,65%</a:t>
            </a:r>
          </a:p>
        </p:txBody>
      </p:sp>
      <p:sp>
        <p:nvSpPr>
          <p:cNvPr id="252938" name="Freeform 14"/>
          <p:cNvSpPr>
            <a:spLocks/>
          </p:cNvSpPr>
          <p:nvPr/>
        </p:nvSpPr>
        <p:spPr bwMode="auto">
          <a:xfrm>
            <a:off x="1524001" y="2936084"/>
            <a:ext cx="3367088" cy="217885"/>
          </a:xfrm>
          <a:custGeom>
            <a:avLst/>
            <a:gdLst>
              <a:gd name="T0" fmla="*/ 2147483647 w 2121"/>
              <a:gd name="T1" fmla="*/ 0 h 183"/>
              <a:gd name="T2" fmla="*/ 2147483647 w 2121"/>
              <a:gd name="T3" fmla="*/ 2147483647 h 183"/>
              <a:gd name="T4" fmla="*/ 2147483647 w 2121"/>
              <a:gd name="T5" fmla="*/ 2147483647 h 183"/>
              <a:gd name="T6" fmla="*/ 0 w 2121"/>
              <a:gd name="T7" fmla="*/ 2147483647 h 183"/>
              <a:gd name="T8" fmla="*/ 0 60000 65536"/>
              <a:gd name="T9" fmla="*/ 0 60000 65536"/>
              <a:gd name="T10" fmla="*/ 0 60000 65536"/>
              <a:gd name="T11" fmla="*/ 0 60000 65536"/>
              <a:gd name="T12" fmla="*/ 0 w 2121"/>
              <a:gd name="T13" fmla="*/ 0 h 183"/>
              <a:gd name="T14" fmla="*/ 2121 w 2121"/>
              <a:gd name="T15" fmla="*/ 183 h 183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2121" h="183">
                <a:moveTo>
                  <a:pt x="1966" y="0"/>
                </a:moveTo>
                <a:cubicBezTo>
                  <a:pt x="2043" y="48"/>
                  <a:pt x="2121" y="96"/>
                  <a:pt x="1865" y="101"/>
                </a:cubicBezTo>
                <a:cubicBezTo>
                  <a:pt x="1609" y="106"/>
                  <a:pt x="741" y="14"/>
                  <a:pt x="430" y="28"/>
                </a:cubicBezTo>
                <a:cubicBezTo>
                  <a:pt x="119" y="42"/>
                  <a:pt x="59" y="112"/>
                  <a:pt x="0" y="183"/>
                </a:cubicBezTo>
              </a:path>
            </a:pathLst>
          </a:custGeom>
          <a:noFill/>
          <a:ln w="19050" cmpd="sng">
            <a:solidFill>
              <a:schemeClr val="tx2"/>
            </a:solidFill>
            <a:round/>
            <a:headEnd type="none" w="med" len="med"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/>
          <a:p>
            <a:endParaRPr lang="pt-BR" sz="1350"/>
          </a:p>
        </p:txBody>
      </p:sp>
    </p:spTree>
    <p:extLst>
      <p:ext uri="{BB962C8B-B14F-4D97-AF65-F5344CB8AC3E}">
        <p14:creationId xmlns:p14="http://schemas.microsoft.com/office/powerpoint/2010/main" val="6500024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39714" name="Rectangle 2"/>
          <p:cNvSpPr>
            <a:spLocks noChangeArrowheads="1"/>
          </p:cNvSpPr>
          <p:nvPr/>
        </p:nvSpPr>
        <p:spPr bwMode="auto">
          <a:xfrm>
            <a:off x="0" y="897733"/>
            <a:ext cx="9144000" cy="69532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anchor="ctr"/>
          <a:lstStyle/>
          <a:p>
            <a:pPr algn="ctr">
              <a:defRPr/>
            </a:pPr>
            <a:r>
              <a:rPr lang="en-US" sz="2700" b="1">
                <a:solidFill>
                  <a:schemeClr val="tx2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Tahoma" pitchFamily="34" charset="0"/>
              </a:rPr>
              <a:t>Reforço de Qualidade de Crédito</a:t>
            </a:r>
          </a:p>
        </p:txBody>
      </p:sp>
      <p:graphicFrame>
        <p:nvGraphicFramePr>
          <p:cNvPr id="1139715" name="Group 3"/>
          <p:cNvGraphicFramePr>
            <a:graphicFrameLocks noGrp="1"/>
          </p:cNvGraphicFramePr>
          <p:nvPr>
            <p:extLst/>
          </p:nvPr>
        </p:nvGraphicFramePr>
        <p:xfrm>
          <a:off x="1357313" y="1751411"/>
          <a:ext cx="7540626" cy="1634728"/>
        </p:xfrm>
        <a:graphic>
          <a:graphicData uri="http://schemas.openxmlformats.org/drawingml/2006/table">
            <a:tbl>
              <a:tblPr/>
              <a:tblGrid>
                <a:gridCol w="7540626"/>
              </a:tblGrid>
              <a:tr h="1634728">
                <a:tc>
                  <a:txBody>
                    <a:bodyPr/>
                    <a:lstStyle/>
                    <a:p>
                      <a:pPr marL="533400" marR="0" lvl="0" indent="-5334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50000"/>
                        </a:spcAft>
                        <a:buClrTx/>
                        <a:buSzTx/>
                        <a:buFont typeface="Symbol" pitchFamily="18" charset="2"/>
                        <a:buChar char="Þ"/>
                        <a:tabLst/>
                      </a:pPr>
                      <a:r>
                        <a:rPr kumimoji="0" lang="pt-BR" sz="1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pitchFamily="34" charset="0"/>
                          <a:cs typeface="Times New Roman" pitchFamily="18" charset="0"/>
                        </a:rPr>
                        <a:t>Reserva necessária para cobrir eventual deterioração da qualidade de crédito dos recebíveis:</a:t>
                      </a:r>
                    </a:p>
                    <a:p>
                      <a:pPr marL="914400" marR="0" lvl="1" indent="-4572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50000"/>
                        </a:spcAft>
                        <a:buClrTx/>
                        <a:buSzTx/>
                        <a:buFont typeface="Symbol" pitchFamily="18" charset="2"/>
                        <a:buNone/>
                        <a:tabLst/>
                      </a:pPr>
                      <a:endParaRPr kumimoji="0" lang="pt-BR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  <a:p>
                      <a:pPr marL="914400" marR="0" lvl="1" indent="-45720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50000"/>
                        </a:spcAft>
                        <a:buClrTx/>
                        <a:buSzTx/>
                        <a:buFont typeface="Symbol" pitchFamily="18" charset="2"/>
                        <a:buNone/>
                        <a:tabLst/>
                      </a:pPr>
                      <a:r>
                        <a:rPr kumimoji="0" lang="pt-BR" sz="1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Arial" pitchFamily="34" charset="0"/>
                          <a:cs typeface="Arial" pitchFamily="34" charset="0"/>
                        </a:rPr>
                        <a:t>Reforço = Max(reserva dinâmica; reserva mínima)</a:t>
                      </a:r>
                    </a:p>
                  </a:txBody>
                  <a:tcPr marT="34290" marB="34290" horzOverflow="overflow">
                    <a:lnL cap="flat">
                      <a:noFill/>
                    </a:lnL>
                    <a:lnR cap="flat"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253958" name="Text Box 9"/>
          <p:cNvSpPr txBox="1">
            <a:spLocks noChangeArrowheads="1"/>
          </p:cNvSpPr>
          <p:nvPr/>
        </p:nvSpPr>
        <p:spPr bwMode="auto">
          <a:xfrm>
            <a:off x="1357313" y="3163492"/>
            <a:ext cx="3213101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9pPr>
          </a:lstStyle>
          <a:p>
            <a:pPr>
              <a:spcBef>
                <a:spcPct val="50000"/>
              </a:spcBef>
            </a:pPr>
            <a:r>
              <a:rPr lang="pt-BR" dirty="0">
                <a:solidFill>
                  <a:schemeClr val="tx2"/>
                </a:solidFill>
                <a:latin typeface="Arial" pitchFamily="34" charset="0"/>
              </a:rPr>
              <a:t>Reserva dinâmica = 9,65%</a:t>
            </a:r>
          </a:p>
        </p:txBody>
      </p:sp>
      <p:sp>
        <p:nvSpPr>
          <p:cNvPr id="253959" name="Text Box 10"/>
          <p:cNvSpPr txBox="1">
            <a:spLocks noChangeArrowheads="1"/>
          </p:cNvSpPr>
          <p:nvPr/>
        </p:nvSpPr>
        <p:spPr bwMode="auto">
          <a:xfrm>
            <a:off x="4635500" y="3163492"/>
            <a:ext cx="4429125" cy="92333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9pPr>
          </a:lstStyle>
          <a:p>
            <a:pPr>
              <a:spcBef>
                <a:spcPct val="15000"/>
              </a:spcBef>
            </a:pPr>
            <a:r>
              <a:rPr lang="pt-BR" dirty="0">
                <a:solidFill>
                  <a:schemeClr val="tx2"/>
                </a:solidFill>
                <a:latin typeface="Arial" pitchFamily="34" charset="0"/>
              </a:rPr>
              <a:t>Reserva mínima = baseia-se nos limites de concentração de um único devedor na condição de grupo econômico.</a:t>
            </a:r>
          </a:p>
        </p:txBody>
      </p:sp>
      <p:sp>
        <p:nvSpPr>
          <p:cNvPr id="253960" name="Freeform 14"/>
          <p:cNvSpPr>
            <a:spLocks/>
          </p:cNvSpPr>
          <p:nvPr/>
        </p:nvSpPr>
        <p:spPr bwMode="auto">
          <a:xfrm>
            <a:off x="1524001" y="2936084"/>
            <a:ext cx="3367088" cy="217885"/>
          </a:xfrm>
          <a:custGeom>
            <a:avLst/>
            <a:gdLst>
              <a:gd name="T0" fmla="*/ 2147483647 w 2121"/>
              <a:gd name="T1" fmla="*/ 0 h 183"/>
              <a:gd name="T2" fmla="*/ 2147483647 w 2121"/>
              <a:gd name="T3" fmla="*/ 2147483647 h 183"/>
              <a:gd name="T4" fmla="*/ 2147483647 w 2121"/>
              <a:gd name="T5" fmla="*/ 2147483647 h 183"/>
              <a:gd name="T6" fmla="*/ 0 w 2121"/>
              <a:gd name="T7" fmla="*/ 2147483647 h 183"/>
              <a:gd name="T8" fmla="*/ 0 60000 65536"/>
              <a:gd name="T9" fmla="*/ 0 60000 65536"/>
              <a:gd name="T10" fmla="*/ 0 60000 65536"/>
              <a:gd name="T11" fmla="*/ 0 60000 65536"/>
              <a:gd name="T12" fmla="*/ 0 w 2121"/>
              <a:gd name="T13" fmla="*/ 0 h 183"/>
              <a:gd name="T14" fmla="*/ 2121 w 2121"/>
              <a:gd name="T15" fmla="*/ 183 h 183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2121" h="183">
                <a:moveTo>
                  <a:pt x="1966" y="0"/>
                </a:moveTo>
                <a:cubicBezTo>
                  <a:pt x="2043" y="48"/>
                  <a:pt x="2121" y="96"/>
                  <a:pt x="1865" y="101"/>
                </a:cubicBezTo>
                <a:cubicBezTo>
                  <a:pt x="1609" y="106"/>
                  <a:pt x="741" y="14"/>
                  <a:pt x="430" y="28"/>
                </a:cubicBezTo>
                <a:cubicBezTo>
                  <a:pt x="119" y="42"/>
                  <a:pt x="59" y="112"/>
                  <a:pt x="0" y="183"/>
                </a:cubicBezTo>
              </a:path>
            </a:pathLst>
          </a:custGeom>
          <a:noFill/>
          <a:ln w="19050" cmpd="sng">
            <a:solidFill>
              <a:schemeClr val="tx2"/>
            </a:solidFill>
            <a:round/>
            <a:headEnd type="none" w="med" len="med"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/>
          <a:p>
            <a:endParaRPr lang="pt-BR" sz="1350"/>
          </a:p>
        </p:txBody>
      </p:sp>
      <p:sp>
        <p:nvSpPr>
          <p:cNvPr id="253961" name="Freeform 15"/>
          <p:cNvSpPr>
            <a:spLocks/>
          </p:cNvSpPr>
          <p:nvPr/>
        </p:nvSpPr>
        <p:spPr bwMode="auto">
          <a:xfrm>
            <a:off x="5867403" y="2990851"/>
            <a:ext cx="1668463" cy="164306"/>
          </a:xfrm>
          <a:custGeom>
            <a:avLst/>
            <a:gdLst>
              <a:gd name="T0" fmla="*/ 2147483647 w 2121"/>
              <a:gd name="T1" fmla="*/ 0 h 183"/>
              <a:gd name="T2" fmla="*/ 2147483647 w 2121"/>
              <a:gd name="T3" fmla="*/ 2147483647 h 183"/>
              <a:gd name="T4" fmla="*/ 2147483647 w 2121"/>
              <a:gd name="T5" fmla="*/ 2147483647 h 183"/>
              <a:gd name="T6" fmla="*/ 0 w 2121"/>
              <a:gd name="T7" fmla="*/ 2147483647 h 183"/>
              <a:gd name="T8" fmla="*/ 0 60000 65536"/>
              <a:gd name="T9" fmla="*/ 0 60000 65536"/>
              <a:gd name="T10" fmla="*/ 0 60000 65536"/>
              <a:gd name="T11" fmla="*/ 0 60000 65536"/>
              <a:gd name="T12" fmla="*/ 0 w 2121"/>
              <a:gd name="T13" fmla="*/ 0 h 183"/>
              <a:gd name="T14" fmla="*/ 2121 w 2121"/>
              <a:gd name="T15" fmla="*/ 183 h 183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2121" h="183">
                <a:moveTo>
                  <a:pt x="1966" y="0"/>
                </a:moveTo>
                <a:cubicBezTo>
                  <a:pt x="2043" y="48"/>
                  <a:pt x="2121" y="96"/>
                  <a:pt x="1865" y="101"/>
                </a:cubicBezTo>
                <a:cubicBezTo>
                  <a:pt x="1609" y="106"/>
                  <a:pt x="741" y="14"/>
                  <a:pt x="430" y="28"/>
                </a:cubicBezTo>
                <a:cubicBezTo>
                  <a:pt x="119" y="42"/>
                  <a:pt x="59" y="112"/>
                  <a:pt x="0" y="183"/>
                </a:cubicBezTo>
              </a:path>
            </a:pathLst>
          </a:custGeom>
          <a:noFill/>
          <a:ln w="19050" cmpd="sng">
            <a:solidFill>
              <a:schemeClr val="tx2"/>
            </a:solidFill>
            <a:round/>
            <a:headEnd type="none" w="med" len="med"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/>
          <a:p>
            <a:endParaRPr lang="pt-BR" sz="1350"/>
          </a:p>
        </p:txBody>
      </p:sp>
      <p:sp>
        <p:nvSpPr>
          <p:cNvPr id="253962" name="Text Box 16"/>
          <p:cNvSpPr txBox="1">
            <a:spLocks noChangeArrowheads="1"/>
          </p:cNvSpPr>
          <p:nvPr/>
        </p:nvSpPr>
        <p:spPr bwMode="auto">
          <a:xfrm>
            <a:off x="1357313" y="4251087"/>
            <a:ext cx="7751764" cy="146924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812800" indent="-812800"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9pPr>
          </a:lstStyle>
          <a:p>
            <a:pPr>
              <a:spcBef>
                <a:spcPct val="15000"/>
              </a:spcBef>
            </a:pPr>
            <a:r>
              <a:rPr lang="pt-BR" dirty="0">
                <a:solidFill>
                  <a:schemeClr val="tx2"/>
                </a:solidFill>
                <a:latin typeface="Arial" pitchFamily="34" charset="0"/>
              </a:rPr>
              <a:t>Reserva mínima = concentração x Fator de stress (SF)</a:t>
            </a:r>
          </a:p>
          <a:p>
            <a:pPr>
              <a:spcBef>
                <a:spcPct val="15000"/>
              </a:spcBef>
            </a:pPr>
            <a:r>
              <a:rPr lang="pt-BR" dirty="0">
                <a:solidFill>
                  <a:schemeClr val="tx2"/>
                </a:solidFill>
                <a:latin typeface="Arial" pitchFamily="34" charset="0"/>
              </a:rPr>
              <a:t>Reserva mínima =         2,4%      x              5                   =  12%</a:t>
            </a:r>
          </a:p>
          <a:p>
            <a:pPr>
              <a:spcBef>
                <a:spcPct val="15000"/>
              </a:spcBef>
            </a:pPr>
            <a:endParaRPr lang="pt-BR" sz="1050" dirty="0">
              <a:solidFill>
                <a:schemeClr val="tx2"/>
              </a:solidFill>
              <a:latin typeface="Arial" pitchFamily="34" charset="0"/>
            </a:endParaRPr>
          </a:p>
          <a:p>
            <a:pPr>
              <a:spcBef>
                <a:spcPct val="15000"/>
              </a:spcBef>
            </a:pPr>
            <a:r>
              <a:rPr lang="pt-BR" dirty="0">
                <a:solidFill>
                  <a:schemeClr val="tx2"/>
                </a:solidFill>
                <a:latin typeface="Arial" pitchFamily="34" charset="0"/>
              </a:rPr>
              <a:t>Obs.: A documentação estabelece um limite de concentração equivalente a 2,4% </a:t>
            </a:r>
          </a:p>
        </p:txBody>
      </p:sp>
    </p:spTree>
    <p:extLst>
      <p:ext uri="{BB962C8B-B14F-4D97-AF65-F5344CB8AC3E}">
        <p14:creationId xmlns:p14="http://schemas.microsoft.com/office/powerpoint/2010/main" val="32919980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40738" name="Rectangle 2"/>
          <p:cNvSpPr>
            <a:spLocks noChangeArrowheads="1"/>
          </p:cNvSpPr>
          <p:nvPr/>
        </p:nvSpPr>
        <p:spPr bwMode="auto">
          <a:xfrm>
            <a:off x="0" y="897733"/>
            <a:ext cx="9144000" cy="69532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anchor="ctr"/>
          <a:lstStyle/>
          <a:p>
            <a:pPr algn="ctr">
              <a:defRPr/>
            </a:pPr>
            <a:r>
              <a:rPr lang="en-US" sz="2700" b="1">
                <a:solidFill>
                  <a:schemeClr val="tx2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Tahoma" pitchFamily="34" charset="0"/>
              </a:rPr>
              <a:t>Reforço de Qualidade de Crédito</a:t>
            </a:r>
          </a:p>
        </p:txBody>
      </p:sp>
      <p:graphicFrame>
        <p:nvGraphicFramePr>
          <p:cNvPr id="1140739" name="Group 3"/>
          <p:cNvGraphicFramePr>
            <a:graphicFrameLocks noGrp="1"/>
          </p:cNvGraphicFramePr>
          <p:nvPr>
            <p:extLst/>
          </p:nvPr>
        </p:nvGraphicFramePr>
        <p:xfrm>
          <a:off x="1357313" y="1751411"/>
          <a:ext cx="7540626" cy="1634728"/>
        </p:xfrm>
        <a:graphic>
          <a:graphicData uri="http://schemas.openxmlformats.org/drawingml/2006/table">
            <a:tbl>
              <a:tblPr/>
              <a:tblGrid>
                <a:gridCol w="7540626"/>
              </a:tblGrid>
              <a:tr h="1634728">
                <a:tc>
                  <a:txBody>
                    <a:bodyPr/>
                    <a:lstStyle/>
                    <a:p>
                      <a:pPr marL="533400" marR="0" lvl="0" indent="-5334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50000"/>
                        </a:spcAft>
                        <a:buClrTx/>
                        <a:buSzTx/>
                        <a:buFont typeface="Symbol" pitchFamily="18" charset="2"/>
                        <a:buChar char="Þ"/>
                        <a:tabLst/>
                      </a:pPr>
                      <a:r>
                        <a:rPr kumimoji="0" lang="pt-BR" sz="1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pitchFamily="34" charset="0"/>
                          <a:cs typeface="Times New Roman" pitchFamily="18" charset="0"/>
                        </a:rPr>
                        <a:t>Reserva necessária para cobrir eventual deterioração da qualidade de crédito dos recebíveis:</a:t>
                      </a:r>
                    </a:p>
                    <a:p>
                      <a:pPr marL="914400" marR="0" lvl="1" indent="-4572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50000"/>
                        </a:spcAft>
                        <a:buClrTx/>
                        <a:buSzTx/>
                        <a:buFont typeface="Symbol" pitchFamily="18" charset="2"/>
                        <a:buNone/>
                        <a:tabLst/>
                      </a:pPr>
                      <a:endParaRPr kumimoji="0" lang="pt-BR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  <a:p>
                      <a:pPr marL="914400" marR="0" lvl="1" indent="-45720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50000"/>
                        </a:spcAft>
                        <a:buClrTx/>
                        <a:buSzTx/>
                        <a:buFont typeface="Symbol" pitchFamily="18" charset="2"/>
                        <a:buNone/>
                        <a:tabLst/>
                      </a:pPr>
                      <a:r>
                        <a:rPr kumimoji="0" lang="pt-BR" sz="1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Arial" pitchFamily="34" charset="0"/>
                          <a:cs typeface="Arial" pitchFamily="34" charset="0"/>
                        </a:rPr>
                        <a:t>Reforço = Max(reserva dinâmica; reserva mínima)</a:t>
                      </a:r>
                    </a:p>
                  </a:txBody>
                  <a:tcPr marT="34290" marB="34290" horzOverflow="overflow">
                    <a:lnL cap="flat">
                      <a:noFill/>
                    </a:lnL>
                    <a:lnR cap="flat"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254982" name="Text Box 9"/>
          <p:cNvSpPr txBox="1">
            <a:spLocks noChangeArrowheads="1"/>
          </p:cNvSpPr>
          <p:nvPr/>
        </p:nvSpPr>
        <p:spPr bwMode="auto">
          <a:xfrm>
            <a:off x="1584327" y="3163492"/>
            <a:ext cx="2986087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9pPr>
          </a:lstStyle>
          <a:p>
            <a:pPr>
              <a:spcBef>
                <a:spcPct val="50000"/>
              </a:spcBef>
            </a:pPr>
            <a:r>
              <a:rPr lang="pt-BR" dirty="0">
                <a:solidFill>
                  <a:schemeClr val="tx2"/>
                </a:solidFill>
                <a:latin typeface="Arial" pitchFamily="34" charset="0"/>
              </a:rPr>
              <a:t>Reserva dinâmica = 9,65%</a:t>
            </a:r>
          </a:p>
        </p:txBody>
      </p:sp>
      <p:sp>
        <p:nvSpPr>
          <p:cNvPr id="254983" name="Text Box 10"/>
          <p:cNvSpPr txBox="1">
            <a:spLocks noChangeArrowheads="1"/>
          </p:cNvSpPr>
          <p:nvPr/>
        </p:nvSpPr>
        <p:spPr bwMode="auto">
          <a:xfrm>
            <a:off x="5398927" y="3148353"/>
            <a:ext cx="3466511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9pPr>
          </a:lstStyle>
          <a:p>
            <a:pPr>
              <a:spcBef>
                <a:spcPct val="15000"/>
              </a:spcBef>
            </a:pPr>
            <a:r>
              <a:rPr lang="pt-BR" dirty="0">
                <a:solidFill>
                  <a:schemeClr val="tx2"/>
                </a:solidFill>
                <a:latin typeface="Arial" pitchFamily="34" charset="0"/>
              </a:rPr>
              <a:t>Reserva mínima = 12,00%</a:t>
            </a:r>
          </a:p>
        </p:txBody>
      </p:sp>
      <p:sp>
        <p:nvSpPr>
          <p:cNvPr id="254984" name="Freeform 11"/>
          <p:cNvSpPr>
            <a:spLocks/>
          </p:cNvSpPr>
          <p:nvPr/>
        </p:nvSpPr>
        <p:spPr bwMode="auto">
          <a:xfrm>
            <a:off x="2411760" y="2990851"/>
            <a:ext cx="2997333" cy="163118"/>
          </a:xfrm>
          <a:custGeom>
            <a:avLst/>
            <a:gdLst>
              <a:gd name="T0" fmla="*/ 2147483647 w 2121"/>
              <a:gd name="T1" fmla="*/ 0 h 183"/>
              <a:gd name="T2" fmla="*/ 2147483647 w 2121"/>
              <a:gd name="T3" fmla="*/ 2147483647 h 183"/>
              <a:gd name="T4" fmla="*/ 2147483647 w 2121"/>
              <a:gd name="T5" fmla="*/ 2147483647 h 183"/>
              <a:gd name="T6" fmla="*/ 0 w 2121"/>
              <a:gd name="T7" fmla="*/ 2147483647 h 183"/>
              <a:gd name="T8" fmla="*/ 0 60000 65536"/>
              <a:gd name="T9" fmla="*/ 0 60000 65536"/>
              <a:gd name="T10" fmla="*/ 0 60000 65536"/>
              <a:gd name="T11" fmla="*/ 0 60000 65536"/>
              <a:gd name="T12" fmla="*/ 0 w 2121"/>
              <a:gd name="T13" fmla="*/ 0 h 183"/>
              <a:gd name="T14" fmla="*/ 2121 w 2121"/>
              <a:gd name="T15" fmla="*/ 183 h 183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2121" h="183">
                <a:moveTo>
                  <a:pt x="1966" y="0"/>
                </a:moveTo>
                <a:cubicBezTo>
                  <a:pt x="2043" y="48"/>
                  <a:pt x="2121" y="96"/>
                  <a:pt x="1865" y="101"/>
                </a:cubicBezTo>
                <a:cubicBezTo>
                  <a:pt x="1609" y="106"/>
                  <a:pt x="741" y="14"/>
                  <a:pt x="430" y="28"/>
                </a:cubicBezTo>
                <a:cubicBezTo>
                  <a:pt x="119" y="42"/>
                  <a:pt x="59" y="112"/>
                  <a:pt x="0" y="183"/>
                </a:cubicBezTo>
              </a:path>
            </a:pathLst>
          </a:custGeom>
          <a:noFill/>
          <a:ln w="19050" cmpd="sng">
            <a:solidFill>
              <a:schemeClr val="tx2"/>
            </a:solidFill>
            <a:round/>
            <a:headEnd type="none" w="med" len="med"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/>
          <a:p>
            <a:endParaRPr lang="pt-BR" sz="1350"/>
          </a:p>
        </p:txBody>
      </p:sp>
      <p:sp>
        <p:nvSpPr>
          <p:cNvPr id="254985" name="Freeform 12"/>
          <p:cNvSpPr>
            <a:spLocks/>
          </p:cNvSpPr>
          <p:nvPr/>
        </p:nvSpPr>
        <p:spPr bwMode="auto">
          <a:xfrm>
            <a:off x="5867403" y="2990851"/>
            <a:ext cx="1671637" cy="164306"/>
          </a:xfrm>
          <a:custGeom>
            <a:avLst/>
            <a:gdLst>
              <a:gd name="T0" fmla="*/ 2147483647 w 2121"/>
              <a:gd name="T1" fmla="*/ 0 h 183"/>
              <a:gd name="T2" fmla="*/ 2147483647 w 2121"/>
              <a:gd name="T3" fmla="*/ 2147483647 h 183"/>
              <a:gd name="T4" fmla="*/ 2147483647 w 2121"/>
              <a:gd name="T5" fmla="*/ 2147483647 h 183"/>
              <a:gd name="T6" fmla="*/ 0 w 2121"/>
              <a:gd name="T7" fmla="*/ 2147483647 h 183"/>
              <a:gd name="T8" fmla="*/ 0 60000 65536"/>
              <a:gd name="T9" fmla="*/ 0 60000 65536"/>
              <a:gd name="T10" fmla="*/ 0 60000 65536"/>
              <a:gd name="T11" fmla="*/ 0 60000 65536"/>
              <a:gd name="T12" fmla="*/ 0 w 2121"/>
              <a:gd name="T13" fmla="*/ 0 h 183"/>
              <a:gd name="T14" fmla="*/ 2121 w 2121"/>
              <a:gd name="T15" fmla="*/ 183 h 183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2121" h="183">
                <a:moveTo>
                  <a:pt x="1966" y="0"/>
                </a:moveTo>
                <a:cubicBezTo>
                  <a:pt x="2043" y="48"/>
                  <a:pt x="2121" y="96"/>
                  <a:pt x="1865" y="101"/>
                </a:cubicBezTo>
                <a:cubicBezTo>
                  <a:pt x="1609" y="106"/>
                  <a:pt x="741" y="14"/>
                  <a:pt x="430" y="28"/>
                </a:cubicBezTo>
                <a:cubicBezTo>
                  <a:pt x="119" y="42"/>
                  <a:pt x="59" y="112"/>
                  <a:pt x="0" y="183"/>
                </a:cubicBezTo>
              </a:path>
            </a:pathLst>
          </a:custGeom>
          <a:noFill/>
          <a:ln w="19050" cmpd="sng">
            <a:solidFill>
              <a:schemeClr val="tx2"/>
            </a:solidFill>
            <a:round/>
            <a:headEnd type="none" w="med" len="med"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/>
          <a:p>
            <a:endParaRPr lang="pt-BR" sz="1350"/>
          </a:p>
        </p:txBody>
      </p:sp>
      <p:sp>
        <p:nvSpPr>
          <p:cNvPr id="254986" name="Text Box 13"/>
          <p:cNvSpPr txBox="1">
            <a:spLocks noChangeArrowheads="1"/>
          </p:cNvSpPr>
          <p:nvPr/>
        </p:nvSpPr>
        <p:spPr bwMode="auto">
          <a:xfrm>
            <a:off x="2019666" y="4244581"/>
            <a:ext cx="5954713" cy="646331"/>
          </a:xfrm>
          <a:prstGeom prst="rect">
            <a:avLst/>
          </a:prstGeom>
          <a:noFill/>
          <a:ln w="9525">
            <a:solidFill>
              <a:schemeClr val="tx2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9pPr>
          </a:lstStyle>
          <a:p>
            <a:pPr algn="ctr">
              <a:spcBef>
                <a:spcPct val="15000"/>
              </a:spcBef>
            </a:pPr>
            <a:r>
              <a:rPr lang="pt-BR">
                <a:solidFill>
                  <a:schemeClr val="tx2"/>
                </a:solidFill>
                <a:latin typeface="Arial" pitchFamily="34" charset="0"/>
              </a:rPr>
              <a:t>O FIDC foi estruturado com um nível de subordinação mínima equivalente a 12%.</a:t>
            </a:r>
          </a:p>
        </p:txBody>
      </p:sp>
      <p:graphicFrame>
        <p:nvGraphicFramePr>
          <p:cNvPr id="1140760" name="Group 24"/>
          <p:cNvGraphicFramePr>
            <a:graphicFrameLocks noGrp="1"/>
          </p:cNvGraphicFramePr>
          <p:nvPr>
            <p:ph sz="quarter" idx="13"/>
            <p:extLst/>
          </p:nvPr>
        </p:nvGraphicFramePr>
        <p:xfrm>
          <a:off x="1357312" y="3665116"/>
          <a:ext cx="7103120" cy="411956"/>
        </p:xfrm>
        <a:graphic>
          <a:graphicData uri="http://schemas.openxmlformats.org/drawingml/2006/table">
            <a:tbl>
              <a:tblPr/>
              <a:tblGrid>
                <a:gridCol w="7103120"/>
              </a:tblGrid>
              <a:tr h="411956">
                <a:tc>
                  <a:txBody>
                    <a:bodyPr/>
                    <a:lstStyle/>
                    <a:p>
                      <a:pPr marL="533400" marR="0" lvl="0" indent="-53340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50000"/>
                        </a:spcAft>
                        <a:buClrTx/>
                        <a:buSzTx/>
                        <a:buFont typeface="Symbol" pitchFamily="18" charset="2"/>
                        <a:buNone/>
                        <a:tabLst/>
                      </a:pPr>
                      <a:r>
                        <a:rPr kumimoji="0" lang="pt-BR" sz="1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Arial" pitchFamily="34" charset="0"/>
                          <a:cs typeface="Arial" pitchFamily="34" charset="0"/>
                        </a:rPr>
                        <a:t>Reforço = 12%</a:t>
                      </a:r>
                    </a:p>
                  </a:txBody>
                  <a:tcPr marL="289196" marR="289196" marT="34290" marB="34290" horzOverflow="overflow">
                    <a:lnL cap="flat">
                      <a:noFill/>
                    </a:lnL>
                    <a:lnR cap="flat"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9461128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41762" name="Rectangle 2"/>
          <p:cNvSpPr>
            <a:spLocks noChangeArrowheads="1"/>
          </p:cNvSpPr>
          <p:nvPr/>
        </p:nvSpPr>
        <p:spPr bwMode="auto">
          <a:xfrm>
            <a:off x="0" y="897733"/>
            <a:ext cx="9144000" cy="69532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anchor="ctr"/>
          <a:lstStyle/>
          <a:p>
            <a:pPr algn="ctr">
              <a:defRPr/>
            </a:pPr>
            <a:r>
              <a:rPr lang="en-US" sz="2700" b="1">
                <a:solidFill>
                  <a:schemeClr val="tx2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Tahoma" pitchFamily="34" charset="0"/>
              </a:rPr>
              <a:t>Descasamento de Taxa de Juros</a:t>
            </a:r>
          </a:p>
        </p:txBody>
      </p:sp>
      <p:graphicFrame>
        <p:nvGraphicFramePr>
          <p:cNvPr id="1141763" name="Group 3"/>
          <p:cNvGraphicFramePr>
            <a:graphicFrameLocks noGrp="1"/>
          </p:cNvGraphicFramePr>
          <p:nvPr>
            <p:extLst/>
          </p:nvPr>
        </p:nvGraphicFramePr>
        <p:xfrm>
          <a:off x="227014" y="1470869"/>
          <a:ext cx="8670925" cy="342900"/>
        </p:xfrm>
        <a:graphic>
          <a:graphicData uri="http://schemas.openxmlformats.org/drawingml/2006/table">
            <a:tbl>
              <a:tblPr/>
              <a:tblGrid>
                <a:gridCol w="8670925"/>
              </a:tblGrid>
              <a:tr h="342900">
                <a:tc>
                  <a:txBody>
                    <a:bodyPr/>
                    <a:lstStyle/>
                    <a:p>
                      <a:pPr marL="342900" marR="0" lvl="0" indent="-34290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5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1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pitchFamily="34" charset="0"/>
                          <a:cs typeface="Times New Roman" pitchFamily="18" charset="0"/>
                        </a:rPr>
                        <a:t>Rentabilidade-alvo</a:t>
                      </a:r>
                      <a:endParaRPr kumimoji="0" lang="pt-BR" sz="18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T="34290" marB="34290" horzOverflow="overflow">
                    <a:lnL cap="flat">
                      <a:noFill/>
                    </a:lnL>
                    <a:lnR cap="flat"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256006" name="Rectangle 9"/>
          <p:cNvSpPr>
            <a:spLocks noChangeArrowheads="1"/>
          </p:cNvSpPr>
          <p:nvPr/>
        </p:nvSpPr>
        <p:spPr bwMode="auto">
          <a:xfrm>
            <a:off x="1357312" y="1959297"/>
            <a:ext cx="7297739" cy="28623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anchor="ctr">
            <a:spAutoFit/>
          </a:bodyPr>
          <a:lstStyle/>
          <a:p>
            <a:pPr marL="196449" indent="-196449">
              <a:buFontTx/>
              <a:buChar char="•"/>
            </a:pPr>
            <a:r>
              <a:rPr lang="pt-BR" dirty="0">
                <a:solidFill>
                  <a:schemeClr val="tx2"/>
                </a:solidFill>
                <a:latin typeface="Arial" pitchFamily="34" charset="0"/>
              </a:rPr>
              <a:t>A primeira série de quotas seniores buscará retorno de equivalente a taxa DI Over + 3,4% a.a.</a:t>
            </a:r>
          </a:p>
          <a:p>
            <a:pPr marL="196449" indent="-196449">
              <a:buFontTx/>
              <a:buChar char="•"/>
            </a:pPr>
            <a:endParaRPr lang="pt-BR" dirty="0">
              <a:solidFill>
                <a:schemeClr val="tx2"/>
              </a:solidFill>
              <a:latin typeface="Arial" pitchFamily="34" charset="0"/>
            </a:endParaRPr>
          </a:p>
          <a:p>
            <a:pPr marL="196449" indent="-196449">
              <a:buFontTx/>
              <a:buChar char="•"/>
            </a:pPr>
            <a:r>
              <a:rPr lang="pt-BR" dirty="0">
                <a:solidFill>
                  <a:schemeClr val="tx2"/>
                </a:solidFill>
                <a:latin typeface="Arial" pitchFamily="34" charset="0"/>
              </a:rPr>
              <a:t>Como o ativo tem rentabilidade </a:t>
            </a:r>
            <a:r>
              <a:rPr lang="pt-BR" dirty="0" err="1">
                <a:solidFill>
                  <a:schemeClr val="tx2"/>
                </a:solidFill>
                <a:latin typeface="Arial" pitchFamily="34" charset="0"/>
              </a:rPr>
              <a:t>pre-fixada</a:t>
            </a:r>
            <a:r>
              <a:rPr lang="pt-BR" dirty="0">
                <a:solidFill>
                  <a:schemeClr val="tx2"/>
                </a:solidFill>
                <a:latin typeface="Arial" pitchFamily="34" charset="0"/>
              </a:rPr>
              <a:t>, para proteção contra o risco de descasamento de taxa de juros, há obrigatoriedade de realizar compra de opções de taxa de juros.</a:t>
            </a:r>
            <a:endParaRPr lang="pt-BR" dirty="0">
              <a:solidFill>
                <a:schemeClr val="tx2"/>
              </a:solidFill>
              <a:latin typeface="Arial" pitchFamily="34" charset="0"/>
              <a:sym typeface="Symbol" pitchFamily="18" charset="2"/>
            </a:endParaRPr>
          </a:p>
          <a:p>
            <a:pPr marL="675068" lvl="1" indent="-332177">
              <a:buFont typeface="Symbol" pitchFamily="18" charset="2"/>
              <a:buChar char="Þ"/>
            </a:pPr>
            <a:r>
              <a:rPr lang="pt-BR" dirty="0">
                <a:solidFill>
                  <a:schemeClr val="tx2"/>
                </a:solidFill>
                <a:latin typeface="Arial" pitchFamily="34" charset="0"/>
                <a:sym typeface="Symbol" pitchFamily="18" charset="2"/>
              </a:rPr>
              <a:t>Necessidade de uma reserva para pagament</a:t>
            </a:r>
            <a:r>
              <a:rPr lang="pt-BR" dirty="0">
                <a:solidFill>
                  <a:schemeClr val="tx2"/>
                </a:solidFill>
                <a:latin typeface="Arial" pitchFamily="34" charset="0"/>
              </a:rPr>
              <a:t>o de despesas </a:t>
            </a:r>
          </a:p>
          <a:p>
            <a:pPr marL="675068" lvl="1" indent="-332177">
              <a:buFont typeface="Symbol" pitchFamily="18" charset="2"/>
              <a:buChar char="Þ"/>
            </a:pPr>
            <a:r>
              <a:rPr lang="pt-BR" dirty="0">
                <a:solidFill>
                  <a:schemeClr val="tx2"/>
                </a:solidFill>
                <a:latin typeface="Arial" pitchFamily="34" charset="0"/>
              </a:rPr>
              <a:t>Há o risco de aumento do custo do prêmio da opção durante a operação e riscos decorrentes de imperfeição do </a:t>
            </a:r>
            <a:r>
              <a:rPr lang="pt-BR" i="1" dirty="0">
                <a:solidFill>
                  <a:schemeClr val="tx2"/>
                </a:solidFill>
                <a:latin typeface="Arial" pitchFamily="34" charset="0"/>
              </a:rPr>
              <a:t>hedge</a:t>
            </a:r>
            <a:r>
              <a:rPr lang="pt-BR" dirty="0">
                <a:solidFill>
                  <a:schemeClr val="tx2"/>
                </a:solidFill>
                <a:latin typeface="Arial" pitchFamily="34" charset="0"/>
              </a:rPr>
              <a:t>.</a:t>
            </a:r>
          </a:p>
          <a:p>
            <a:pPr marL="196449" indent="-196449"/>
            <a:r>
              <a:rPr lang="pt-BR" dirty="0">
                <a:solidFill>
                  <a:schemeClr val="tx2"/>
                </a:solidFill>
                <a:latin typeface="Arial" pitchFamily="34" charset="0"/>
              </a:rPr>
              <a:t> </a:t>
            </a:r>
          </a:p>
        </p:txBody>
      </p:sp>
      <p:sp>
        <p:nvSpPr>
          <p:cNvPr id="256007" name="Text Box 10"/>
          <p:cNvSpPr txBox="1">
            <a:spLocks noChangeArrowheads="1"/>
          </p:cNvSpPr>
          <p:nvPr/>
        </p:nvSpPr>
        <p:spPr bwMode="auto">
          <a:xfrm>
            <a:off x="1742457" y="4887162"/>
            <a:ext cx="7285039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9pPr>
          </a:lstStyle>
          <a:p>
            <a:pPr>
              <a:spcBef>
                <a:spcPct val="50000"/>
              </a:spcBef>
            </a:pPr>
            <a:r>
              <a:rPr lang="pt-BR" dirty="0">
                <a:solidFill>
                  <a:srgbClr val="0000FF"/>
                </a:solidFill>
                <a:latin typeface="Arial" pitchFamily="34" charset="0"/>
                <a:cs typeface="+mn-cs"/>
              </a:rPr>
              <a:t>Excesso de spread cobre esses riscos</a:t>
            </a:r>
          </a:p>
        </p:txBody>
      </p:sp>
      <p:sp>
        <p:nvSpPr>
          <p:cNvPr id="256008" name="AutoShape 12"/>
          <p:cNvSpPr>
            <a:spLocks noChangeArrowheads="1"/>
          </p:cNvSpPr>
          <p:nvPr/>
        </p:nvSpPr>
        <p:spPr bwMode="auto">
          <a:xfrm rot="5400000">
            <a:off x="1526103" y="4896953"/>
            <a:ext cx="173831" cy="274639"/>
          </a:xfrm>
          <a:custGeom>
            <a:avLst/>
            <a:gdLst>
              <a:gd name="T0" fmla="*/ 204544883 w 21600"/>
              <a:gd name="T1" fmla="*/ 0 h 21600"/>
              <a:gd name="T2" fmla="*/ 122722200 w 21600"/>
              <a:gd name="T3" fmla="*/ 188174108 h 21600"/>
              <a:gd name="T4" fmla="*/ 0 w 21600"/>
              <a:gd name="T5" fmla="*/ 470461844 h 21600"/>
              <a:gd name="T6" fmla="*/ 122722200 w 21600"/>
              <a:gd name="T7" fmla="*/ 564522274 h 21600"/>
              <a:gd name="T8" fmla="*/ 245443198 w 21600"/>
              <a:gd name="T9" fmla="*/ 392029837 h 21600"/>
              <a:gd name="T10" fmla="*/ 286355076 w 21600"/>
              <a:gd name="T11" fmla="*/ 188174108 h 21600"/>
              <a:gd name="T12" fmla="*/ 17694720 60000 65536"/>
              <a:gd name="T13" fmla="*/ 11796480 60000 65536"/>
              <a:gd name="T14" fmla="*/ 11796480 60000 65536"/>
              <a:gd name="T15" fmla="*/ 5898240 60000 65536"/>
              <a:gd name="T16" fmla="*/ 0 60000 65536"/>
              <a:gd name="T17" fmla="*/ 0 60000 65536"/>
              <a:gd name="T18" fmla="*/ 0 w 21600"/>
              <a:gd name="T19" fmla="*/ 14400 h 21600"/>
              <a:gd name="T20" fmla="*/ 18514 w 21600"/>
              <a:gd name="T21" fmla="*/ 21600 h 21600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21600" h="21600">
                <a:moveTo>
                  <a:pt x="15429" y="0"/>
                </a:moveTo>
                <a:lnTo>
                  <a:pt x="9257" y="7200"/>
                </a:lnTo>
                <a:lnTo>
                  <a:pt x="12343" y="7200"/>
                </a:lnTo>
                <a:lnTo>
                  <a:pt x="12343" y="14400"/>
                </a:lnTo>
                <a:lnTo>
                  <a:pt x="0" y="14400"/>
                </a:lnTo>
                <a:lnTo>
                  <a:pt x="0" y="21600"/>
                </a:lnTo>
                <a:lnTo>
                  <a:pt x="18514" y="21600"/>
                </a:lnTo>
                <a:lnTo>
                  <a:pt x="18514" y="7200"/>
                </a:lnTo>
                <a:lnTo>
                  <a:pt x="21600" y="7200"/>
                </a:lnTo>
                <a:lnTo>
                  <a:pt x="15429" y="0"/>
                </a:lnTo>
                <a:close/>
              </a:path>
            </a:pathLst>
          </a:custGeom>
          <a:solidFill>
            <a:srgbClr val="0000FF"/>
          </a:solidFill>
          <a:ln w="9525">
            <a:solidFill>
              <a:srgbClr val="0000FF"/>
            </a:solidFill>
            <a:miter lim="800000"/>
            <a:headEnd/>
            <a:tailEnd/>
          </a:ln>
        </p:spPr>
        <p:txBody>
          <a:bodyPr wrap="none" anchor="ctr"/>
          <a:lstStyle/>
          <a:p>
            <a:endParaRPr lang="pt-BR" sz="1350">
              <a:solidFill>
                <a:srgbClr val="0000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93908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43810" name="Rectangle 2"/>
          <p:cNvSpPr>
            <a:spLocks noChangeArrowheads="1"/>
          </p:cNvSpPr>
          <p:nvPr/>
        </p:nvSpPr>
        <p:spPr bwMode="auto">
          <a:xfrm>
            <a:off x="0" y="897733"/>
            <a:ext cx="9144000" cy="69532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anchor="ctr"/>
          <a:lstStyle/>
          <a:p>
            <a:pPr algn="ctr">
              <a:defRPr/>
            </a:pPr>
            <a:r>
              <a:rPr lang="en-US" sz="2700" b="1">
                <a:solidFill>
                  <a:schemeClr val="tx2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Tahoma" pitchFamily="34" charset="0"/>
              </a:rPr>
              <a:t>Descasamento de Taxa de Juros</a:t>
            </a:r>
          </a:p>
        </p:txBody>
      </p:sp>
      <p:graphicFrame>
        <p:nvGraphicFramePr>
          <p:cNvPr id="1143818" name="Group 10"/>
          <p:cNvGraphicFramePr>
            <a:graphicFrameLocks noGrp="1"/>
          </p:cNvGraphicFramePr>
          <p:nvPr>
            <p:extLst/>
          </p:nvPr>
        </p:nvGraphicFramePr>
        <p:xfrm>
          <a:off x="1357313" y="1700809"/>
          <a:ext cx="7540626" cy="617042"/>
        </p:xfrm>
        <a:graphic>
          <a:graphicData uri="http://schemas.openxmlformats.org/drawingml/2006/table">
            <a:tbl>
              <a:tblPr/>
              <a:tblGrid>
                <a:gridCol w="7540626"/>
              </a:tblGrid>
              <a:tr h="617042">
                <a:tc>
                  <a:txBody>
                    <a:bodyPr/>
                    <a:lstStyle/>
                    <a:p>
                      <a:pPr marL="342900" marR="0" lvl="0" indent="-34290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5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1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pitchFamily="34" charset="0"/>
                          <a:cs typeface="Times New Roman" pitchFamily="18" charset="0"/>
                        </a:rPr>
                        <a:t>Taxa de desconto mínima aplicada na aquisição dos recebíveis:</a:t>
                      </a:r>
                      <a:endParaRPr kumimoji="0" lang="pt-BR" sz="18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T="34201" marB="34201" horzOverflow="overflow">
                    <a:lnL cap="flat">
                      <a:noFill/>
                    </a:lnL>
                    <a:lnR cap="flat"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graphicFrame>
        <p:nvGraphicFramePr>
          <p:cNvPr id="1143863" name="Group 55"/>
          <p:cNvGraphicFramePr>
            <a:graphicFrameLocks noGrp="1"/>
          </p:cNvGraphicFramePr>
          <p:nvPr>
            <p:ph sz="quarter" idx="13"/>
            <p:extLst/>
          </p:nvPr>
        </p:nvGraphicFramePr>
        <p:xfrm>
          <a:off x="1357313" y="2278922"/>
          <a:ext cx="7786688" cy="1165860"/>
        </p:xfrm>
        <a:graphic>
          <a:graphicData uri="http://schemas.openxmlformats.org/drawingml/2006/table">
            <a:tbl>
              <a:tblPr/>
              <a:tblGrid>
                <a:gridCol w="7786688"/>
              </a:tblGrid>
              <a:tr h="1165860">
                <a:tc>
                  <a:txBody>
                    <a:bodyPr/>
                    <a:lstStyle/>
                    <a:p>
                      <a:pPr marL="3048000" marR="0" lvl="0" indent="-30480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5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1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pitchFamily="34" charset="0"/>
                          <a:cs typeface="Times New Roman" pitchFamily="18" charset="0"/>
                        </a:rPr>
                        <a:t>Taxa Mínima de desconto = (Rentabilidade-alvo das quotas seniores + Despesas projetadas do FIDC + 1%) a.a.</a:t>
                      </a:r>
                    </a:p>
                  </a:txBody>
                  <a:tcPr marL="82135" marR="82135" marT="34290" marB="34290" horzOverflow="overflow">
                    <a:lnL cap="flat">
                      <a:noFill/>
                    </a:lnL>
                    <a:lnR cap="flat"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graphicFrame>
        <p:nvGraphicFramePr>
          <p:cNvPr id="1143890" name="Group 82"/>
          <p:cNvGraphicFramePr>
            <a:graphicFrameLocks noGrp="1"/>
          </p:cNvGraphicFramePr>
          <p:nvPr>
            <p:extLst/>
          </p:nvPr>
        </p:nvGraphicFramePr>
        <p:xfrm>
          <a:off x="1357313" y="3246760"/>
          <a:ext cx="7686677" cy="2126456"/>
        </p:xfrm>
        <a:graphic>
          <a:graphicData uri="http://schemas.openxmlformats.org/drawingml/2006/table">
            <a:tbl>
              <a:tblPr/>
              <a:tblGrid>
                <a:gridCol w="7686677"/>
              </a:tblGrid>
              <a:tr h="2126456">
                <a:tc>
                  <a:txBody>
                    <a:bodyPr/>
                    <a:lstStyle/>
                    <a:p>
                      <a:pPr marL="2328863" marR="0" lvl="0" indent="-2328863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5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1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pitchFamily="34" charset="0"/>
                          <a:cs typeface="Times New Roman" pitchFamily="18" charset="0"/>
                        </a:rPr>
                        <a:t>Excesso de </a:t>
                      </a:r>
                      <a:r>
                        <a:rPr kumimoji="0" lang="pt-BR" sz="18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pitchFamily="34" charset="0"/>
                          <a:cs typeface="Times New Roman" pitchFamily="18" charset="0"/>
                        </a:rPr>
                        <a:t>spread</a:t>
                      </a:r>
                      <a:r>
                        <a:rPr kumimoji="0" lang="pt-BR" sz="1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pitchFamily="34" charset="0"/>
                          <a:cs typeface="Times New Roman" pitchFamily="18" charset="0"/>
                        </a:rPr>
                        <a:t> = [Desconto sobre todas aquisições] – [Desconto para cobrir apenas o valor das quotas seniores] + Potencial de aumento do custo de opção.</a:t>
                      </a:r>
                    </a:p>
                    <a:p>
                      <a:pPr marL="2328863" marR="0" lvl="0" indent="-2328863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5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1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pitchFamily="34" charset="0"/>
                          <a:cs typeface="Times New Roman" pitchFamily="18" charset="0"/>
                        </a:rPr>
                        <a:t>Excesso de </a:t>
                      </a:r>
                      <a:r>
                        <a:rPr kumimoji="0" lang="pt-BR" sz="18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pitchFamily="34" charset="0"/>
                          <a:cs typeface="Times New Roman" pitchFamily="18" charset="0"/>
                        </a:rPr>
                        <a:t>spread</a:t>
                      </a:r>
                      <a:r>
                        <a:rPr kumimoji="0" lang="pt-BR" sz="1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pitchFamily="34" charset="0"/>
                          <a:cs typeface="Times New Roman" pitchFamily="18" charset="0"/>
                        </a:rPr>
                        <a:t> = [Rentabilidade-alvo + 1%] – {88% x [Rentabilidade-alvo] + Potencial de aumento do custo de opção}</a:t>
                      </a:r>
                    </a:p>
                  </a:txBody>
                  <a:tcPr marT="34298" marB="34298" horzOverflow="overflow">
                    <a:lnL cap="flat">
                      <a:noFill/>
                    </a:lnL>
                    <a:lnR cap="flat"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6574649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46882" name="Rectangle 2"/>
          <p:cNvSpPr>
            <a:spLocks noChangeArrowheads="1"/>
          </p:cNvSpPr>
          <p:nvPr/>
        </p:nvSpPr>
        <p:spPr bwMode="auto">
          <a:xfrm>
            <a:off x="0" y="897733"/>
            <a:ext cx="9144000" cy="69532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anchor="ctr"/>
          <a:lstStyle/>
          <a:p>
            <a:pPr algn="ctr">
              <a:defRPr/>
            </a:pPr>
            <a:r>
              <a:rPr lang="en-US" sz="2700" b="1">
                <a:solidFill>
                  <a:schemeClr val="tx2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Tahoma" pitchFamily="34" charset="0"/>
              </a:rPr>
              <a:t>Descasamento de Taxa de Juros</a:t>
            </a:r>
          </a:p>
        </p:txBody>
      </p:sp>
      <p:graphicFrame>
        <p:nvGraphicFramePr>
          <p:cNvPr id="1146883" name="Group 3"/>
          <p:cNvGraphicFramePr>
            <a:graphicFrameLocks noGrp="1"/>
          </p:cNvGraphicFramePr>
          <p:nvPr>
            <p:extLst/>
          </p:nvPr>
        </p:nvGraphicFramePr>
        <p:xfrm>
          <a:off x="1357312" y="1704835"/>
          <a:ext cx="7540627" cy="617042"/>
        </p:xfrm>
        <a:graphic>
          <a:graphicData uri="http://schemas.openxmlformats.org/drawingml/2006/table">
            <a:tbl>
              <a:tblPr/>
              <a:tblGrid>
                <a:gridCol w="7540627"/>
              </a:tblGrid>
              <a:tr h="617042">
                <a:tc>
                  <a:txBody>
                    <a:bodyPr/>
                    <a:lstStyle/>
                    <a:p>
                      <a:pPr marL="342900" marR="0" lvl="0" indent="-34290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5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1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pitchFamily="34" charset="0"/>
                          <a:cs typeface="Times New Roman" pitchFamily="18" charset="0"/>
                        </a:rPr>
                        <a:t>Taxa de desconto mínima aplicada na aquisição dos recebíveis:</a:t>
                      </a:r>
                      <a:endParaRPr kumimoji="0" lang="pt-BR" sz="18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T="34201" marB="34201" horzOverflow="overflow">
                    <a:lnL cap="flat">
                      <a:noFill/>
                    </a:lnL>
                    <a:lnR cap="flat"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graphicFrame>
        <p:nvGraphicFramePr>
          <p:cNvPr id="1146889" name="Group 9"/>
          <p:cNvGraphicFramePr>
            <a:graphicFrameLocks noGrp="1"/>
          </p:cNvGraphicFramePr>
          <p:nvPr>
            <p:ph sz="quarter" idx="13"/>
            <p:extLst/>
          </p:nvPr>
        </p:nvGraphicFramePr>
        <p:xfrm>
          <a:off x="1357312" y="2348880"/>
          <a:ext cx="7439158" cy="1165860"/>
        </p:xfrm>
        <a:graphic>
          <a:graphicData uri="http://schemas.openxmlformats.org/drawingml/2006/table">
            <a:tbl>
              <a:tblPr/>
              <a:tblGrid>
                <a:gridCol w="7439158"/>
              </a:tblGrid>
              <a:tr h="1165860">
                <a:tc>
                  <a:txBody>
                    <a:bodyPr/>
                    <a:lstStyle/>
                    <a:p>
                      <a:pPr marL="2962275" marR="0" lvl="0" indent="-2962275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5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1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pitchFamily="34" charset="0"/>
                          <a:cs typeface="Times New Roman" pitchFamily="18" charset="0"/>
                        </a:rPr>
                        <a:t>Taxa Mínima de desconto = (Rentabilidade-alvo das quotas seniores + Despesas projetadas do FIDC + 1%) a.a.</a:t>
                      </a:r>
                    </a:p>
                  </a:txBody>
                  <a:tcPr marL="82135" marR="82135" marT="34290" marB="34290" horzOverflow="overflow">
                    <a:lnL cap="flat">
                      <a:noFill/>
                    </a:lnL>
                    <a:lnR cap="flat"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graphicFrame>
        <p:nvGraphicFramePr>
          <p:cNvPr id="1146901" name="Group 21"/>
          <p:cNvGraphicFramePr>
            <a:graphicFrameLocks noGrp="1"/>
          </p:cNvGraphicFramePr>
          <p:nvPr>
            <p:extLst/>
          </p:nvPr>
        </p:nvGraphicFramePr>
        <p:xfrm>
          <a:off x="1357313" y="3429002"/>
          <a:ext cx="7686677" cy="1034653"/>
        </p:xfrm>
        <a:graphic>
          <a:graphicData uri="http://schemas.openxmlformats.org/drawingml/2006/table">
            <a:tbl>
              <a:tblPr/>
              <a:tblGrid>
                <a:gridCol w="7686677"/>
              </a:tblGrid>
              <a:tr h="1034653">
                <a:tc>
                  <a:txBody>
                    <a:bodyPr/>
                    <a:lstStyle/>
                    <a:p>
                      <a:pPr marL="3135313" marR="0" lvl="0" indent="-3135313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5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1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pitchFamily="34" charset="0"/>
                          <a:cs typeface="Times New Roman" pitchFamily="18" charset="0"/>
                        </a:rPr>
                        <a:t>Excesso de </a:t>
                      </a:r>
                      <a:r>
                        <a:rPr kumimoji="0" lang="pt-BR" sz="18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pitchFamily="34" charset="0"/>
                          <a:cs typeface="Times New Roman" pitchFamily="18" charset="0"/>
                        </a:rPr>
                        <a:t>spread</a:t>
                      </a:r>
                      <a:r>
                        <a:rPr kumimoji="0" lang="pt-BR" sz="1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pitchFamily="34" charset="0"/>
                          <a:cs typeface="Times New Roman" pitchFamily="18" charset="0"/>
                        </a:rPr>
                        <a:t> = [8,75% + 3,4%] – {88% x [8,75% + 3,4%] + 0,5%}</a:t>
                      </a:r>
                    </a:p>
                    <a:p>
                      <a:pPr marL="3135313" marR="0" lvl="0" indent="-3135313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5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1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pitchFamily="34" charset="0"/>
                          <a:cs typeface="Times New Roman" pitchFamily="18" charset="0"/>
                        </a:rPr>
                        <a:t>                                  = 12,15% – 88% x 12,15% + 0,5% = 1,96%</a:t>
                      </a:r>
                    </a:p>
                  </a:txBody>
                  <a:tcPr marT="34290" marB="34290" horzOverflow="overflow">
                    <a:lnL cap="flat">
                      <a:noFill/>
                    </a:lnL>
                    <a:lnR cap="flat"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9729704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47906" name="Rectangle 2"/>
          <p:cNvSpPr>
            <a:spLocks noChangeArrowheads="1"/>
          </p:cNvSpPr>
          <p:nvPr/>
        </p:nvSpPr>
        <p:spPr bwMode="auto">
          <a:xfrm>
            <a:off x="0" y="897733"/>
            <a:ext cx="9144000" cy="69532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anchor="ctr"/>
          <a:lstStyle/>
          <a:p>
            <a:pPr algn="ctr">
              <a:defRPr/>
            </a:pPr>
            <a:r>
              <a:rPr lang="en-US" sz="2700" b="1">
                <a:solidFill>
                  <a:schemeClr val="tx2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Tahoma" pitchFamily="34" charset="0"/>
              </a:rPr>
              <a:t>Riscos de Contraparte</a:t>
            </a:r>
          </a:p>
        </p:txBody>
      </p:sp>
      <p:graphicFrame>
        <p:nvGraphicFramePr>
          <p:cNvPr id="1147945" name="Group 41"/>
          <p:cNvGraphicFramePr>
            <a:graphicFrameLocks noGrp="1"/>
          </p:cNvGraphicFramePr>
          <p:nvPr>
            <p:ph sz="quarter" idx="13"/>
            <p:extLst/>
          </p:nvPr>
        </p:nvGraphicFramePr>
        <p:xfrm>
          <a:off x="1357312" y="1705068"/>
          <a:ext cx="7679183" cy="4046190"/>
        </p:xfrm>
        <a:graphic>
          <a:graphicData uri="http://schemas.openxmlformats.org/drawingml/2006/table">
            <a:tbl>
              <a:tblPr/>
              <a:tblGrid>
                <a:gridCol w="7679183"/>
              </a:tblGrid>
              <a:tr h="4046190">
                <a:tc>
                  <a:txBody>
                    <a:bodyPr/>
                    <a:lstStyle/>
                    <a:p>
                      <a:pPr marL="900113" marR="0" lvl="0" indent="-900113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5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1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pitchFamily="34" charset="0"/>
                          <a:cs typeface="Times New Roman" pitchFamily="18" charset="0"/>
                        </a:rPr>
                        <a:t>Risco da Cedente no Ressarcimento dos Eventos de Diluição: risco da </a:t>
                      </a:r>
                      <a:r>
                        <a:rPr kumimoji="0" lang="pt-BR" sz="18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pitchFamily="34" charset="0"/>
                          <a:cs typeface="Times New Roman" pitchFamily="18" charset="0"/>
                        </a:rPr>
                        <a:t>MdB</a:t>
                      </a:r>
                      <a:r>
                        <a:rPr kumimoji="0" lang="pt-BR" sz="1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pitchFamily="34" charset="0"/>
                          <a:cs typeface="Times New Roman" pitchFamily="18" charset="0"/>
                        </a:rPr>
                        <a:t> não ressarcir devoluções e cancelamentos;</a:t>
                      </a:r>
                    </a:p>
                    <a:p>
                      <a:pPr marL="900113" marR="0" lvl="0" indent="-900113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5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1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pitchFamily="34" charset="0"/>
                          <a:cs typeface="Times New Roman" pitchFamily="18" charset="0"/>
                        </a:rPr>
                        <a:t>Risco da Fungibilidade: risco de ocorrência de pagamentos, de maneira inadvertida, na conta da </a:t>
                      </a:r>
                      <a:r>
                        <a:rPr kumimoji="0" lang="pt-BR" sz="18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pitchFamily="34" charset="0"/>
                          <a:cs typeface="Times New Roman" pitchFamily="18" charset="0"/>
                        </a:rPr>
                        <a:t>MdB</a:t>
                      </a:r>
                      <a:r>
                        <a:rPr kumimoji="0" lang="pt-BR" sz="1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pitchFamily="34" charset="0"/>
                          <a:cs typeface="Times New Roman" pitchFamily="18" charset="0"/>
                        </a:rPr>
                        <a:t> e não na conta do Fundo;</a:t>
                      </a:r>
                    </a:p>
                    <a:p>
                      <a:pPr marL="900113" marR="0" lvl="0" indent="-900113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5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1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pitchFamily="34" charset="0"/>
                          <a:cs typeface="Times New Roman" pitchFamily="18" charset="0"/>
                        </a:rPr>
                        <a:t>Risco Operacionais: risco de deterioração da capacidade produtiva da </a:t>
                      </a:r>
                      <a:r>
                        <a:rPr kumimoji="0" lang="pt-BR" sz="18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pitchFamily="34" charset="0"/>
                          <a:cs typeface="Times New Roman" pitchFamily="18" charset="0"/>
                        </a:rPr>
                        <a:t>MdB</a:t>
                      </a:r>
                      <a:r>
                        <a:rPr kumimoji="0" lang="pt-BR" sz="1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pitchFamily="34" charset="0"/>
                          <a:cs typeface="Times New Roman" pitchFamily="18" charset="0"/>
                        </a:rPr>
                        <a:t>, bem como da seleção adequada dos sacados, podendo afetar o desempenho dos direitos creditórios, bem como as premissas adotadas.</a:t>
                      </a:r>
                    </a:p>
                    <a:p>
                      <a:pPr marL="900113" marR="0" lvl="0" indent="-900113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5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1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pitchFamily="34" charset="0"/>
                          <a:cs typeface="Times New Roman" pitchFamily="18" charset="0"/>
                        </a:rPr>
                        <a:t>... (liquidez das quotas, </a:t>
                      </a:r>
                      <a:r>
                        <a:rPr kumimoji="0" lang="pt-BR" sz="1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pitchFamily="34" charset="0"/>
                          <a:cs typeface="Times New Roman" pitchFamily="18" charset="0"/>
                        </a:rPr>
                        <a:t>inexistência de coobrigação e de direito de regresso, etc.)</a:t>
                      </a:r>
                      <a:r>
                        <a:rPr kumimoji="0" lang="pt-BR" sz="1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pitchFamily="34" charset="0"/>
                          <a:cs typeface="Times New Roman" pitchFamily="18" charset="0"/>
                        </a:rPr>
                        <a:t> </a:t>
                      </a:r>
                    </a:p>
                  </a:txBody>
                  <a:tcPr marL="82135" marR="82135" marT="34275" marB="34275" horzOverflow="overflow">
                    <a:lnL cap="flat">
                      <a:noFill/>
                    </a:lnL>
                    <a:lnR cap="flat"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943652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84738" name="Text Box 2"/>
          <p:cNvSpPr txBox="1">
            <a:spLocks noChangeArrowheads="1"/>
          </p:cNvSpPr>
          <p:nvPr/>
        </p:nvSpPr>
        <p:spPr bwMode="auto">
          <a:xfrm>
            <a:off x="1357312" y="1538790"/>
            <a:ext cx="7679183" cy="400879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68580" tIns="34290" rIns="68580" bIns="34290">
            <a:spAutoFit/>
          </a:bodyPr>
          <a:lstStyle>
            <a:lvl1pPr marL="266700" indent="-266700"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9pPr>
          </a:lstStyle>
          <a:p>
            <a:pPr algn="just" eaLnBrk="0" hangingPunct="0">
              <a:spcBef>
                <a:spcPct val="50000"/>
              </a:spcBef>
            </a:pPr>
            <a:r>
              <a:rPr lang="pt-BR" sz="1600" dirty="0">
                <a:latin typeface="Arial" pitchFamily="34" charset="0"/>
              </a:rPr>
              <a:t>ASSAF NETO, A. </a:t>
            </a:r>
            <a:r>
              <a:rPr lang="pt-BR" sz="1600" b="1" dirty="0">
                <a:latin typeface="Arial" pitchFamily="34" charset="0"/>
              </a:rPr>
              <a:t>Finanças corporativas e valor</a:t>
            </a:r>
            <a:r>
              <a:rPr lang="pt-BR" sz="1600" dirty="0">
                <a:latin typeface="Arial" pitchFamily="34" charset="0"/>
              </a:rPr>
              <a:t>. São Paulo: Atlas, 2003.</a:t>
            </a:r>
          </a:p>
          <a:p>
            <a:pPr algn="just" eaLnBrk="0" hangingPunct="0">
              <a:spcBef>
                <a:spcPct val="50000"/>
              </a:spcBef>
            </a:pPr>
            <a:r>
              <a:rPr lang="pt-BR" sz="1600" dirty="0">
                <a:latin typeface="Arial" pitchFamily="34" charset="0"/>
              </a:rPr>
              <a:t>BERNI, M.T. </a:t>
            </a:r>
            <a:r>
              <a:rPr lang="pt-BR" sz="1600" b="1" dirty="0">
                <a:latin typeface="Arial" pitchFamily="34" charset="0"/>
              </a:rPr>
              <a:t>Operações e concessão de crédito</a:t>
            </a:r>
            <a:r>
              <a:rPr lang="pt-BR" sz="1600" dirty="0">
                <a:latin typeface="Arial" pitchFamily="34" charset="0"/>
              </a:rPr>
              <a:t>. São Paulo: Atlas, 1999.</a:t>
            </a:r>
          </a:p>
          <a:p>
            <a:pPr algn="just" eaLnBrk="0" hangingPunct="0">
              <a:spcBef>
                <a:spcPct val="50000"/>
              </a:spcBef>
            </a:pPr>
            <a:r>
              <a:rPr lang="pt-BR" sz="1600" dirty="0">
                <a:latin typeface="Arial" pitchFamily="34" charset="0"/>
              </a:rPr>
              <a:t>DUARTE JUNIOR, A.M.  </a:t>
            </a:r>
            <a:r>
              <a:rPr lang="pt-BR" sz="1600" b="1" dirty="0">
                <a:latin typeface="Arial" pitchFamily="34" charset="0"/>
              </a:rPr>
              <a:t>Risco: definições, tipos, medições e recomendações para seu gerenciamento. </a:t>
            </a:r>
            <a:r>
              <a:rPr lang="pt-BR" sz="1600" dirty="0" err="1">
                <a:latin typeface="Arial" pitchFamily="34" charset="0"/>
              </a:rPr>
              <a:t>nr</a:t>
            </a:r>
            <a:r>
              <a:rPr lang="pt-BR" sz="1600" dirty="0">
                <a:latin typeface="Arial" pitchFamily="34" charset="0"/>
              </a:rPr>
              <a:t>. 114. São Paulo: Resenha BM&amp;F, 1996.</a:t>
            </a:r>
          </a:p>
          <a:p>
            <a:pPr algn="just" eaLnBrk="0" hangingPunct="0">
              <a:spcBef>
                <a:spcPct val="50000"/>
              </a:spcBef>
            </a:pPr>
            <a:r>
              <a:rPr lang="pt-BR" sz="1600" dirty="0">
                <a:latin typeface="Arial" pitchFamily="34" charset="0"/>
              </a:rPr>
              <a:t>JORION, PHILIPPE.</a:t>
            </a:r>
            <a:r>
              <a:rPr lang="pt-BR" sz="1600" b="1" dirty="0">
                <a:latin typeface="Arial" pitchFamily="34" charset="0"/>
              </a:rPr>
              <a:t> </a:t>
            </a:r>
            <a:r>
              <a:rPr lang="pt-BR" sz="1600" b="1" dirty="0" err="1">
                <a:latin typeface="Arial" pitchFamily="34" charset="0"/>
              </a:rPr>
              <a:t>Value</a:t>
            </a:r>
            <a:r>
              <a:rPr lang="pt-BR" sz="1600" b="1" dirty="0">
                <a:latin typeface="Arial" pitchFamily="34" charset="0"/>
              </a:rPr>
              <a:t> </a:t>
            </a:r>
            <a:r>
              <a:rPr lang="pt-BR" sz="1600" b="1" dirty="0" err="1">
                <a:latin typeface="Arial" pitchFamily="34" charset="0"/>
              </a:rPr>
              <a:t>at</a:t>
            </a:r>
            <a:r>
              <a:rPr lang="pt-BR" sz="1600" b="1" dirty="0">
                <a:latin typeface="Arial" pitchFamily="34" charset="0"/>
              </a:rPr>
              <a:t> </a:t>
            </a:r>
            <a:r>
              <a:rPr lang="pt-BR" sz="1600" b="1" dirty="0" err="1">
                <a:latin typeface="Arial" pitchFamily="34" charset="0"/>
              </a:rPr>
              <a:t>Risk</a:t>
            </a:r>
            <a:r>
              <a:rPr lang="pt-BR" sz="1600" b="1" dirty="0">
                <a:latin typeface="Arial" pitchFamily="34" charset="0"/>
              </a:rPr>
              <a:t>: A Nova Fonte de Referência para a Gestão do Risco Financeiro. </a:t>
            </a:r>
            <a:r>
              <a:rPr lang="pt-BR" sz="1600" dirty="0">
                <a:latin typeface="Arial" pitchFamily="34" charset="0"/>
              </a:rPr>
              <a:t>São Paulo: Bolsa de Mercadorias &amp; Futuros. 2a Edição, 2003, 487 p.</a:t>
            </a:r>
          </a:p>
          <a:p>
            <a:pPr algn="just" eaLnBrk="0" hangingPunct="0">
              <a:spcBef>
                <a:spcPct val="50000"/>
              </a:spcBef>
            </a:pPr>
            <a:r>
              <a:rPr lang="es-ES_tradnl" altLang="pt-BR" sz="1600" dirty="0">
                <a:latin typeface="Arial" pitchFamily="34" charset="0"/>
              </a:rPr>
              <a:t>LAZZARINI, S.G.; CHADDAD, F.R.  </a:t>
            </a:r>
            <a:r>
              <a:rPr lang="en-US" altLang="pt-BR" sz="1600" b="1" dirty="0" err="1">
                <a:latin typeface="Arial" pitchFamily="34" charset="0"/>
              </a:rPr>
              <a:t>Finanças</a:t>
            </a:r>
            <a:r>
              <a:rPr lang="en-US" altLang="pt-BR" sz="1600" b="1" dirty="0">
                <a:latin typeface="Arial" pitchFamily="34" charset="0"/>
              </a:rPr>
              <a:t> no agribusiness</a:t>
            </a:r>
            <a:r>
              <a:rPr lang="en-US" altLang="pt-BR" sz="1600" dirty="0">
                <a:latin typeface="Arial" pitchFamily="34" charset="0"/>
              </a:rPr>
              <a:t>. </a:t>
            </a:r>
            <a:r>
              <a:rPr lang="pt-BR" altLang="pt-BR" sz="1600" dirty="0">
                <a:latin typeface="Arial" pitchFamily="34" charset="0"/>
              </a:rPr>
              <a:t>In: ZILBERSTAJN, D.; NEVES, M.F.  Economia e gestão dosa negócios agroalimentares. São Paulo: Pioneira, 2000.</a:t>
            </a:r>
            <a:endParaRPr lang="pt-BR" sz="1600" dirty="0">
              <a:latin typeface="Arial" pitchFamily="34" charset="0"/>
            </a:endParaRPr>
          </a:p>
          <a:p>
            <a:pPr algn="just" eaLnBrk="0" hangingPunct="0">
              <a:spcBef>
                <a:spcPct val="50000"/>
              </a:spcBef>
            </a:pPr>
            <a:r>
              <a:rPr lang="pt-BR" sz="1600" dirty="0">
                <a:latin typeface="Arial" pitchFamily="34" charset="0"/>
              </a:rPr>
              <a:t>SECURATO, J. R. </a:t>
            </a:r>
            <a:r>
              <a:rPr lang="pt-BR" sz="1600" b="1" dirty="0">
                <a:latin typeface="Arial" pitchFamily="34" charset="0"/>
              </a:rPr>
              <a:t>Crédito – Análise e Avaliação do Risco – Pessoas Físicas e Jurídicas.</a:t>
            </a:r>
            <a:r>
              <a:rPr lang="pt-BR" sz="1600" dirty="0">
                <a:latin typeface="Arial" pitchFamily="34" charset="0"/>
              </a:rPr>
              <a:t> São Paulo: Saint Paul, 2002, 355 p.</a:t>
            </a:r>
          </a:p>
          <a:p>
            <a:pPr algn="just" eaLnBrk="0" hangingPunct="0">
              <a:spcBef>
                <a:spcPct val="50000"/>
              </a:spcBef>
            </a:pPr>
            <a:r>
              <a:rPr lang="pt-BR" sz="1600" dirty="0">
                <a:latin typeface="Arial" pitchFamily="34" charset="0"/>
              </a:rPr>
              <a:t>REZENDE, C.L.; ZYLBERSZTAJN, D.  </a:t>
            </a:r>
            <a:r>
              <a:rPr lang="pt-BR" sz="1600" b="1" dirty="0">
                <a:latin typeface="Arial" pitchFamily="34" charset="0"/>
              </a:rPr>
              <a:t>Quebra dos contratos de soja verde.</a:t>
            </a:r>
            <a:endParaRPr lang="pt-BR" sz="1600" dirty="0">
              <a:latin typeface="Arial" pitchFamily="34" charset="0"/>
            </a:endParaRPr>
          </a:p>
        </p:txBody>
      </p:sp>
      <p:sp>
        <p:nvSpPr>
          <p:cNvPr id="884739" name="Rectangle 3"/>
          <p:cNvSpPr>
            <a:spLocks noChangeArrowheads="1"/>
          </p:cNvSpPr>
          <p:nvPr/>
        </p:nvSpPr>
        <p:spPr bwMode="auto">
          <a:xfrm>
            <a:off x="0" y="897733"/>
            <a:ext cx="9144000" cy="69532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68580" tIns="34290" rIns="68580" bIns="34290" anchor="ctr"/>
          <a:lstStyle/>
          <a:p>
            <a:pPr algn="ctr">
              <a:defRPr/>
            </a:pPr>
            <a:r>
              <a:rPr lang="en-US" sz="2700" b="1" dirty="0" err="1">
                <a:effectLst>
                  <a:outerShdw blurRad="38100" dist="38100" dir="2700000" algn="tl">
                    <a:srgbClr val="C0C0C0"/>
                  </a:outerShdw>
                </a:effectLst>
                <a:latin typeface="Tahoma" pitchFamily="34" charset="0"/>
              </a:rPr>
              <a:t>Bibliografia</a:t>
            </a:r>
            <a:endParaRPr lang="en-US" sz="2700" b="1" dirty="0">
              <a:effectLst>
                <a:outerShdw blurRad="38100" dist="38100" dir="2700000" algn="tl">
                  <a:srgbClr val="C0C0C0"/>
                </a:outerShdw>
              </a:effectLst>
              <a:latin typeface="Tahom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804357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847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7" dur="500"/>
                                        <p:tgtEl>
                                          <p:spTgt spid="8847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84738" grpId="0" autoUpdateAnimBg="0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1410" name="Text Box 2"/>
          <p:cNvSpPr txBox="1">
            <a:spLocks noChangeArrowheads="1"/>
          </p:cNvSpPr>
          <p:nvPr/>
        </p:nvSpPr>
        <p:spPr bwMode="auto">
          <a:xfrm>
            <a:off x="114300" y="764704"/>
            <a:ext cx="8915400" cy="60939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marL="457200" indent="-457200"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9pPr>
          </a:lstStyle>
          <a:p>
            <a:pPr marL="0" indent="0"/>
            <a:r>
              <a:rPr lang="pt-BR" sz="3000" dirty="0" smtClean="0">
                <a:latin typeface="+mn-lt"/>
              </a:rPr>
              <a:t>Um </a:t>
            </a:r>
            <a:r>
              <a:rPr lang="pt-BR" sz="3000" dirty="0">
                <a:latin typeface="+mn-lt"/>
              </a:rPr>
              <a:t>produtor de soja solicita ao fornecedor de insumo, na época do pré-plantio (mês de novembro), 170.000,00 Reais  em insumos para pagamento em soja na colheita, que ocorrerá em abril do ano seguinte. No mercado futuro, a soja está cotada a 65 Reais/</a:t>
            </a:r>
            <a:r>
              <a:rPr lang="pt-BR" sz="3000" dirty="0" err="1">
                <a:latin typeface="+mn-lt"/>
              </a:rPr>
              <a:t>sc</a:t>
            </a:r>
            <a:r>
              <a:rPr lang="pt-BR" sz="3000" dirty="0">
                <a:latin typeface="+mn-lt"/>
              </a:rPr>
              <a:t> para o mês de abril (época da colheita). No mês de novembro (época do pré-plantio) o valor da saca de soja é de 60,00 Reais. A empresa vendedora de insumo trabalha com margem de lucro de 4,5%, inadimplência de 1%, custo financeiro de 2% ao mês. A soja comercializada na região possui 12% de umidade, 1,5% de impurezas, e 7% para grãos avariados (4% de ardidos) e 25% de grãos quebrados. Precifique a operação, ou seja, calcule a quantidade de sacas de soja que será utilizada para a operação de </a:t>
            </a:r>
            <a:r>
              <a:rPr lang="pt-BR" sz="3000" dirty="0" err="1">
                <a:latin typeface="+mn-lt"/>
              </a:rPr>
              <a:t>Barter</a:t>
            </a:r>
            <a:r>
              <a:rPr lang="pt-BR" sz="3000" dirty="0">
                <a:latin typeface="+mn-lt"/>
              </a:rPr>
              <a:t>.</a:t>
            </a:r>
          </a:p>
        </p:txBody>
      </p:sp>
      <p:sp>
        <p:nvSpPr>
          <p:cNvPr id="1041411" name="Rectangle 3"/>
          <p:cNvSpPr>
            <a:spLocks noChangeArrowheads="1"/>
          </p:cNvSpPr>
          <p:nvPr/>
        </p:nvSpPr>
        <p:spPr bwMode="auto">
          <a:xfrm>
            <a:off x="0" y="53975"/>
            <a:ext cx="9144000" cy="92710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anchor="ctr"/>
          <a:lstStyle/>
          <a:p>
            <a:pPr algn="ctr">
              <a:defRPr/>
            </a:pPr>
            <a:r>
              <a:rPr lang="pt-BR" sz="2800" b="1" dirty="0" smtClean="0">
                <a:effectLst>
                  <a:outerShdw blurRad="38100" dist="38100" dir="2700000" algn="tl">
                    <a:srgbClr val="C0C0C0"/>
                  </a:outerShdw>
                </a:effectLst>
                <a:latin typeface="Tahoma" pitchFamily="34" charset="0"/>
              </a:rPr>
              <a:t>Exercício</a:t>
            </a:r>
            <a:endParaRPr lang="pt-BR" sz="2800" b="1" dirty="0">
              <a:effectLst>
                <a:outerShdw blurRad="38100" dist="38100" dir="2700000" algn="tl">
                  <a:srgbClr val="C0C0C0"/>
                </a:outerShdw>
              </a:effectLst>
              <a:latin typeface="Tahom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949445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8" presetClass="entr" presetSubtype="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14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downRight)">
                                      <p:cBhvr>
                                        <p:cTn id="7" dur="500"/>
                                        <p:tgtEl>
                                          <p:spTgt spid="10414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41410" grpId="0" build="p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1410" name="Text Box 2"/>
          <p:cNvSpPr txBox="1">
            <a:spLocks noChangeArrowheads="1"/>
          </p:cNvSpPr>
          <p:nvPr/>
        </p:nvSpPr>
        <p:spPr bwMode="auto">
          <a:xfrm>
            <a:off x="114300" y="761791"/>
            <a:ext cx="9029700" cy="60939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457200" indent="-457200"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9pPr>
          </a:lstStyle>
          <a:p>
            <a:pPr marL="0" indent="0"/>
            <a:r>
              <a:rPr lang="pt-BR" sz="3000" dirty="0" smtClean="0">
                <a:latin typeface="+mn-lt"/>
              </a:rPr>
              <a:t>Um </a:t>
            </a:r>
            <a:r>
              <a:rPr lang="pt-BR" sz="3000" dirty="0">
                <a:latin typeface="+mn-lt"/>
              </a:rPr>
              <a:t>produtor de soja solicita ao fornecedor de insumo, na época do pré-plantio (mês de </a:t>
            </a:r>
            <a:r>
              <a:rPr lang="pt-BR" sz="3000" b="1" dirty="0">
                <a:solidFill>
                  <a:srgbClr val="FF0000"/>
                </a:solidFill>
                <a:latin typeface="+mn-lt"/>
              </a:rPr>
              <a:t>novembro</a:t>
            </a:r>
            <a:r>
              <a:rPr lang="pt-BR" sz="3000" dirty="0">
                <a:latin typeface="+mn-lt"/>
              </a:rPr>
              <a:t>), </a:t>
            </a:r>
            <a:r>
              <a:rPr lang="pt-BR" sz="3000" b="1" dirty="0">
                <a:solidFill>
                  <a:srgbClr val="FF0000"/>
                </a:solidFill>
                <a:latin typeface="+mn-lt"/>
              </a:rPr>
              <a:t>170.000,00 Reais </a:t>
            </a:r>
            <a:r>
              <a:rPr lang="pt-BR" sz="3000" dirty="0">
                <a:latin typeface="+mn-lt"/>
              </a:rPr>
              <a:t> em insumos para pagamento em soja na colheita, que ocorrerá em </a:t>
            </a:r>
            <a:r>
              <a:rPr lang="pt-BR" sz="3000" b="1" dirty="0">
                <a:solidFill>
                  <a:srgbClr val="FF0000"/>
                </a:solidFill>
                <a:latin typeface="+mn-lt"/>
              </a:rPr>
              <a:t>abril </a:t>
            </a:r>
            <a:r>
              <a:rPr lang="pt-BR" sz="3000" dirty="0">
                <a:latin typeface="+mn-lt"/>
              </a:rPr>
              <a:t>do ano seguinte. No mercado futuro, a soja está cotada a </a:t>
            </a:r>
            <a:r>
              <a:rPr lang="pt-BR" sz="3000" b="1" dirty="0">
                <a:solidFill>
                  <a:srgbClr val="FF0000"/>
                </a:solidFill>
                <a:latin typeface="+mn-lt"/>
              </a:rPr>
              <a:t>65 Reais/</a:t>
            </a:r>
            <a:r>
              <a:rPr lang="pt-BR" sz="3000" b="1" dirty="0" err="1">
                <a:solidFill>
                  <a:srgbClr val="FF0000"/>
                </a:solidFill>
                <a:latin typeface="+mn-lt"/>
              </a:rPr>
              <a:t>sc</a:t>
            </a:r>
            <a:r>
              <a:rPr lang="pt-BR" sz="3000" b="1" dirty="0">
                <a:solidFill>
                  <a:srgbClr val="FF0000"/>
                </a:solidFill>
                <a:latin typeface="+mn-lt"/>
              </a:rPr>
              <a:t> </a:t>
            </a:r>
            <a:r>
              <a:rPr lang="pt-BR" sz="3000" dirty="0">
                <a:latin typeface="+mn-lt"/>
              </a:rPr>
              <a:t>para o mês de abril (época da colheita). No mês de novembro (época do pré-plantio) o valor da saca de soja é de 60,00 Reais. A empresa vendedora de insumo trabalha com </a:t>
            </a:r>
            <a:r>
              <a:rPr lang="pt-BR" sz="3000" b="1" dirty="0">
                <a:solidFill>
                  <a:srgbClr val="FF0000"/>
                </a:solidFill>
                <a:latin typeface="+mn-lt"/>
              </a:rPr>
              <a:t>margem de lucro de 4,5%</a:t>
            </a:r>
            <a:r>
              <a:rPr lang="pt-BR" sz="3000" dirty="0">
                <a:latin typeface="+mn-lt"/>
              </a:rPr>
              <a:t>, </a:t>
            </a:r>
            <a:r>
              <a:rPr lang="pt-BR" sz="3000" b="1" dirty="0">
                <a:solidFill>
                  <a:srgbClr val="FF0000"/>
                </a:solidFill>
                <a:latin typeface="+mn-lt"/>
              </a:rPr>
              <a:t>inadimplência de 1%</a:t>
            </a:r>
            <a:r>
              <a:rPr lang="pt-BR" sz="3000" dirty="0">
                <a:latin typeface="+mn-lt"/>
              </a:rPr>
              <a:t>, </a:t>
            </a:r>
            <a:r>
              <a:rPr lang="pt-BR" sz="3000" b="1" dirty="0">
                <a:solidFill>
                  <a:srgbClr val="FF0000"/>
                </a:solidFill>
                <a:latin typeface="+mn-lt"/>
              </a:rPr>
              <a:t>custo financeiro de 2% ao mês</a:t>
            </a:r>
            <a:r>
              <a:rPr lang="pt-BR" sz="3000" dirty="0">
                <a:latin typeface="+mn-lt"/>
              </a:rPr>
              <a:t>. A soja comercializada na região possui 12% de umidade, 1,5% de impurezas, e 7% para grãos avariados (4% de ardidos) e 25% de grãos quebrados. Precifique a operação, ou seja, calcule a quantidade de sacas de soja que será utilizada para a operação de </a:t>
            </a:r>
            <a:r>
              <a:rPr lang="pt-BR" sz="3000" dirty="0" err="1">
                <a:latin typeface="+mn-lt"/>
              </a:rPr>
              <a:t>Barter</a:t>
            </a:r>
            <a:r>
              <a:rPr lang="pt-BR" sz="3000" dirty="0">
                <a:latin typeface="+mn-lt"/>
              </a:rPr>
              <a:t>.</a:t>
            </a:r>
          </a:p>
        </p:txBody>
      </p:sp>
      <p:sp>
        <p:nvSpPr>
          <p:cNvPr id="1041411" name="Rectangle 3"/>
          <p:cNvSpPr>
            <a:spLocks noChangeArrowheads="1"/>
          </p:cNvSpPr>
          <p:nvPr/>
        </p:nvSpPr>
        <p:spPr bwMode="auto">
          <a:xfrm>
            <a:off x="0" y="53975"/>
            <a:ext cx="9144000" cy="92710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anchor="ctr"/>
          <a:lstStyle/>
          <a:p>
            <a:pPr algn="ctr">
              <a:defRPr/>
            </a:pPr>
            <a:r>
              <a:rPr lang="pt-BR" sz="2800" b="1" dirty="0">
                <a:effectLst>
                  <a:outerShdw blurRad="38100" dist="38100" dir="2700000" algn="tl">
                    <a:srgbClr val="C0C0C0"/>
                  </a:outerShdw>
                </a:effectLst>
                <a:latin typeface="Tahoma" pitchFamily="34" charset="0"/>
              </a:rPr>
              <a:t>Exercício</a:t>
            </a:r>
          </a:p>
        </p:txBody>
      </p:sp>
    </p:spTree>
    <p:extLst>
      <p:ext uri="{BB962C8B-B14F-4D97-AF65-F5344CB8AC3E}">
        <p14:creationId xmlns:p14="http://schemas.microsoft.com/office/powerpoint/2010/main" val="5600463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8" presetClass="entr" presetSubtype="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14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downRight)">
                                      <p:cBhvr>
                                        <p:cTn id="7" dur="500"/>
                                        <p:tgtEl>
                                          <p:spTgt spid="10414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41410" grpId="0" build="p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249" name="Espaço Reservado para Número de Slide 5"/>
          <p:cNvSpPr>
            <a:spLocks noGrp="1"/>
          </p:cNvSpPr>
          <p:nvPr>
            <p:ph type="sldNum" sz="quarter" idx="4294967295"/>
          </p:nvPr>
        </p:nvSpPr>
        <p:spPr>
          <a:xfrm>
            <a:off x="8604448" y="5541235"/>
            <a:ext cx="539552" cy="35665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9pPr>
          </a:lstStyle>
          <a:p>
            <a:fld id="{0A352E09-35C4-4254-9352-61DC910929D6}" type="slidenum">
              <a:rPr lang="pt-BR" smtClean="0"/>
              <a:pPr/>
              <a:t>14</a:t>
            </a:fld>
            <a:endParaRPr lang="pt-BR" smtClean="0"/>
          </a:p>
        </p:txBody>
      </p:sp>
      <p:sp>
        <p:nvSpPr>
          <p:cNvPr id="1041410" name="Text Box 2"/>
          <p:cNvSpPr txBox="1">
            <a:spLocks noChangeArrowheads="1"/>
          </p:cNvSpPr>
          <p:nvPr/>
        </p:nvSpPr>
        <p:spPr bwMode="auto">
          <a:xfrm>
            <a:off x="114300" y="832638"/>
            <a:ext cx="8915400" cy="509370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marL="457200" indent="-457200"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9pPr>
          </a:lstStyle>
          <a:p>
            <a:pPr marL="0" indent="0"/>
            <a:r>
              <a:rPr lang="pt-BR" sz="2500" dirty="0" smtClean="0">
                <a:latin typeface="+mn-lt"/>
              </a:rPr>
              <a:t>Um </a:t>
            </a:r>
            <a:r>
              <a:rPr lang="pt-BR" sz="2500" dirty="0">
                <a:latin typeface="+mn-lt"/>
              </a:rPr>
              <a:t>produtor de soja solicita ao fornecedor de insumo, na época do pré-plantio (mês de </a:t>
            </a:r>
            <a:r>
              <a:rPr lang="pt-BR" sz="2500" b="1" dirty="0">
                <a:solidFill>
                  <a:srgbClr val="FF0000"/>
                </a:solidFill>
                <a:latin typeface="+mn-lt"/>
              </a:rPr>
              <a:t>novembro</a:t>
            </a:r>
            <a:r>
              <a:rPr lang="pt-BR" sz="2500" dirty="0">
                <a:latin typeface="+mn-lt"/>
              </a:rPr>
              <a:t>), </a:t>
            </a:r>
            <a:r>
              <a:rPr lang="pt-BR" sz="2500" b="1" dirty="0">
                <a:solidFill>
                  <a:srgbClr val="FF0000"/>
                </a:solidFill>
                <a:latin typeface="+mn-lt"/>
              </a:rPr>
              <a:t>170.000,00 Reais </a:t>
            </a:r>
            <a:r>
              <a:rPr lang="pt-BR" sz="2500" dirty="0">
                <a:latin typeface="+mn-lt"/>
              </a:rPr>
              <a:t> em insumos para pagamento em soja na colheita, que ocorrerá em </a:t>
            </a:r>
            <a:r>
              <a:rPr lang="pt-BR" sz="2500" b="1" dirty="0">
                <a:solidFill>
                  <a:srgbClr val="FF0000"/>
                </a:solidFill>
                <a:latin typeface="+mn-lt"/>
              </a:rPr>
              <a:t>abril </a:t>
            </a:r>
            <a:r>
              <a:rPr lang="pt-BR" sz="2500" dirty="0">
                <a:latin typeface="+mn-lt"/>
              </a:rPr>
              <a:t>do ano seguinte. No mercado futuro, a soja está cotada a </a:t>
            </a:r>
            <a:r>
              <a:rPr lang="pt-BR" sz="2500" b="1" dirty="0">
                <a:solidFill>
                  <a:srgbClr val="FF0000"/>
                </a:solidFill>
                <a:latin typeface="+mn-lt"/>
              </a:rPr>
              <a:t>65 Reais/</a:t>
            </a:r>
            <a:r>
              <a:rPr lang="pt-BR" sz="2500" b="1" dirty="0" err="1">
                <a:solidFill>
                  <a:srgbClr val="FF0000"/>
                </a:solidFill>
                <a:latin typeface="+mn-lt"/>
              </a:rPr>
              <a:t>sc</a:t>
            </a:r>
            <a:r>
              <a:rPr lang="pt-BR" sz="2500" b="1" dirty="0">
                <a:solidFill>
                  <a:srgbClr val="FF0000"/>
                </a:solidFill>
                <a:latin typeface="+mn-lt"/>
              </a:rPr>
              <a:t> </a:t>
            </a:r>
            <a:r>
              <a:rPr lang="pt-BR" sz="2500" dirty="0">
                <a:latin typeface="+mn-lt"/>
              </a:rPr>
              <a:t>para o mês de abril (época da colheita). No mês de novembro (época do pré-plantio) o valor da saca de soja é de 60,00 Reais. A empresa vendedora de insumo trabalha com </a:t>
            </a:r>
            <a:r>
              <a:rPr lang="pt-BR" sz="2500" b="1" dirty="0">
                <a:solidFill>
                  <a:srgbClr val="FF0000"/>
                </a:solidFill>
                <a:latin typeface="+mn-lt"/>
              </a:rPr>
              <a:t>margem de lucro de 4,5%</a:t>
            </a:r>
            <a:r>
              <a:rPr lang="pt-BR" sz="2500" dirty="0">
                <a:latin typeface="+mn-lt"/>
              </a:rPr>
              <a:t>, </a:t>
            </a:r>
            <a:r>
              <a:rPr lang="pt-BR" sz="2500" b="1" dirty="0">
                <a:solidFill>
                  <a:srgbClr val="FF0000"/>
                </a:solidFill>
                <a:latin typeface="+mn-lt"/>
              </a:rPr>
              <a:t>inadimplência de 1%</a:t>
            </a:r>
            <a:r>
              <a:rPr lang="pt-BR" sz="2500" dirty="0">
                <a:latin typeface="+mn-lt"/>
              </a:rPr>
              <a:t>, </a:t>
            </a:r>
            <a:r>
              <a:rPr lang="pt-BR" sz="2500" b="1" dirty="0">
                <a:solidFill>
                  <a:srgbClr val="FF0000"/>
                </a:solidFill>
                <a:latin typeface="+mn-lt"/>
              </a:rPr>
              <a:t>custo financeiro de 2% ao mês</a:t>
            </a:r>
            <a:r>
              <a:rPr lang="pt-BR" sz="2500" dirty="0">
                <a:latin typeface="+mn-lt"/>
              </a:rPr>
              <a:t>. A soja comercializada na </a:t>
            </a:r>
            <a:r>
              <a:rPr lang="pt-BR" sz="2500" dirty="0">
                <a:solidFill>
                  <a:srgbClr val="0070C0"/>
                </a:solidFill>
                <a:latin typeface="+mn-lt"/>
              </a:rPr>
              <a:t>região possui 12% de umidade, 1,5% de impurezas, e 7% para grãos avariados (4% de ardidos) e 25% de grãos quebrados.</a:t>
            </a:r>
            <a:r>
              <a:rPr lang="pt-BR" sz="2500" dirty="0">
                <a:latin typeface="+mn-lt"/>
              </a:rPr>
              <a:t> Precifique a operação, ou seja, calcule a quantidade de sacas de soja que será utilizada para a operação de </a:t>
            </a:r>
            <a:r>
              <a:rPr lang="pt-BR" sz="2500" dirty="0" err="1">
                <a:latin typeface="+mn-lt"/>
              </a:rPr>
              <a:t>Barter</a:t>
            </a:r>
            <a:r>
              <a:rPr lang="pt-BR" sz="2500" dirty="0">
                <a:latin typeface="+mn-lt"/>
              </a:rPr>
              <a:t>.</a:t>
            </a:r>
          </a:p>
        </p:txBody>
      </p:sp>
      <p:sp>
        <p:nvSpPr>
          <p:cNvPr id="1041411" name="Rectangle 3"/>
          <p:cNvSpPr>
            <a:spLocks noChangeArrowheads="1"/>
          </p:cNvSpPr>
          <p:nvPr/>
        </p:nvSpPr>
        <p:spPr bwMode="auto">
          <a:xfrm>
            <a:off x="0" y="53975"/>
            <a:ext cx="9144000" cy="92710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anchor="ctr"/>
          <a:lstStyle/>
          <a:p>
            <a:pPr algn="ctr">
              <a:defRPr/>
            </a:pPr>
            <a:r>
              <a:rPr lang="pt-BR" sz="2800" b="1" dirty="0" smtClean="0">
                <a:effectLst>
                  <a:outerShdw blurRad="38100" dist="38100" dir="2700000" algn="tl">
                    <a:srgbClr val="C0C0C0"/>
                  </a:outerShdw>
                </a:effectLst>
                <a:latin typeface="Tahoma" pitchFamily="34" charset="0"/>
              </a:rPr>
              <a:t>Exercício</a:t>
            </a:r>
            <a:endParaRPr lang="pt-BR" sz="2800" b="1" dirty="0">
              <a:effectLst>
                <a:outerShdw blurRad="38100" dist="38100" dir="2700000" algn="tl">
                  <a:srgbClr val="C0C0C0"/>
                </a:outerShdw>
              </a:effectLst>
              <a:latin typeface="Tahoma" pitchFamily="34" charset="0"/>
            </a:endParaRPr>
          </a:p>
        </p:txBody>
      </p:sp>
      <p:sp>
        <p:nvSpPr>
          <p:cNvPr id="2" name="CaixaDeTexto 1"/>
          <p:cNvSpPr txBox="1"/>
          <p:nvPr/>
        </p:nvSpPr>
        <p:spPr>
          <a:xfrm>
            <a:off x="2627784" y="1988840"/>
            <a:ext cx="2880320" cy="584775"/>
          </a:xfrm>
          <a:prstGeom prst="rect">
            <a:avLst/>
          </a:prstGeom>
          <a:solidFill>
            <a:srgbClr val="FFFF00"/>
          </a:solidFill>
        </p:spPr>
        <p:txBody>
          <a:bodyPr wrap="square" rtlCol="0">
            <a:spAutoFit/>
          </a:bodyPr>
          <a:lstStyle/>
          <a:p>
            <a:pPr algn="ctr"/>
            <a:r>
              <a:rPr lang="pt-BR" sz="3200" dirty="0" smtClean="0"/>
              <a:t>CINCO MESES</a:t>
            </a:r>
            <a:endParaRPr lang="pt-BR" sz="3200" dirty="0"/>
          </a:p>
        </p:txBody>
      </p:sp>
      <p:sp>
        <p:nvSpPr>
          <p:cNvPr id="5" name="Seta para baixo 4"/>
          <p:cNvSpPr/>
          <p:nvPr/>
        </p:nvSpPr>
        <p:spPr>
          <a:xfrm>
            <a:off x="2843808" y="1556792"/>
            <a:ext cx="216024" cy="432048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6" name="Seta para a direita 5"/>
          <p:cNvSpPr/>
          <p:nvPr/>
        </p:nvSpPr>
        <p:spPr>
          <a:xfrm rot="20909863">
            <a:off x="5512288" y="2014960"/>
            <a:ext cx="1728192" cy="216024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0" name="CaixaDeTexto 9"/>
          <p:cNvSpPr txBox="1"/>
          <p:nvPr/>
        </p:nvSpPr>
        <p:spPr>
          <a:xfrm>
            <a:off x="1043608" y="5301208"/>
            <a:ext cx="7069102" cy="1077218"/>
          </a:xfrm>
          <a:prstGeom prst="rect">
            <a:avLst/>
          </a:prstGeom>
          <a:solidFill>
            <a:srgbClr val="FFFF00"/>
          </a:solidFill>
        </p:spPr>
        <p:txBody>
          <a:bodyPr wrap="square" rtlCol="0">
            <a:spAutoFit/>
          </a:bodyPr>
          <a:lstStyle/>
          <a:p>
            <a:pPr algn="ctr"/>
            <a:r>
              <a:rPr lang="pt-BR" sz="3200" dirty="0" smtClean="0"/>
              <a:t>INFORMAÇÕES DESNECESSÁRIAS PARA SOLUÇÃO DESTE PROBLEMA</a:t>
            </a:r>
            <a:endParaRPr lang="pt-BR" sz="3200" dirty="0"/>
          </a:p>
        </p:txBody>
      </p:sp>
      <p:sp>
        <p:nvSpPr>
          <p:cNvPr id="7" name="Elipse 6"/>
          <p:cNvSpPr/>
          <p:nvPr/>
        </p:nvSpPr>
        <p:spPr>
          <a:xfrm>
            <a:off x="107504" y="3429000"/>
            <a:ext cx="8856984" cy="1224136"/>
          </a:xfrm>
          <a:prstGeom prst="ellipse">
            <a:avLst/>
          </a:prstGeom>
          <a:noFill/>
          <a:ln w="762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>
              <a:noFill/>
            </a:endParaRPr>
          </a:p>
        </p:txBody>
      </p:sp>
      <p:sp>
        <p:nvSpPr>
          <p:cNvPr id="8" name="Seta para baixo 7"/>
          <p:cNvSpPr/>
          <p:nvPr/>
        </p:nvSpPr>
        <p:spPr>
          <a:xfrm>
            <a:off x="4427984" y="4653136"/>
            <a:ext cx="288032" cy="648072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7228689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8" presetClass="entr" presetSubtype="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14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downRight)">
                                      <p:cBhvr>
                                        <p:cTn id="7" dur="500"/>
                                        <p:tgtEl>
                                          <p:spTgt spid="10414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41410" grpId="0" build="p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40502" name="Group 118"/>
          <p:cNvGraphicFramePr>
            <a:graphicFrameLocks noGrp="1"/>
          </p:cNvGraphicFramePr>
          <p:nvPr>
            <p:ph sz="quarter" idx="13"/>
            <p:extLst>
              <p:ext uri="{D42A27DB-BD31-4B8C-83A1-F6EECF244321}">
                <p14:modId xmlns:p14="http://schemas.microsoft.com/office/powerpoint/2010/main" val="2455566513"/>
              </p:ext>
            </p:extLst>
          </p:nvPr>
        </p:nvGraphicFramePr>
        <p:xfrm>
          <a:off x="611188" y="1316038"/>
          <a:ext cx="8113594" cy="3627617"/>
        </p:xfrm>
        <a:graphic>
          <a:graphicData uri="http://schemas.openxmlformats.org/drawingml/2006/table">
            <a:tbl>
              <a:tblPr/>
              <a:tblGrid>
                <a:gridCol w="720452"/>
                <a:gridCol w="4793189"/>
                <a:gridCol w="2599953"/>
              </a:tblGrid>
              <a:tr h="518231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2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(1)</a:t>
                      </a:r>
                    </a:p>
                  </a:txBody>
                  <a:tcPr marL="94419" marR="94419" marT="45726" marB="45726" horzOverflow="overflow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2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Custo total</a:t>
                      </a:r>
                    </a:p>
                  </a:txBody>
                  <a:tcPr marL="94419" marR="94419" marT="45726" marB="45726" horzOverflow="overflow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2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R$ </a:t>
                      </a:r>
                    </a:p>
                  </a:txBody>
                  <a:tcPr marL="94419" marR="94419" marT="45726" marB="45726" horzOverflow="overflow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518231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2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(2)</a:t>
                      </a:r>
                    </a:p>
                  </a:txBody>
                  <a:tcPr marL="94419" marR="94419" marT="45726" marB="45726" horzOverflow="overflow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2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Margem de lucro (4,5%)</a:t>
                      </a:r>
                    </a:p>
                  </a:txBody>
                  <a:tcPr marL="94419" marR="94419" marT="45726" marB="45726" horzOverflow="overflow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2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R$</a:t>
                      </a:r>
                    </a:p>
                  </a:txBody>
                  <a:tcPr marL="94419" marR="94419" marT="45726" marB="45726" horzOverflow="overflow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518231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2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(3)</a:t>
                      </a:r>
                    </a:p>
                  </a:txBody>
                  <a:tcPr marL="94419" marR="94419" marT="45726" marB="45726" horzOverflow="overflow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2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Subtotal (1) + (2)</a:t>
                      </a:r>
                    </a:p>
                  </a:txBody>
                  <a:tcPr marL="94419" marR="94419" marT="45726" marB="45726" horzOverflow="overflow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2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R$</a:t>
                      </a:r>
                    </a:p>
                  </a:txBody>
                  <a:tcPr marL="94419" marR="94419" marT="45726" marB="45726" horzOverflow="overflow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518231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2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(4)</a:t>
                      </a:r>
                    </a:p>
                  </a:txBody>
                  <a:tcPr marL="94419" marR="94419" marT="45726" marB="45726" horzOverflow="overflow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2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Risco de crédito (1%)</a:t>
                      </a:r>
                    </a:p>
                  </a:txBody>
                  <a:tcPr marL="94419" marR="94419" marT="45726" marB="45726" horzOverflow="overflow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2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R$</a:t>
                      </a:r>
                    </a:p>
                  </a:txBody>
                  <a:tcPr marL="94419" marR="94419" marT="45726" marB="45726" horzOverflow="overflow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518231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2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(5)</a:t>
                      </a:r>
                    </a:p>
                  </a:txBody>
                  <a:tcPr marL="94419" marR="94419" marT="45726" marB="45726" horzOverflow="overflow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2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Subtotal (3) + (4)</a:t>
                      </a:r>
                    </a:p>
                  </a:txBody>
                  <a:tcPr marL="94419" marR="94419" marT="45726" marB="45726" horzOverflow="overflow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2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R$</a:t>
                      </a:r>
                    </a:p>
                  </a:txBody>
                  <a:tcPr marL="94419" marR="94419" marT="45726" marB="45726" horzOverflow="overflow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518231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2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(6)</a:t>
                      </a:r>
                    </a:p>
                  </a:txBody>
                  <a:tcPr marL="94419" marR="94419" marT="45726" marB="45726" horzOverflow="overflow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2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Juros (2% a.m. em 5 meses)</a:t>
                      </a:r>
                    </a:p>
                  </a:txBody>
                  <a:tcPr marL="94419" marR="94419" marT="45726" marB="45726" horzOverflow="overflow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2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R$</a:t>
                      </a:r>
                    </a:p>
                  </a:txBody>
                  <a:tcPr marL="94419" marR="94419" marT="45726" marB="45726" horzOverflow="overflow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518231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2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(7)</a:t>
                      </a:r>
                    </a:p>
                  </a:txBody>
                  <a:tcPr marL="94419" marR="94419" marT="45726" marB="45726" horzOverflow="overflow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2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Total (5) + (6)</a:t>
                      </a:r>
                    </a:p>
                  </a:txBody>
                  <a:tcPr marL="94419" marR="94419" marT="45726" marB="45726" horzOverflow="overflow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2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R$                      </a:t>
                      </a:r>
                    </a:p>
                  </a:txBody>
                  <a:tcPr marL="94419" marR="94419" marT="45726" marB="45726" horzOverflow="overflow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1040386" name="Text Box 2"/>
          <p:cNvSpPr txBox="1">
            <a:spLocks noChangeArrowheads="1"/>
          </p:cNvSpPr>
          <p:nvPr/>
        </p:nvSpPr>
        <p:spPr bwMode="auto">
          <a:xfrm>
            <a:off x="304800" y="764704"/>
            <a:ext cx="8470900" cy="56630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marL="457200" indent="-457200"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9pPr>
          </a:lstStyle>
          <a:p>
            <a:pPr>
              <a:lnSpc>
                <a:spcPct val="110000"/>
              </a:lnSpc>
              <a:spcBef>
                <a:spcPct val="30000"/>
              </a:spcBef>
              <a:buFont typeface="Wingdings" pitchFamily="2" charset="2"/>
              <a:buChar char="§"/>
            </a:pPr>
            <a:r>
              <a:rPr lang="pt-BR" sz="2800" dirty="0">
                <a:latin typeface="Arial" pitchFamily="34" charset="0"/>
              </a:rPr>
              <a:t>Valor do insumo a ser recuperado (em R$):</a:t>
            </a:r>
          </a:p>
        </p:txBody>
      </p:sp>
      <p:sp>
        <p:nvSpPr>
          <p:cNvPr id="54275" name="Rectangle 3"/>
          <p:cNvSpPr>
            <a:spLocks noChangeArrowheads="1"/>
          </p:cNvSpPr>
          <p:nvPr/>
        </p:nvSpPr>
        <p:spPr bwMode="auto">
          <a:xfrm>
            <a:off x="0" y="53975"/>
            <a:ext cx="9144000" cy="927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r>
              <a:rPr lang="pt-BR" sz="3600" b="1">
                <a:latin typeface="Tahoma" pitchFamily="34" charset="0"/>
              </a:rPr>
              <a:t>Precificando a operação</a:t>
            </a:r>
          </a:p>
        </p:txBody>
      </p:sp>
      <p:graphicFrame>
        <p:nvGraphicFramePr>
          <p:cNvPr id="1040620" name="Group 23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11589554"/>
              </p:ext>
            </p:extLst>
          </p:nvPr>
        </p:nvGraphicFramePr>
        <p:xfrm>
          <a:off x="6426622" y="1325712"/>
          <a:ext cx="2321842" cy="519112"/>
        </p:xfrm>
        <a:graphic>
          <a:graphicData uri="http://schemas.openxmlformats.org/drawingml/2006/table">
            <a:tbl>
              <a:tblPr/>
              <a:tblGrid>
                <a:gridCol w="2321842"/>
              </a:tblGrid>
              <a:tr h="519112"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2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170.000,00</a:t>
                      </a:r>
                    </a:p>
                  </a:txBody>
                  <a:tcPr marT="45804" marB="45804" horzOverflow="overflow">
                    <a:lnL cap="flat">
                      <a:noFill/>
                    </a:lnL>
                    <a:lnR cap="flat"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graphicFrame>
        <p:nvGraphicFramePr>
          <p:cNvPr id="1040675" name="Group 29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9502168"/>
              </p:ext>
            </p:extLst>
          </p:nvPr>
        </p:nvGraphicFramePr>
        <p:xfrm>
          <a:off x="7118326" y="1832369"/>
          <a:ext cx="1612552" cy="518048"/>
        </p:xfrm>
        <a:graphic>
          <a:graphicData uri="http://schemas.openxmlformats.org/drawingml/2006/table">
            <a:tbl>
              <a:tblPr/>
              <a:tblGrid>
                <a:gridCol w="1612552"/>
              </a:tblGrid>
              <a:tr h="517525"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2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7.650,00</a:t>
                      </a:r>
                    </a:p>
                  </a:txBody>
                  <a:tcPr marL="91392" marR="91392" marT="45664" marB="45664" horzOverflow="overflow">
                    <a:lnL cap="flat">
                      <a:noFill/>
                    </a:lnL>
                    <a:lnR cap="flat"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graphicFrame>
        <p:nvGraphicFramePr>
          <p:cNvPr id="1040714" name="Group 33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4930257"/>
              </p:ext>
            </p:extLst>
          </p:nvPr>
        </p:nvGraphicFramePr>
        <p:xfrm>
          <a:off x="5778550" y="2341957"/>
          <a:ext cx="2951311" cy="519112"/>
        </p:xfrm>
        <a:graphic>
          <a:graphicData uri="http://schemas.openxmlformats.org/drawingml/2006/table">
            <a:tbl>
              <a:tblPr/>
              <a:tblGrid>
                <a:gridCol w="2951311"/>
              </a:tblGrid>
              <a:tr h="519112"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2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177.650,00</a:t>
                      </a:r>
                    </a:p>
                  </a:txBody>
                  <a:tcPr marL="91444" marR="91444" marT="45804" marB="45804" horzOverflow="overflow">
                    <a:lnL cap="flat">
                      <a:noFill/>
                    </a:lnL>
                    <a:lnR cap="flat"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graphicFrame>
        <p:nvGraphicFramePr>
          <p:cNvPr id="1040750" name="Group 36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48389618"/>
              </p:ext>
            </p:extLst>
          </p:nvPr>
        </p:nvGraphicFramePr>
        <p:xfrm>
          <a:off x="5975400" y="2861069"/>
          <a:ext cx="2755478" cy="519113"/>
        </p:xfrm>
        <a:graphic>
          <a:graphicData uri="http://schemas.openxmlformats.org/drawingml/2006/table">
            <a:tbl>
              <a:tblPr/>
              <a:tblGrid>
                <a:gridCol w="2755478"/>
              </a:tblGrid>
              <a:tr h="519113"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2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1.776,50</a:t>
                      </a:r>
                    </a:p>
                  </a:txBody>
                  <a:tcPr marL="91442" marR="91442" marT="45804" marB="45804" horzOverflow="overflow">
                    <a:lnL cap="flat">
                      <a:noFill/>
                    </a:lnL>
                    <a:lnR cap="flat"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graphicFrame>
        <p:nvGraphicFramePr>
          <p:cNvPr id="1040786" name="Group 40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17567500"/>
              </p:ext>
            </p:extLst>
          </p:nvPr>
        </p:nvGraphicFramePr>
        <p:xfrm>
          <a:off x="5778550" y="3381769"/>
          <a:ext cx="2952328" cy="518048"/>
        </p:xfrm>
        <a:graphic>
          <a:graphicData uri="http://schemas.openxmlformats.org/drawingml/2006/table">
            <a:tbl>
              <a:tblPr/>
              <a:tblGrid>
                <a:gridCol w="2952328"/>
              </a:tblGrid>
              <a:tr h="517525"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2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179.426,50</a:t>
                      </a:r>
                    </a:p>
                  </a:txBody>
                  <a:tcPr marL="91411" marR="91411" marT="45664" marB="45664" horzOverflow="overflow">
                    <a:lnL cap="flat">
                      <a:noFill/>
                    </a:lnL>
                    <a:lnR cap="flat"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graphicFrame>
        <p:nvGraphicFramePr>
          <p:cNvPr id="1040818" name="Group 43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05637314"/>
              </p:ext>
            </p:extLst>
          </p:nvPr>
        </p:nvGraphicFramePr>
        <p:xfrm>
          <a:off x="5940152" y="3910407"/>
          <a:ext cx="2757189" cy="518048"/>
        </p:xfrm>
        <a:graphic>
          <a:graphicData uri="http://schemas.openxmlformats.org/drawingml/2006/table">
            <a:tbl>
              <a:tblPr/>
              <a:tblGrid>
                <a:gridCol w="2757189"/>
              </a:tblGrid>
              <a:tr h="517525"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2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18.674,85</a:t>
                      </a:r>
                    </a:p>
                  </a:txBody>
                  <a:tcPr marL="91414" marR="91414" marT="45664" marB="45664" horzOverflow="overflow">
                    <a:lnL cap="flat">
                      <a:noFill/>
                    </a:lnL>
                    <a:lnR cap="flat"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graphicFrame>
        <p:nvGraphicFramePr>
          <p:cNvPr id="1040848" name="Group 46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6256501"/>
              </p:ext>
            </p:extLst>
          </p:nvPr>
        </p:nvGraphicFramePr>
        <p:xfrm>
          <a:off x="6516216" y="4421582"/>
          <a:ext cx="2170112" cy="518048"/>
        </p:xfrm>
        <a:graphic>
          <a:graphicData uri="http://schemas.openxmlformats.org/drawingml/2006/table">
            <a:tbl>
              <a:tblPr/>
              <a:tblGrid>
                <a:gridCol w="2170112"/>
              </a:tblGrid>
              <a:tr h="517525"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2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198.101,35</a:t>
                      </a:r>
                    </a:p>
                  </a:txBody>
                  <a:tcPr marT="45664" marB="45664" horzOverflow="overflow">
                    <a:lnL cap="flat">
                      <a:noFill/>
                    </a:lnL>
                    <a:lnR cap="flat"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9277218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8" presetClass="entr" presetSubtype="6" fill="hold" grpId="0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03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downRight)">
                                      <p:cBhvr>
                                        <p:cTn id="7" dur="500"/>
                                        <p:tgtEl>
                                          <p:spTgt spid="104038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 nodeType="afterGroup">
                            <p:stCondLst>
                              <p:cond delay="1500"/>
                            </p:stCondLst>
                            <p:childTnLst>
                              <p:par>
                                <p:cTn id="9" presetID="4" presetClass="entr" presetSubtype="3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050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out)">
                                      <p:cBhvr>
                                        <p:cTn id="11" dur="1000"/>
                                        <p:tgtEl>
                                          <p:spTgt spid="104050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 nodeType="clickPar">
                      <p:stCondLst>
                        <p:cond delay="indefinite"/>
                      </p:stCondLst>
                      <p:childTnLst>
                        <p:par>
                          <p:cTn id="13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4" presetID="2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06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6" dur="500" fill="hold"/>
                                        <p:tgtEl>
                                          <p:spTgt spid="104062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7" dur="500" fill="hold"/>
                                        <p:tgtEl>
                                          <p:spTgt spid="104062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 nodeType="clickPar">
                      <p:stCondLst>
                        <p:cond delay="indefinite"/>
                      </p:stCondLst>
                      <p:childTnLst>
                        <p:par>
                          <p:cTn id="19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20" presetID="2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06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2" dur="500" fill="hold"/>
                                        <p:tgtEl>
                                          <p:spTgt spid="104067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" dur="500" fill="hold"/>
                                        <p:tgtEl>
                                          <p:spTgt spid="104067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 nodeType="clickPar">
                      <p:stCondLst>
                        <p:cond delay="indefinite"/>
                      </p:stCondLst>
                      <p:childTnLst>
                        <p:par>
                          <p:cTn id="25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26" presetID="2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07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8" dur="500" fill="hold"/>
                                        <p:tgtEl>
                                          <p:spTgt spid="104071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" dur="500" fill="hold"/>
                                        <p:tgtEl>
                                          <p:spTgt spid="104071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0" fill="hold" nodeType="clickPar">
                      <p:stCondLst>
                        <p:cond delay="indefinite"/>
                      </p:stCondLst>
                      <p:childTnLst>
                        <p:par>
                          <p:cTn id="31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32" presetID="2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07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4" dur="500" fill="hold"/>
                                        <p:tgtEl>
                                          <p:spTgt spid="104075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5" dur="500" fill="hold"/>
                                        <p:tgtEl>
                                          <p:spTgt spid="104075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6" fill="hold" nodeType="clickPar">
                      <p:stCondLst>
                        <p:cond delay="indefinite"/>
                      </p:stCondLst>
                      <p:childTnLst>
                        <p:par>
                          <p:cTn id="37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38" presetID="2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07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0" dur="500" fill="hold"/>
                                        <p:tgtEl>
                                          <p:spTgt spid="104078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1" dur="500" fill="hold"/>
                                        <p:tgtEl>
                                          <p:spTgt spid="104078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2" fill="hold" nodeType="clickPar">
                      <p:stCondLst>
                        <p:cond delay="indefinite"/>
                      </p:stCondLst>
                      <p:childTnLst>
                        <p:par>
                          <p:cTn id="43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44" presetID="2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08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6" dur="500" fill="hold"/>
                                        <p:tgtEl>
                                          <p:spTgt spid="104081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7" dur="500" fill="hold"/>
                                        <p:tgtEl>
                                          <p:spTgt spid="104081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8" fill="hold" nodeType="clickPar">
                      <p:stCondLst>
                        <p:cond delay="indefinite"/>
                      </p:stCondLst>
                      <p:childTnLst>
                        <p:par>
                          <p:cTn id="49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0" presetID="2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08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2" dur="500" fill="hold"/>
                                        <p:tgtEl>
                                          <p:spTgt spid="104084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3" dur="500" fill="hold"/>
                                        <p:tgtEl>
                                          <p:spTgt spid="104084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40386" grpId="0" autoUpdateAnimBg="0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44873" name="Group 393"/>
          <p:cNvGraphicFramePr>
            <a:graphicFrameLocks noGrp="1"/>
          </p:cNvGraphicFramePr>
          <p:nvPr>
            <p:ph sz="quarter" idx="13"/>
            <p:extLst>
              <p:ext uri="{D42A27DB-BD31-4B8C-83A1-F6EECF244321}">
                <p14:modId xmlns:p14="http://schemas.microsoft.com/office/powerpoint/2010/main" val="2650972310"/>
              </p:ext>
            </p:extLst>
          </p:nvPr>
        </p:nvGraphicFramePr>
        <p:xfrm>
          <a:off x="611188" y="4321374"/>
          <a:ext cx="7777165" cy="1555749"/>
        </p:xfrm>
        <a:graphic>
          <a:graphicData uri="http://schemas.openxmlformats.org/drawingml/2006/table">
            <a:tbl>
              <a:tblPr/>
              <a:tblGrid>
                <a:gridCol w="1149954"/>
                <a:gridCol w="3770404"/>
                <a:gridCol w="2856807"/>
              </a:tblGrid>
              <a:tr h="518583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2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(1)</a:t>
                      </a:r>
                    </a:p>
                  </a:txBody>
                  <a:tcPr marL="97161" marR="97161" marT="45757" marB="45757" horzOverflow="overflow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2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Valor em Reais</a:t>
                      </a:r>
                    </a:p>
                  </a:txBody>
                  <a:tcPr marL="97161" marR="97161" marT="45757" marB="45757" horzOverflow="overflow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174625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2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R$</a:t>
                      </a:r>
                    </a:p>
                  </a:txBody>
                  <a:tcPr marL="97161" marR="97161" marT="45757" marB="45757" horzOverflow="overflow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518583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2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(2)</a:t>
                      </a:r>
                    </a:p>
                  </a:txBody>
                  <a:tcPr marL="97161" marR="97161" marT="45757" marB="45757" horzOverflow="overflow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2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Preço (por </a:t>
                      </a:r>
                      <a:r>
                        <a:rPr kumimoji="0" lang="pt-BR" sz="2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sc</a:t>
                      </a:r>
                      <a:r>
                        <a:rPr kumimoji="0" lang="pt-BR" sz="2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)</a:t>
                      </a:r>
                    </a:p>
                  </a:txBody>
                  <a:tcPr marL="97161" marR="97161" marT="45757" marB="45757" horzOverflow="overflow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2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R$           /</a:t>
                      </a:r>
                      <a:r>
                        <a:rPr kumimoji="0" lang="pt-BR" sz="2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sc</a:t>
                      </a:r>
                      <a:endParaRPr kumimoji="0" lang="pt-BR" sz="2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7161" marR="97161" marT="45757" marB="45757" horzOverflow="overflow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518583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2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(3)</a:t>
                      </a:r>
                    </a:p>
                  </a:txBody>
                  <a:tcPr marL="97161" marR="97161" marT="45757" marB="45757" horzOverflow="overflow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2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Valor em </a:t>
                      </a:r>
                      <a:r>
                        <a:rPr kumimoji="0" lang="pt-BR" sz="2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sc</a:t>
                      </a:r>
                      <a:r>
                        <a:rPr kumimoji="0" lang="pt-BR" sz="2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 (1) </a:t>
                      </a:r>
                      <a:r>
                        <a:rPr kumimoji="0" lang="en-US" sz="2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÷</a:t>
                      </a:r>
                      <a:r>
                        <a:rPr kumimoji="0" lang="pt-BR" sz="2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 (2)</a:t>
                      </a:r>
                    </a:p>
                  </a:txBody>
                  <a:tcPr marL="97161" marR="97161" marT="45757" marB="45757" horzOverflow="overflow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174625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2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sc</a:t>
                      </a:r>
                      <a:endParaRPr kumimoji="0" lang="pt-BR" sz="2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7161" marR="97161" marT="45757" marB="45757" horzOverflow="overflow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1044482" name="Text Box 2"/>
          <p:cNvSpPr txBox="1">
            <a:spLocks noChangeArrowheads="1"/>
          </p:cNvSpPr>
          <p:nvPr/>
        </p:nvSpPr>
        <p:spPr bwMode="auto">
          <a:xfrm>
            <a:off x="25880" y="3763527"/>
            <a:ext cx="9001000" cy="5295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457200" indent="-457200"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9pPr>
          </a:lstStyle>
          <a:p>
            <a:pPr>
              <a:lnSpc>
                <a:spcPct val="110000"/>
              </a:lnSpc>
              <a:spcBef>
                <a:spcPct val="30000"/>
              </a:spcBef>
              <a:buFont typeface="Wingdings" pitchFamily="2" charset="2"/>
              <a:buChar char="§"/>
            </a:pPr>
            <a:r>
              <a:rPr lang="pt-BR" sz="2800" dirty="0" smtClean="0">
                <a:latin typeface="Arial" pitchFamily="34" charset="0"/>
              </a:rPr>
              <a:t>Valor </a:t>
            </a:r>
            <a:r>
              <a:rPr lang="pt-BR" sz="2800" dirty="0">
                <a:latin typeface="Arial" pitchFamily="34" charset="0"/>
              </a:rPr>
              <a:t>do insumo a ser recuperado (em </a:t>
            </a:r>
            <a:r>
              <a:rPr lang="pt-BR" sz="2800" dirty="0" err="1">
                <a:latin typeface="Arial" pitchFamily="34" charset="0"/>
              </a:rPr>
              <a:t>sc</a:t>
            </a:r>
            <a:r>
              <a:rPr lang="pt-BR" sz="2800" dirty="0">
                <a:latin typeface="Arial" pitchFamily="34" charset="0"/>
              </a:rPr>
              <a:t>): </a:t>
            </a:r>
          </a:p>
        </p:txBody>
      </p:sp>
      <p:sp>
        <p:nvSpPr>
          <p:cNvPr id="55299" name="Rectangle 3"/>
          <p:cNvSpPr>
            <a:spLocks noChangeArrowheads="1"/>
          </p:cNvSpPr>
          <p:nvPr/>
        </p:nvSpPr>
        <p:spPr bwMode="auto">
          <a:xfrm>
            <a:off x="0" y="53975"/>
            <a:ext cx="9144000" cy="927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r>
              <a:rPr lang="pt-BR" sz="3600" b="1">
                <a:latin typeface="Tahoma" pitchFamily="34" charset="0"/>
              </a:rPr>
              <a:t>Precificando a operação</a:t>
            </a:r>
          </a:p>
        </p:txBody>
      </p:sp>
      <p:graphicFrame>
        <p:nvGraphicFramePr>
          <p:cNvPr id="1044625" name="Group 14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03789907"/>
              </p:ext>
            </p:extLst>
          </p:nvPr>
        </p:nvGraphicFramePr>
        <p:xfrm>
          <a:off x="6354763" y="4311997"/>
          <a:ext cx="2052637" cy="518048"/>
        </p:xfrm>
        <a:graphic>
          <a:graphicData uri="http://schemas.openxmlformats.org/drawingml/2006/table">
            <a:tbl>
              <a:tblPr/>
              <a:tblGrid>
                <a:gridCol w="2052637"/>
              </a:tblGrid>
              <a:tr h="517525"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2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198.101,35</a:t>
                      </a:r>
                    </a:p>
                  </a:txBody>
                  <a:tcPr marL="91470" marR="91470" marT="45664" marB="45664" horzOverflow="overflow">
                    <a:lnL cap="flat">
                      <a:noFill/>
                    </a:lnL>
                    <a:lnR cap="flat"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graphicFrame>
        <p:nvGraphicFramePr>
          <p:cNvPr id="1044875" name="Group 39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69800711"/>
              </p:ext>
            </p:extLst>
          </p:nvPr>
        </p:nvGraphicFramePr>
        <p:xfrm>
          <a:off x="6492875" y="4824760"/>
          <a:ext cx="1381125" cy="518048"/>
        </p:xfrm>
        <a:graphic>
          <a:graphicData uri="http://schemas.openxmlformats.org/drawingml/2006/table">
            <a:tbl>
              <a:tblPr/>
              <a:tblGrid>
                <a:gridCol w="1381125"/>
              </a:tblGrid>
              <a:tr h="517525"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2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65,00</a:t>
                      </a:r>
                    </a:p>
                  </a:txBody>
                  <a:tcPr marL="91371" marR="91371" marT="45664" marB="45664" horzOverflow="overflow">
                    <a:lnL cap="flat">
                      <a:noFill/>
                    </a:lnL>
                    <a:lnR cap="flat"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graphicFrame>
        <p:nvGraphicFramePr>
          <p:cNvPr id="1044877" name="Group 39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13662005"/>
              </p:ext>
            </p:extLst>
          </p:nvPr>
        </p:nvGraphicFramePr>
        <p:xfrm>
          <a:off x="6129338" y="5358160"/>
          <a:ext cx="1785937" cy="519112"/>
        </p:xfrm>
        <a:graphic>
          <a:graphicData uri="http://schemas.openxmlformats.org/drawingml/2006/table">
            <a:tbl>
              <a:tblPr/>
              <a:tblGrid>
                <a:gridCol w="1785937"/>
              </a:tblGrid>
              <a:tr h="519112"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2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3.047,71</a:t>
                      </a:r>
                    </a:p>
                  </a:txBody>
                  <a:tcPr marL="91418" marR="91418" marT="45804" marB="45804" horzOverflow="overflow">
                    <a:lnL cap="flat">
                      <a:noFill/>
                    </a:lnL>
                    <a:lnR cap="flat"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pic>
        <p:nvPicPr>
          <p:cNvPr id="7169" name="Picture 1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97459" y="845068"/>
            <a:ext cx="6342893" cy="287196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0961262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8" presetClass="entr" presetSubtype="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448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downRight)">
                                      <p:cBhvr>
                                        <p:cTn id="7" dur="500"/>
                                        <p:tgtEl>
                                          <p:spTgt spid="104448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 nodeType="afterGroup">
                            <p:stCondLst>
                              <p:cond delay="500"/>
                            </p:stCondLst>
                            <p:childTnLst>
                              <p:par>
                                <p:cTn id="9" presetID="4" presetClass="entr" presetSubtype="3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48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out)">
                                      <p:cBhvr>
                                        <p:cTn id="11" dur="1000"/>
                                        <p:tgtEl>
                                          <p:spTgt spid="104487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 nodeType="clickPar">
                      <p:stCondLst>
                        <p:cond delay="indefinite"/>
                      </p:stCondLst>
                      <p:childTnLst>
                        <p:par>
                          <p:cTn id="13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4" presetID="2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46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6" dur="500" fill="hold"/>
                                        <p:tgtEl>
                                          <p:spTgt spid="104462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7" dur="500" fill="hold"/>
                                        <p:tgtEl>
                                          <p:spTgt spid="104462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 nodeType="clickPar">
                      <p:stCondLst>
                        <p:cond delay="indefinite"/>
                      </p:stCondLst>
                      <p:childTnLst>
                        <p:par>
                          <p:cTn id="19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20" presetID="2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48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2" dur="500" fill="hold"/>
                                        <p:tgtEl>
                                          <p:spTgt spid="104487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" dur="500" fill="hold"/>
                                        <p:tgtEl>
                                          <p:spTgt spid="104487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 nodeType="clickPar">
                      <p:stCondLst>
                        <p:cond delay="indefinite"/>
                      </p:stCondLst>
                      <p:childTnLst>
                        <p:par>
                          <p:cTn id="25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26" presetID="2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48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8" dur="500" fill="hold"/>
                                        <p:tgtEl>
                                          <p:spTgt spid="104487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" dur="500" fill="hold"/>
                                        <p:tgtEl>
                                          <p:spTgt spid="104487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44482" grpId="0" build="p" autoUpdateAnimBg="0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50978" name="Text Box 2"/>
          <p:cNvSpPr txBox="1">
            <a:spLocks noChangeArrowheads="1"/>
          </p:cNvSpPr>
          <p:nvPr/>
        </p:nvSpPr>
        <p:spPr bwMode="auto">
          <a:xfrm>
            <a:off x="426019" y="1340768"/>
            <a:ext cx="8250437" cy="50538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457200" indent="-457200"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9pPr>
          </a:lstStyle>
          <a:p>
            <a:pPr>
              <a:lnSpc>
                <a:spcPct val="110000"/>
              </a:lnSpc>
              <a:spcBef>
                <a:spcPct val="30000"/>
              </a:spcBef>
              <a:buFont typeface="Wingdings" pitchFamily="2" charset="2"/>
              <a:buChar char="§"/>
            </a:pPr>
            <a:r>
              <a:rPr lang="pt-BR" sz="2800" dirty="0">
                <a:latin typeface="Arial" pitchFamily="34" charset="0"/>
              </a:rPr>
              <a:t>Choques externos (demanda da China e quebra da safra EUA) tornaram o preço spot muito superior ao contratado, tornando vantajosa a quebra de contratos: alguns produtores preferiram ganhos de curto prazo e não apostar na relação de longo prazo com indústria/tradings.</a:t>
            </a:r>
          </a:p>
          <a:p>
            <a:pPr>
              <a:lnSpc>
                <a:spcPct val="110000"/>
              </a:lnSpc>
              <a:spcBef>
                <a:spcPct val="30000"/>
              </a:spcBef>
              <a:buFont typeface="Wingdings" pitchFamily="2" charset="2"/>
              <a:buChar char="§"/>
            </a:pPr>
            <a:r>
              <a:rPr lang="pt-BR" sz="2800" dirty="0">
                <a:latin typeface="Arial" pitchFamily="34" charset="0"/>
              </a:rPr>
              <a:t>Quebra contratual de alguns alterou condições para todos.</a:t>
            </a:r>
          </a:p>
          <a:p>
            <a:pPr>
              <a:lnSpc>
                <a:spcPct val="110000"/>
              </a:lnSpc>
              <a:spcBef>
                <a:spcPct val="30000"/>
              </a:spcBef>
              <a:buFont typeface="Wingdings" pitchFamily="2" charset="2"/>
              <a:buChar char="§"/>
            </a:pPr>
            <a:r>
              <a:rPr lang="pt-BR" sz="2800" dirty="0">
                <a:latin typeface="Arial" pitchFamily="34" charset="0"/>
              </a:rPr>
              <a:t>Incerteza jurídica</a:t>
            </a:r>
          </a:p>
        </p:txBody>
      </p:sp>
      <p:sp>
        <p:nvSpPr>
          <p:cNvPr id="1150979" name="Rectangle 3"/>
          <p:cNvSpPr>
            <a:spLocks noChangeArrowheads="1"/>
          </p:cNvSpPr>
          <p:nvPr/>
        </p:nvSpPr>
        <p:spPr bwMode="auto">
          <a:xfrm>
            <a:off x="0" y="429419"/>
            <a:ext cx="9144000" cy="69532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anchor="ctr"/>
          <a:lstStyle/>
          <a:p>
            <a:pPr algn="ctr">
              <a:defRPr/>
            </a:pPr>
            <a:r>
              <a:rPr lang="pt-BR" sz="2700" b="1" dirty="0">
                <a:effectLst>
                  <a:outerShdw blurRad="38100" dist="38100" dir="2700000" algn="tl">
                    <a:srgbClr val="C0C0C0"/>
                  </a:outerShdw>
                </a:effectLst>
                <a:latin typeface="Tahoma" pitchFamily="34" charset="0"/>
              </a:rPr>
              <a:t>Contratos de soja verde</a:t>
            </a:r>
          </a:p>
        </p:txBody>
      </p:sp>
    </p:spTree>
    <p:extLst>
      <p:ext uri="{BB962C8B-B14F-4D97-AF65-F5344CB8AC3E}">
        <p14:creationId xmlns:p14="http://schemas.microsoft.com/office/powerpoint/2010/main" val="15740866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8" presetClass="entr" presetSubtype="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5097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downRight)">
                                      <p:cBhvr>
                                        <p:cTn id="7" dur="500"/>
                                        <p:tgtEl>
                                          <p:spTgt spid="115097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 nodeType="clickPar">
                      <p:stCondLst>
                        <p:cond delay="indefinite"/>
                      </p:stCondLst>
                      <p:childTnLst>
                        <p:par>
                          <p:cTn id="9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0" presetID="18" presetClass="entr" presetSubtype="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50978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downRight)">
                                      <p:cBhvr>
                                        <p:cTn id="12" dur="500"/>
                                        <p:tgtEl>
                                          <p:spTgt spid="1150978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 nodeType="clickPar">
                      <p:stCondLst>
                        <p:cond delay="indefinite"/>
                      </p:stCondLst>
                      <p:childTnLst>
                        <p:par>
                          <p:cTn id="1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5" presetID="18" presetClass="entr" presetSubtype="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5097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downRight)">
                                      <p:cBhvr>
                                        <p:cTn id="17" dur="500"/>
                                        <p:tgtEl>
                                          <p:spTgt spid="115097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50978" grpId="0" build="p" bldLvl="2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Group 67"/>
          <p:cNvGraphicFramePr>
            <a:graphicFrameLocks noGrp="1"/>
          </p:cNvGraphicFramePr>
          <p:nvPr>
            <p:ph sz="quarter" idx="13"/>
            <p:extLst>
              <p:ext uri="{D42A27DB-BD31-4B8C-83A1-F6EECF244321}">
                <p14:modId xmlns:p14="http://schemas.microsoft.com/office/powerpoint/2010/main" val="2572732585"/>
              </p:ext>
            </p:extLst>
          </p:nvPr>
        </p:nvGraphicFramePr>
        <p:xfrm>
          <a:off x="179512" y="116632"/>
          <a:ext cx="8784977" cy="6560820"/>
        </p:xfrm>
        <a:graphic>
          <a:graphicData uri="http://schemas.openxmlformats.org/drawingml/2006/table">
            <a:tbl>
              <a:tblPr/>
              <a:tblGrid>
                <a:gridCol w="8784977"/>
              </a:tblGrid>
              <a:tr h="5508612">
                <a:tc>
                  <a:txBody>
                    <a:bodyPr/>
                    <a:lstStyle>
                      <a:lvl1pPr marL="342900" indent="-342900">
                        <a:spcBef>
                          <a:spcPct val="20000"/>
                        </a:spcBef>
                        <a:defRPr sz="2800">
                          <a:solidFill>
                            <a:srgbClr val="FFFF00"/>
                          </a:solidFill>
                          <a:latin typeface="Times New Roman" panose="02020603050405020304" pitchFamily="18" charset="0"/>
                          <a:cs typeface="Arial" panose="020B0604020202020204" pitchFamily="34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defRPr sz="2400">
                          <a:solidFill>
                            <a:srgbClr val="FFFF00"/>
                          </a:solidFill>
                          <a:latin typeface="Times New Roman" panose="02020603050405020304" pitchFamily="18" charset="0"/>
                          <a:cs typeface="Arial" panose="020B0604020202020204" pitchFamily="34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defRPr sz="2000">
                          <a:solidFill>
                            <a:srgbClr val="FFFF00"/>
                          </a:solidFill>
                          <a:latin typeface="Times New Roman" panose="02020603050405020304" pitchFamily="18" charset="0"/>
                          <a:cs typeface="Arial" panose="020B0604020202020204" pitchFamily="34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defRPr>
                          <a:solidFill>
                            <a:srgbClr val="FFFF00"/>
                          </a:solidFill>
                          <a:latin typeface="Times New Roman" panose="02020603050405020304" pitchFamily="18" charset="0"/>
                          <a:cs typeface="Arial" panose="020B0604020202020204" pitchFamily="34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defRPr>
                          <a:solidFill>
                            <a:srgbClr val="FFFF00"/>
                          </a:solidFill>
                          <a:latin typeface="Times New Roman" panose="02020603050405020304" pitchFamily="18" charset="0"/>
                          <a:cs typeface="Arial" panose="020B0604020202020204" pitchFamily="34" charset="0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rgbClr val="FFFF00"/>
                          </a:solidFill>
                          <a:latin typeface="Times New Roman" panose="02020603050405020304" pitchFamily="18" charset="0"/>
                          <a:cs typeface="Arial" panose="020B0604020202020204" pitchFamily="34" charset="0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rgbClr val="FFFF00"/>
                          </a:solidFill>
                          <a:latin typeface="Times New Roman" panose="02020603050405020304" pitchFamily="18" charset="0"/>
                          <a:cs typeface="Arial" panose="020B0604020202020204" pitchFamily="34" charset="0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rgbClr val="FFFF00"/>
                          </a:solidFill>
                          <a:latin typeface="Times New Roman" panose="02020603050405020304" pitchFamily="18" charset="0"/>
                          <a:cs typeface="Arial" panose="020B0604020202020204" pitchFamily="34" charset="0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rgbClr val="FFFF00"/>
                          </a:solidFill>
                          <a:latin typeface="Times New Roman" panose="02020603050405020304" pitchFamily="18" charset="0"/>
                          <a:cs typeface="Arial" panose="020B0604020202020204" pitchFamily="34" charset="0"/>
                        </a:defRPr>
                      </a:lvl9pPr>
                    </a:lstStyle>
                    <a:p>
                      <a:pPr marL="342900" marR="0" lvl="0" indent="-34290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5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altLang="pt-BR" sz="2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Times New Roman" panose="02020603050405020304" pitchFamily="18" charset="0"/>
                        </a:rPr>
                        <a:t>CPR - Cédula de Produto Rural</a:t>
                      </a:r>
                    </a:p>
                    <a:p>
                      <a:pPr marL="342900" marR="0" lvl="0" indent="-3429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50000"/>
                        </a:spcAft>
                        <a:buClrTx/>
                        <a:buSzTx/>
                        <a:buFontTx/>
                        <a:buChar char="•"/>
                        <a:tabLst/>
                      </a:pPr>
                      <a:r>
                        <a:rPr kumimoji="0" lang="pt-BR" altLang="pt-BR" sz="2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Times New Roman" panose="02020603050405020304" pitchFamily="18" charset="0"/>
                        </a:rPr>
                        <a:t>Título cambial negociável em mercado de balcão e em bolsa de mercadorias, que permite ao produtor rural ou suas cooperativas obter recursos para desenvolver sua produção ou empreendimento, com comercialização antecipada ou não.</a:t>
                      </a:r>
                    </a:p>
                    <a:p>
                      <a:pPr marL="342900" marR="0" lvl="0" indent="-3429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50000"/>
                        </a:spcAft>
                        <a:buClrTx/>
                        <a:buSzTx/>
                        <a:buFontTx/>
                        <a:buChar char="•"/>
                        <a:tabLst/>
                      </a:pPr>
                      <a:r>
                        <a:rPr kumimoji="0" lang="pt-BR" altLang="pt-BR" sz="2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Times New Roman" panose="02020603050405020304" pitchFamily="18" charset="0"/>
                        </a:rPr>
                        <a:t>As modalidades disponíveis são:</a:t>
                      </a:r>
                    </a:p>
                    <a:p>
                      <a:pPr marL="742950" marR="0" lvl="1" indent="-28575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50000"/>
                        </a:spcAft>
                        <a:buClrTx/>
                        <a:buSzTx/>
                        <a:buFontTx/>
                        <a:buChar char="–"/>
                        <a:tabLst/>
                      </a:pPr>
                      <a:r>
                        <a:rPr kumimoji="0" lang="pt-BR" altLang="pt-BR" sz="2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Times New Roman" panose="02020603050405020304" pitchFamily="18" charset="0"/>
                        </a:rPr>
                        <a:t>CPR Física – exigível na data do vencimento pela quantidade e qualidade de produto nela previsto; e</a:t>
                      </a:r>
                    </a:p>
                    <a:p>
                      <a:pPr marL="742950" marR="0" lvl="1" indent="-28575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50000"/>
                        </a:spcAft>
                        <a:buClrTx/>
                        <a:buSzTx/>
                        <a:buFontTx/>
                        <a:buChar char="–"/>
                        <a:tabLst/>
                      </a:pPr>
                      <a:r>
                        <a:rPr kumimoji="0" lang="pt-BR" altLang="pt-BR" sz="2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Times New Roman" panose="02020603050405020304" pitchFamily="18" charset="0"/>
                        </a:rPr>
                        <a:t>CPR Financeira – exigível na data do vencimento pelo resultado da multiplicação do preço convencionado pela quantidade do produto especificado.</a:t>
                      </a:r>
                    </a:p>
                    <a:p>
                      <a:pPr marL="342900" marR="0" lvl="0" indent="-3429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50000"/>
                        </a:spcAft>
                        <a:buClrTx/>
                        <a:buSzTx/>
                        <a:buFontTx/>
                        <a:buChar char="•"/>
                        <a:tabLst/>
                      </a:pPr>
                      <a:r>
                        <a:rPr kumimoji="0" lang="pt-BR" altLang="pt-BR" sz="1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Times New Roman" panose="02020603050405020304" pitchFamily="18" charset="0"/>
                        </a:rPr>
                        <a:t>Para ser negociada em mercado, a CPR deve ser registrada em sistema autorizado pelo Banco Central. O título é </a:t>
                      </a:r>
                      <a:r>
                        <a:rPr kumimoji="0" lang="pt-BR" altLang="pt-BR" sz="1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Times New Roman" panose="02020603050405020304" pitchFamily="18" charset="0"/>
                        </a:rPr>
                        <a:t>cartular</a:t>
                      </a:r>
                      <a:r>
                        <a:rPr kumimoji="0" lang="pt-BR" altLang="pt-BR" sz="1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Times New Roman" panose="02020603050405020304" pitchFamily="18" charset="0"/>
                        </a:rPr>
                        <a:t> antes do registro e escritural ou eletrônica enquanto permanecer registrado. Nas negociações com a CPR Financeira não há incidência de IOF – Imposto sobre Operações Financeiras</a:t>
                      </a:r>
                      <a:r>
                        <a:rPr kumimoji="0" lang="pt-BR" altLang="pt-BR" sz="2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Times New Roman" panose="02020603050405020304" pitchFamily="18" charset="0"/>
                        </a:rPr>
                        <a:t>. </a:t>
                      </a:r>
                    </a:p>
                  </a:txBody>
                  <a:tcPr marT="34290" marB="34290" anchor="ctr" horzOverflow="overflow">
                    <a:lnL cap="flat">
                      <a:noFill/>
                    </a:lnL>
                    <a:lnR cap="flat"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4606546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46179" name="Rectangle 3"/>
          <p:cNvSpPr>
            <a:spLocks noChangeArrowheads="1"/>
          </p:cNvSpPr>
          <p:nvPr/>
        </p:nvSpPr>
        <p:spPr bwMode="auto">
          <a:xfrm>
            <a:off x="0" y="260648"/>
            <a:ext cx="9144000" cy="69532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anchor="ctr"/>
          <a:lstStyle/>
          <a:p>
            <a:pPr algn="ctr">
              <a:defRPr/>
            </a:pPr>
            <a:r>
              <a:rPr lang="en-US" sz="2700" b="1">
                <a:solidFill>
                  <a:schemeClr val="tx2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Tahoma" pitchFamily="34" charset="0"/>
              </a:rPr>
              <a:t>CPR</a:t>
            </a:r>
          </a:p>
        </p:txBody>
      </p:sp>
      <p:graphicFrame>
        <p:nvGraphicFramePr>
          <p:cNvPr id="2" name="Espaço Reservado para Conteúdo 2"/>
          <p:cNvGraphicFramePr>
            <a:graphicFrameLocks noGrp="1"/>
          </p:cNvGraphicFramePr>
          <p:nvPr>
            <p:ph sz="quarter" idx="13"/>
            <p:extLst>
              <p:ext uri="{D42A27DB-BD31-4B8C-83A1-F6EECF244321}">
                <p14:modId xmlns:p14="http://schemas.microsoft.com/office/powerpoint/2010/main" val="144637761"/>
              </p:ext>
            </p:extLst>
          </p:nvPr>
        </p:nvGraphicFramePr>
        <p:xfrm>
          <a:off x="210889" y="1427869"/>
          <a:ext cx="8722221" cy="507656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8" name="Group 67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043286777"/>
              </p:ext>
            </p:extLst>
          </p:nvPr>
        </p:nvGraphicFramePr>
        <p:xfrm>
          <a:off x="685800" y="632122"/>
          <a:ext cx="7772400" cy="494110"/>
        </p:xfrm>
        <a:graphic>
          <a:graphicData uri="http://schemas.openxmlformats.org/drawingml/2006/table">
            <a:tbl>
              <a:tblPr/>
              <a:tblGrid>
                <a:gridCol w="7772400"/>
              </a:tblGrid>
              <a:tr h="494110">
                <a:tc>
                  <a:txBody>
                    <a:bodyPr/>
                    <a:lstStyle/>
                    <a:p>
                      <a:pPr marL="342900" marR="0" lvl="0" indent="-34290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5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15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pitchFamily="34" charset="0"/>
                          <a:cs typeface="Times New Roman" pitchFamily="18" charset="0"/>
                        </a:rPr>
                        <a:t>CPR - Cédula de Produto Rural</a:t>
                      </a:r>
                    </a:p>
                  </a:txBody>
                  <a:tcPr marT="34263" marB="34263" anchor="ctr" horzOverflow="overflow">
                    <a:lnL cap="flat">
                      <a:noFill/>
                    </a:lnL>
                    <a:lnR cap="flat"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9949218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ítulo 1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3" name="Título 2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pt-BR" smtClean="0"/>
              <a:t>Aula dia 30 de maio de 2017</a:t>
            </a:r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749249896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46179" name="Rectangle 3"/>
          <p:cNvSpPr>
            <a:spLocks noChangeArrowheads="1"/>
          </p:cNvSpPr>
          <p:nvPr/>
        </p:nvSpPr>
        <p:spPr bwMode="auto">
          <a:xfrm>
            <a:off x="0" y="260648"/>
            <a:ext cx="9144000" cy="69532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anchor="ctr"/>
          <a:lstStyle/>
          <a:p>
            <a:pPr algn="ctr">
              <a:defRPr/>
            </a:pPr>
            <a:r>
              <a:rPr lang="en-US" sz="2700" b="1">
                <a:solidFill>
                  <a:schemeClr val="tx2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Tahoma" pitchFamily="34" charset="0"/>
              </a:rPr>
              <a:t>CPR</a:t>
            </a:r>
          </a:p>
        </p:txBody>
      </p:sp>
      <p:graphicFrame>
        <p:nvGraphicFramePr>
          <p:cNvPr id="3" name="Espaço Reservado para Conteúdo 2"/>
          <p:cNvGraphicFramePr>
            <a:graphicFrameLocks noGrp="1"/>
          </p:cNvGraphicFramePr>
          <p:nvPr>
            <p:ph sz="quarter" idx="13"/>
            <p:extLst>
              <p:ext uri="{D42A27DB-BD31-4B8C-83A1-F6EECF244321}">
                <p14:modId xmlns:p14="http://schemas.microsoft.com/office/powerpoint/2010/main" val="3157778159"/>
              </p:ext>
            </p:extLst>
          </p:nvPr>
        </p:nvGraphicFramePr>
        <p:xfrm>
          <a:off x="251520" y="1484787"/>
          <a:ext cx="8722221" cy="518457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8" name="Group 67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731145304"/>
              </p:ext>
            </p:extLst>
          </p:nvPr>
        </p:nvGraphicFramePr>
        <p:xfrm>
          <a:off x="685800" y="632122"/>
          <a:ext cx="7772400" cy="494110"/>
        </p:xfrm>
        <a:graphic>
          <a:graphicData uri="http://schemas.openxmlformats.org/drawingml/2006/table">
            <a:tbl>
              <a:tblPr/>
              <a:tblGrid>
                <a:gridCol w="7772400"/>
              </a:tblGrid>
              <a:tr h="494110">
                <a:tc>
                  <a:txBody>
                    <a:bodyPr/>
                    <a:lstStyle/>
                    <a:p>
                      <a:pPr marL="342900" marR="0" lvl="0" indent="-34290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5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15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pitchFamily="34" charset="0"/>
                          <a:cs typeface="Times New Roman" pitchFamily="18" charset="0"/>
                        </a:rPr>
                        <a:t>CPR - Cédula de Produto Rural</a:t>
                      </a:r>
                    </a:p>
                  </a:txBody>
                  <a:tcPr marT="34263" marB="34263" anchor="ctr" horzOverflow="overflow">
                    <a:lnL cap="flat">
                      <a:noFill/>
                    </a:lnL>
                    <a:lnR cap="flat"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8069617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46179" name="Rectangle 3"/>
          <p:cNvSpPr>
            <a:spLocks noChangeArrowheads="1"/>
          </p:cNvSpPr>
          <p:nvPr/>
        </p:nvSpPr>
        <p:spPr bwMode="auto">
          <a:xfrm>
            <a:off x="0" y="260648"/>
            <a:ext cx="9144000" cy="69532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anchor="ctr"/>
          <a:lstStyle/>
          <a:p>
            <a:pPr algn="ctr">
              <a:defRPr/>
            </a:pPr>
            <a:r>
              <a:rPr lang="en-US" sz="2700" b="1">
                <a:solidFill>
                  <a:schemeClr val="tx2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Tahoma" pitchFamily="34" charset="0"/>
              </a:rPr>
              <a:t>CPR</a:t>
            </a:r>
          </a:p>
        </p:txBody>
      </p:sp>
      <p:graphicFrame>
        <p:nvGraphicFramePr>
          <p:cNvPr id="3" name="Espaço Reservado para Conteúdo 2"/>
          <p:cNvGraphicFramePr>
            <a:graphicFrameLocks noGrp="1"/>
          </p:cNvGraphicFramePr>
          <p:nvPr>
            <p:ph sz="quarter" idx="13"/>
            <p:extLst>
              <p:ext uri="{D42A27DB-BD31-4B8C-83A1-F6EECF244321}">
                <p14:modId xmlns:p14="http://schemas.microsoft.com/office/powerpoint/2010/main" val="1150626008"/>
              </p:ext>
            </p:extLst>
          </p:nvPr>
        </p:nvGraphicFramePr>
        <p:xfrm>
          <a:off x="251520" y="1484787"/>
          <a:ext cx="8722221" cy="525658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8" name="Group 67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095430141"/>
              </p:ext>
            </p:extLst>
          </p:nvPr>
        </p:nvGraphicFramePr>
        <p:xfrm>
          <a:off x="685800" y="632122"/>
          <a:ext cx="7772400" cy="494110"/>
        </p:xfrm>
        <a:graphic>
          <a:graphicData uri="http://schemas.openxmlformats.org/drawingml/2006/table">
            <a:tbl>
              <a:tblPr/>
              <a:tblGrid>
                <a:gridCol w="7772400"/>
              </a:tblGrid>
              <a:tr h="494110">
                <a:tc>
                  <a:txBody>
                    <a:bodyPr/>
                    <a:lstStyle/>
                    <a:p>
                      <a:pPr marL="342900" marR="0" lvl="0" indent="-34290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5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15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pitchFamily="34" charset="0"/>
                          <a:cs typeface="Times New Roman" pitchFamily="18" charset="0"/>
                        </a:rPr>
                        <a:t>CPR - Cédula de Produto Rural</a:t>
                      </a:r>
                    </a:p>
                  </a:txBody>
                  <a:tcPr marT="34263" marB="34263" anchor="ctr" horzOverflow="overflow">
                    <a:lnL cap="flat">
                      <a:noFill/>
                    </a:lnL>
                    <a:lnR cap="flat"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807230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46179" name="Rectangle 3"/>
          <p:cNvSpPr>
            <a:spLocks noChangeArrowheads="1"/>
          </p:cNvSpPr>
          <p:nvPr/>
        </p:nvSpPr>
        <p:spPr bwMode="auto">
          <a:xfrm>
            <a:off x="0" y="260648"/>
            <a:ext cx="9144000" cy="69532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anchor="ctr"/>
          <a:lstStyle/>
          <a:p>
            <a:pPr algn="ctr">
              <a:defRPr/>
            </a:pPr>
            <a:r>
              <a:rPr lang="en-US" sz="2700" b="1">
                <a:solidFill>
                  <a:schemeClr val="tx2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Tahoma" pitchFamily="34" charset="0"/>
              </a:rPr>
              <a:t>CPR</a:t>
            </a:r>
          </a:p>
        </p:txBody>
      </p:sp>
      <p:graphicFrame>
        <p:nvGraphicFramePr>
          <p:cNvPr id="3" name="Espaço Reservado para Conteúdo 2"/>
          <p:cNvGraphicFramePr>
            <a:graphicFrameLocks noGrp="1"/>
          </p:cNvGraphicFramePr>
          <p:nvPr>
            <p:ph sz="quarter" idx="13"/>
            <p:extLst>
              <p:ext uri="{D42A27DB-BD31-4B8C-83A1-F6EECF244321}">
                <p14:modId xmlns:p14="http://schemas.microsoft.com/office/powerpoint/2010/main" val="2177231719"/>
              </p:ext>
            </p:extLst>
          </p:nvPr>
        </p:nvGraphicFramePr>
        <p:xfrm>
          <a:off x="323528" y="1484787"/>
          <a:ext cx="8650213" cy="518457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8" name="Group 67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16159424"/>
              </p:ext>
            </p:extLst>
          </p:nvPr>
        </p:nvGraphicFramePr>
        <p:xfrm>
          <a:off x="685800" y="632122"/>
          <a:ext cx="7772400" cy="494110"/>
        </p:xfrm>
        <a:graphic>
          <a:graphicData uri="http://schemas.openxmlformats.org/drawingml/2006/table">
            <a:tbl>
              <a:tblPr/>
              <a:tblGrid>
                <a:gridCol w="7772400"/>
              </a:tblGrid>
              <a:tr h="494110">
                <a:tc>
                  <a:txBody>
                    <a:bodyPr/>
                    <a:lstStyle/>
                    <a:p>
                      <a:pPr marL="342900" marR="0" lvl="0" indent="-34290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5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15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pitchFamily="34" charset="0"/>
                          <a:cs typeface="Times New Roman" pitchFamily="18" charset="0"/>
                        </a:rPr>
                        <a:t>CPR - Cédula de Produto Rural</a:t>
                      </a:r>
                    </a:p>
                  </a:txBody>
                  <a:tcPr marT="34263" marB="34263" anchor="ctr" horzOverflow="overflow">
                    <a:lnL cap="flat">
                      <a:noFill/>
                    </a:lnL>
                    <a:lnR cap="flat"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3017330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46179" name="Rectangle 3"/>
          <p:cNvSpPr>
            <a:spLocks noChangeArrowheads="1"/>
          </p:cNvSpPr>
          <p:nvPr/>
        </p:nvSpPr>
        <p:spPr bwMode="auto">
          <a:xfrm>
            <a:off x="0" y="260648"/>
            <a:ext cx="9144000" cy="69532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anchor="ctr"/>
          <a:lstStyle/>
          <a:p>
            <a:pPr algn="ctr">
              <a:defRPr/>
            </a:pPr>
            <a:r>
              <a:rPr lang="en-US" sz="2700" b="1">
                <a:solidFill>
                  <a:schemeClr val="tx2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Tahoma" pitchFamily="34" charset="0"/>
              </a:rPr>
              <a:t>CPR</a:t>
            </a:r>
          </a:p>
        </p:txBody>
      </p:sp>
      <p:graphicFrame>
        <p:nvGraphicFramePr>
          <p:cNvPr id="3" name="Espaço Reservado para Conteúdo 2"/>
          <p:cNvGraphicFramePr>
            <a:graphicFrameLocks noGrp="1"/>
          </p:cNvGraphicFramePr>
          <p:nvPr>
            <p:ph sz="quarter" idx="13"/>
            <p:extLst>
              <p:ext uri="{D42A27DB-BD31-4B8C-83A1-F6EECF244321}">
                <p14:modId xmlns:p14="http://schemas.microsoft.com/office/powerpoint/2010/main" val="3997297948"/>
              </p:ext>
            </p:extLst>
          </p:nvPr>
        </p:nvGraphicFramePr>
        <p:xfrm>
          <a:off x="323528" y="1484787"/>
          <a:ext cx="8650213" cy="518457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8" name="Group 67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919663066"/>
              </p:ext>
            </p:extLst>
          </p:nvPr>
        </p:nvGraphicFramePr>
        <p:xfrm>
          <a:off x="685800" y="632122"/>
          <a:ext cx="7772400" cy="494110"/>
        </p:xfrm>
        <a:graphic>
          <a:graphicData uri="http://schemas.openxmlformats.org/drawingml/2006/table">
            <a:tbl>
              <a:tblPr/>
              <a:tblGrid>
                <a:gridCol w="7772400"/>
              </a:tblGrid>
              <a:tr h="494110">
                <a:tc>
                  <a:txBody>
                    <a:bodyPr/>
                    <a:lstStyle/>
                    <a:p>
                      <a:pPr marL="342900" marR="0" lvl="0" indent="-34290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5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15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pitchFamily="34" charset="0"/>
                          <a:cs typeface="Times New Roman" pitchFamily="18" charset="0"/>
                        </a:rPr>
                        <a:t>CPR - Cédula de Produto Rural</a:t>
                      </a:r>
                    </a:p>
                  </a:txBody>
                  <a:tcPr marT="34263" marB="34263" anchor="ctr" horzOverflow="overflow">
                    <a:lnL cap="flat">
                      <a:noFill/>
                    </a:lnL>
                    <a:lnR cap="flat"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6194051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46179" name="Rectangle 3"/>
          <p:cNvSpPr>
            <a:spLocks noChangeArrowheads="1"/>
          </p:cNvSpPr>
          <p:nvPr/>
        </p:nvSpPr>
        <p:spPr bwMode="auto">
          <a:xfrm>
            <a:off x="0" y="259160"/>
            <a:ext cx="9144000" cy="69532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anchor="ctr"/>
          <a:lstStyle/>
          <a:p>
            <a:pPr algn="ctr">
              <a:defRPr/>
            </a:pPr>
            <a:r>
              <a:rPr lang="en-US" sz="2700" b="1">
                <a:solidFill>
                  <a:schemeClr val="tx2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Tahoma" pitchFamily="34" charset="0"/>
              </a:rPr>
              <a:t>CPR</a:t>
            </a:r>
          </a:p>
        </p:txBody>
      </p:sp>
      <p:graphicFrame>
        <p:nvGraphicFramePr>
          <p:cNvPr id="3" name="Espaço Reservado para Conteúdo 2"/>
          <p:cNvGraphicFramePr>
            <a:graphicFrameLocks noGrp="1"/>
          </p:cNvGraphicFramePr>
          <p:nvPr>
            <p:ph sz="quarter" idx="13"/>
            <p:extLst>
              <p:ext uri="{D42A27DB-BD31-4B8C-83A1-F6EECF244321}">
                <p14:modId xmlns:p14="http://schemas.microsoft.com/office/powerpoint/2010/main" val="1573173661"/>
              </p:ext>
            </p:extLst>
          </p:nvPr>
        </p:nvGraphicFramePr>
        <p:xfrm>
          <a:off x="323528" y="1484787"/>
          <a:ext cx="8650213" cy="525658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8" name="Group 67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41018381"/>
              </p:ext>
            </p:extLst>
          </p:nvPr>
        </p:nvGraphicFramePr>
        <p:xfrm>
          <a:off x="685800" y="630634"/>
          <a:ext cx="7772400" cy="494110"/>
        </p:xfrm>
        <a:graphic>
          <a:graphicData uri="http://schemas.openxmlformats.org/drawingml/2006/table">
            <a:tbl>
              <a:tblPr/>
              <a:tblGrid>
                <a:gridCol w="7772400"/>
              </a:tblGrid>
              <a:tr h="494110">
                <a:tc>
                  <a:txBody>
                    <a:bodyPr/>
                    <a:lstStyle/>
                    <a:p>
                      <a:pPr marL="342900" marR="0" lvl="0" indent="-34290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5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15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pitchFamily="34" charset="0"/>
                          <a:cs typeface="Times New Roman" pitchFamily="18" charset="0"/>
                        </a:rPr>
                        <a:t>CPR - Cédula de Produto Rural</a:t>
                      </a:r>
                    </a:p>
                  </a:txBody>
                  <a:tcPr marT="34263" marB="34263" anchor="ctr" horzOverflow="overflow">
                    <a:lnL cap="flat">
                      <a:noFill/>
                    </a:lnL>
                    <a:lnR cap="flat"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2127677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upo 5"/>
          <p:cNvGrpSpPr/>
          <p:nvPr/>
        </p:nvGrpSpPr>
        <p:grpSpPr>
          <a:xfrm>
            <a:off x="251520" y="1700808"/>
            <a:ext cx="8640960" cy="4464496"/>
            <a:chOff x="274524" y="80628"/>
            <a:chExt cx="11917476" cy="5976664"/>
          </a:xfrm>
        </p:grpSpPr>
        <p:pic>
          <p:nvPicPr>
            <p:cNvPr id="3" name="Imagem 2"/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274524" y="82091"/>
              <a:ext cx="6037500" cy="5975201"/>
            </a:xfrm>
            <a:prstGeom prst="rect">
              <a:avLst/>
            </a:prstGeom>
          </p:spPr>
        </p:pic>
        <p:pic>
          <p:nvPicPr>
            <p:cNvPr id="4" name="Imagem 3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6326999" y="80628"/>
              <a:ext cx="5865001" cy="5962268"/>
            </a:xfrm>
            <a:prstGeom prst="rect">
              <a:avLst/>
            </a:prstGeom>
          </p:spPr>
        </p:pic>
      </p:grpSp>
      <p:sp>
        <p:nvSpPr>
          <p:cNvPr id="7" name="Título 1"/>
          <p:cNvSpPr>
            <a:spLocks noGrp="1"/>
          </p:cNvSpPr>
          <p:nvPr>
            <p:ph type="ctrTitle"/>
          </p:nvPr>
        </p:nvSpPr>
        <p:spPr>
          <a:xfrm>
            <a:off x="304195" y="1016734"/>
            <a:ext cx="7098656" cy="684074"/>
          </a:xfrm>
        </p:spPr>
        <p:txBody>
          <a:bodyPr>
            <a:normAutofit fontScale="90000"/>
          </a:bodyPr>
          <a:lstStyle/>
          <a:p>
            <a:r>
              <a:rPr lang="pt-BR" dirty="0" smtClean="0"/>
              <a:t>Dinheiro Rural 104 </a:t>
            </a:r>
            <a:br>
              <a:rPr lang="pt-BR" dirty="0" smtClean="0"/>
            </a:br>
            <a:r>
              <a:rPr lang="pt-BR" dirty="0" smtClean="0"/>
              <a:t>junho 2013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9062089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m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79513" y="1196754"/>
            <a:ext cx="4243500" cy="4471701"/>
          </a:xfrm>
          <a:prstGeom prst="rect">
            <a:avLst/>
          </a:prstGeom>
        </p:spPr>
      </p:pic>
      <p:pic>
        <p:nvPicPr>
          <p:cNvPr id="8" name="Imagem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362463" y="709058"/>
            <a:ext cx="4674033" cy="5528254"/>
          </a:xfrm>
          <a:prstGeom prst="rect">
            <a:avLst/>
          </a:prstGeom>
        </p:spPr>
      </p:pic>
      <p:cxnSp>
        <p:nvCxnSpPr>
          <p:cNvPr id="10" name="Conector reto 9"/>
          <p:cNvCxnSpPr/>
          <p:nvPr/>
        </p:nvCxnSpPr>
        <p:spPr>
          <a:xfrm>
            <a:off x="6858957" y="2376000"/>
            <a:ext cx="1241435" cy="0"/>
          </a:xfrm>
          <a:prstGeom prst="line">
            <a:avLst/>
          </a:prstGeom>
          <a:ln w="317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Conector reto 11"/>
          <p:cNvCxnSpPr/>
          <p:nvPr/>
        </p:nvCxnSpPr>
        <p:spPr>
          <a:xfrm>
            <a:off x="4423013" y="2628000"/>
            <a:ext cx="3893403" cy="0"/>
          </a:xfrm>
          <a:prstGeom prst="line">
            <a:avLst/>
          </a:prstGeom>
          <a:ln w="317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Conector reto 13"/>
          <p:cNvCxnSpPr/>
          <p:nvPr/>
        </p:nvCxnSpPr>
        <p:spPr>
          <a:xfrm>
            <a:off x="4423013" y="2852936"/>
            <a:ext cx="2525251" cy="0"/>
          </a:xfrm>
          <a:prstGeom prst="line">
            <a:avLst/>
          </a:prstGeom>
          <a:ln w="317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Conector reto 15"/>
          <p:cNvCxnSpPr/>
          <p:nvPr/>
        </p:nvCxnSpPr>
        <p:spPr>
          <a:xfrm>
            <a:off x="4423013" y="4068000"/>
            <a:ext cx="4469467" cy="0"/>
          </a:xfrm>
          <a:prstGeom prst="line">
            <a:avLst/>
          </a:prstGeom>
          <a:ln w="317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Conector reto 17"/>
          <p:cNvCxnSpPr/>
          <p:nvPr/>
        </p:nvCxnSpPr>
        <p:spPr>
          <a:xfrm>
            <a:off x="4423013" y="4293096"/>
            <a:ext cx="3092316" cy="0"/>
          </a:xfrm>
          <a:prstGeom prst="line">
            <a:avLst/>
          </a:prstGeom>
          <a:ln w="317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Conector reto 20"/>
          <p:cNvCxnSpPr/>
          <p:nvPr/>
        </p:nvCxnSpPr>
        <p:spPr>
          <a:xfrm>
            <a:off x="7029275" y="3789040"/>
            <a:ext cx="1287141" cy="0"/>
          </a:xfrm>
          <a:prstGeom prst="line">
            <a:avLst/>
          </a:prstGeom>
          <a:ln w="317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Conector reto 22"/>
          <p:cNvCxnSpPr/>
          <p:nvPr/>
        </p:nvCxnSpPr>
        <p:spPr>
          <a:xfrm>
            <a:off x="4824000" y="4752000"/>
            <a:ext cx="3096344" cy="0"/>
          </a:xfrm>
          <a:prstGeom prst="line">
            <a:avLst/>
          </a:prstGeom>
          <a:ln w="317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Conector reto 23"/>
          <p:cNvCxnSpPr/>
          <p:nvPr/>
        </p:nvCxnSpPr>
        <p:spPr>
          <a:xfrm>
            <a:off x="4499992" y="5229200"/>
            <a:ext cx="4392488" cy="0"/>
          </a:xfrm>
          <a:prstGeom prst="line">
            <a:avLst/>
          </a:prstGeom>
          <a:ln w="317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Conector reto 25"/>
          <p:cNvCxnSpPr/>
          <p:nvPr/>
        </p:nvCxnSpPr>
        <p:spPr>
          <a:xfrm flipV="1">
            <a:off x="4519141" y="5724001"/>
            <a:ext cx="4373339" cy="10942"/>
          </a:xfrm>
          <a:prstGeom prst="line">
            <a:avLst/>
          </a:prstGeom>
          <a:ln w="317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Conector reto 26"/>
          <p:cNvCxnSpPr/>
          <p:nvPr/>
        </p:nvCxnSpPr>
        <p:spPr>
          <a:xfrm>
            <a:off x="4519141" y="5472000"/>
            <a:ext cx="3725267" cy="0"/>
          </a:xfrm>
          <a:prstGeom prst="line">
            <a:avLst/>
          </a:prstGeom>
          <a:ln w="317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Conector reto 28"/>
          <p:cNvCxnSpPr/>
          <p:nvPr/>
        </p:nvCxnSpPr>
        <p:spPr>
          <a:xfrm>
            <a:off x="4526996" y="5949280"/>
            <a:ext cx="765084" cy="0"/>
          </a:xfrm>
          <a:prstGeom prst="line">
            <a:avLst/>
          </a:prstGeom>
          <a:ln w="317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Elipse 29"/>
          <p:cNvSpPr/>
          <p:nvPr/>
        </p:nvSpPr>
        <p:spPr>
          <a:xfrm>
            <a:off x="35496" y="1736812"/>
            <a:ext cx="1656184" cy="1836204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1350">
              <a:noFill/>
            </a:endParaRPr>
          </a:p>
        </p:txBody>
      </p:sp>
      <p:cxnSp>
        <p:nvCxnSpPr>
          <p:cNvPr id="32" name="Conector reto 31"/>
          <p:cNvCxnSpPr>
            <a:stCxn id="30" idx="6"/>
          </p:cNvCxnSpPr>
          <p:nvPr/>
        </p:nvCxnSpPr>
        <p:spPr>
          <a:xfrm flipV="1">
            <a:off x="1691680" y="746703"/>
            <a:ext cx="2670781" cy="1908211"/>
          </a:xfrm>
          <a:prstGeom prst="line">
            <a:avLst/>
          </a:prstGeom>
          <a:ln w="28575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Conector reto 37"/>
          <p:cNvCxnSpPr/>
          <p:nvPr/>
        </p:nvCxnSpPr>
        <p:spPr>
          <a:xfrm>
            <a:off x="1689466" y="2654915"/>
            <a:ext cx="2672995" cy="3501236"/>
          </a:xfrm>
          <a:prstGeom prst="line">
            <a:avLst/>
          </a:prstGeom>
          <a:ln w="28575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453685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6" presetClass="entr" presetSubtype="4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Horizontal)">
                                      <p:cBhvr>
                                        <p:cTn id="12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7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0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1" fill="hold">
                            <p:stCondLst>
                              <p:cond delay="500"/>
                            </p:stCondLst>
                            <p:childTnLst>
                              <p:par>
                                <p:cTn id="22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4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7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0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3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6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9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2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3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5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6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8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9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1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2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4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5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7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0" grpId="0" animBg="1"/>
    </p:bld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m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7504" y="502114"/>
            <a:ext cx="8928992" cy="2899884"/>
          </a:xfrm>
          <a:prstGeom prst="rect">
            <a:avLst/>
          </a:prstGeom>
        </p:spPr>
      </p:pic>
      <p:pic>
        <p:nvPicPr>
          <p:cNvPr id="2" name="Imagem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61030" y="3501008"/>
            <a:ext cx="8875466" cy="24302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704344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7699" name="Rectangle 2"/>
          <p:cNvSpPr>
            <a:spLocks noGrp="1" noChangeArrowheads="1"/>
          </p:cNvSpPr>
          <p:nvPr>
            <p:ph type="ctrTitle"/>
          </p:nvPr>
        </p:nvSpPr>
        <p:spPr>
          <a:xfrm>
            <a:off x="1043608" y="405012"/>
            <a:ext cx="7026647" cy="576063"/>
          </a:xfrm>
        </p:spPr>
        <p:txBody>
          <a:bodyPr/>
          <a:lstStyle/>
          <a:p>
            <a:r>
              <a:rPr lang="pt-BR" sz="2700" dirty="0">
                <a:effectLst>
                  <a:outerShdw blurRad="38100" dist="38100" dir="2700000" algn="tl">
                    <a:srgbClr val="C0C0C0"/>
                  </a:outerShdw>
                </a:effectLst>
                <a:latin typeface="Tahoma" pitchFamily="34" charset="0"/>
                <a:ea typeface="+mn-ea"/>
                <a:cs typeface="Arial" pitchFamily="34" charset="0"/>
              </a:rPr>
              <a:t>Diagnóstico....</a:t>
            </a:r>
          </a:p>
        </p:txBody>
      </p:sp>
      <p:sp>
        <p:nvSpPr>
          <p:cNvPr id="521219" name="Rectangle 3"/>
          <p:cNvSpPr>
            <a:spLocks noGrp="1" noChangeArrowheads="1"/>
          </p:cNvSpPr>
          <p:nvPr>
            <p:ph sz="quarter" idx="13"/>
          </p:nvPr>
        </p:nvSpPr>
        <p:spPr>
          <a:xfrm>
            <a:off x="323529" y="1700808"/>
            <a:ext cx="8820472" cy="3240088"/>
          </a:xfrm>
        </p:spPr>
        <p:txBody>
          <a:bodyPr>
            <a:noAutofit/>
          </a:bodyPr>
          <a:lstStyle/>
          <a:p>
            <a:pPr marL="0" indent="0">
              <a:lnSpc>
                <a:spcPct val="114000"/>
              </a:lnSpc>
              <a:buNone/>
            </a:pPr>
            <a:r>
              <a:rPr lang="pt-BR" sz="2400" b="1" dirty="0">
                <a:latin typeface="Arial" pitchFamily="34" charset="0"/>
              </a:rPr>
              <a:t>O principal problema do crédito para agricultura no Brasil é:</a:t>
            </a:r>
          </a:p>
          <a:p>
            <a:pPr marL="457189" indent="-457189">
              <a:lnSpc>
                <a:spcPct val="114000"/>
              </a:lnSpc>
              <a:buFont typeface="+mj-lt"/>
              <a:buAutoNum type="alphaLcParenR"/>
            </a:pPr>
            <a:r>
              <a:rPr lang="pt-BR" sz="2400" b="1" dirty="0">
                <a:latin typeface="Arial" pitchFamily="34" charset="0"/>
              </a:rPr>
              <a:t>Cenário macroeconômico</a:t>
            </a:r>
          </a:p>
          <a:p>
            <a:pPr marL="457189" indent="-457189">
              <a:lnSpc>
                <a:spcPct val="114000"/>
              </a:lnSpc>
              <a:buFont typeface="+mj-lt"/>
              <a:buAutoNum type="alphaLcParenR"/>
            </a:pPr>
            <a:r>
              <a:rPr lang="pt-BR" sz="2400" b="1" dirty="0">
                <a:latin typeface="Arial" pitchFamily="34" charset="0"/>
              </a:rPr>
              <a:t>Falta dinheiro/liquidez para operações de crédito</a:t>
            </a:r>
          </a:p>
          <a:p>
            <a:pPr marL="457189" indent="-457189">
              <a:lnSpc>
                <a:spcPct val="114000"/>
              </a:lnSpc>
              <a:buFont typeface="+mj-lt"/>
              <a:buAutoNum type="alphaLcParenR"/>
            </a:pPr>
            <a:r>
              <a:rPr lang="pt-BR" sz="2400" b="1" dirty="0">
                <a:latin typeface="Arial" pitchFamily="34" charset="0"/>
              </a:rPr>
              <a:t>Há crédito, mas pouco para operações direcionadas (sobra crédito livre)</a:t>
            </a:r>
          </a:p>
          <a:p>
            <a:pPr marL="457189" indent="-457189">
              <a:lnSpc>
                <a:spcPct val="114000"/>
              </a:lnSpc>
              <a:buFont typeface="+mj-lt"/>
              <a:buAutoNum type="alphaLcParenR"/>
            </a:pPr>
            <a:r>
              <a:rPr lang="pt-BR" sz="2400" b="1" dirty="0">
                <a:latin typeface="Arial" pitchFamily="34" charset="0"/>
              </a:rPr>
              <a:t>Há muita burocracia</a:t>
            </a:r>
          </a:p>
          <a:p>
            <a:pPr marL="457189" indent="-457189">
              <a:lnSpc>
                <a:spcPct val="114000"/>
              </a:lnSpc>
              <a:buFont typeface="+mj-lt"/>
              <a:buAutoNum type="alphaLcParenR"/>
            </a:pPr>
            <a:r>
              <a:rPr lang="pt-BR" sz="2400" b="1" dirty="0">
                <a:latin typeface="Arial" pitchFamily="34" charset="0"/>
              </a:rPr>
              <a:t>As taxas de juros são proibitivas</a:t>
            </a:r>
          </a:p>
          <a:p>
            <a:pPr marL="457189" indent="-457189">
              <a:lnSpc>
                <a:spcPct val="114000"/>
              </a:lnSpc>
              <a:buFont typeface="+mj-lt"/>
              <a:buAutoNum type="alphaLcParenR"/>
            </a:pPr>
            <a:r>
              <a:rPr lang="pt-BR" sz="2400" b="1" dirty="0">
                <a:latin typeface="Arial" pitchFamily="34" charset="0"/>
              </a:rPr>
              <a:t>Não há cultura financeira no Brasil</a:t>
            </a:r>
          </a:p>
        </p:txBody>
      </p:sp>
    </p:spTree>
    <p:extLst>
      <p:ext uri="{BB962C8B-B14F-4D97-AF65-F5344CB8AC3E}">
        <p14:creationId xmlns:p14="http://schemas.microsoft.com/office/powerpoint/2010/main" val="41052325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8" presetClass="entr" presetSubtype="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12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downRight)">
                                      <p:cBhvr>
                                        <p:cTn id="7" dur="500"/>
                                        <p:tgtEl>
                                          <p:spTgt spid="5212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8" presetClass="entr" presetSubtype="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1219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downRight)">
                                      <p:cBhvr>
                                        <p:cTn id="12" dur="500"/>
                                        <p:tgtEl>
                                          <p:spTgt spid="521219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8" presetClass="entr" presetSubtype="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1219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downRight)">
                                      <p:cBhvr>
                                        <p:cTn id="17" dur="500"/>
                                        <p:tgtEl>
                                          <p:spTgt spid="521219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8" presetClass="entr" presetSubtype="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1219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downRight)">
                                      <p:cBhvr>
                                        <p:cTn id="22" dur="500"/>
                                        <p:tgtEl>
                                          <p:spTgt spid="521219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8" presetClass="entr" presetSubtype="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1219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downRight)">
                                      <p:cBhvr>
                                        <p:cTn id="27" dur="500"/>
                                        <p:tgtEl>
                                          <p:spTgt spid="521219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8" presetClass="entr" presetSubtype="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1219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downRight)">
                                      <p:cBhvr>
                                        <p:cTn id="32" dur="500"/>
                                        <p:tgtEl>
                                          <p:spTgt spid="521219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8" presetClass="entr" presetSubtype="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1219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downRight)">
                                      <p:cBhvr>
                                        <p:cTn id="37" dur="500"/>
                                        <p:tgtEl>
                                          <p:spTgt spid="521219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21219" grpId="0" build="p" autoUpdateAnimBg="0"/>
    </p:bld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Gráfico 4"/>
          <p:cNvGraphicFramePr/>
          <p:nvPr>
            <p:extLst>
              <p:ext uri="{D42A27DB-BD31-4B8C-83A1-F6EECF244321}">
                <p14:modId xmlns:p14="http://schemas.microsoft.com/office/powerpoint/2010/main" val="395505044"/>
              </p:ext>
            </p:extLst>
          </p:nvPr>
        </p:nvGraphicFramePr>
        <p:xfrm>
          <a:off x="539552" y="981075"/>
          <a:ext cx="8352928" cy="489619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2" name="Título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5420955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8099" name="Rectangle 3"/>
          <p:cNvSpPr>
            <a:spLocks noChangeArrowheads="1"/>
          </p:cNvSpPr>
          <p:nvPr/>
        </p:nvSpPr>
        <p:spPr bwMode="auto">
          <a:xfrm>
            <a:off x="0" y="897733"/>
            <a:ext cx="9144000" cy="69532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anchor="ctr"/>
          <a:lstStyle/>
          <a:p>
            <a:pPr algn="ctr">
              <a:defRPr/>
            </a:pPr>
            <a:r>
              <a:rPr lang="pt-BR" sz="2700" b="1">
                <a:effectLst>
                  <a:outerShdw blurRad="38100" dist="38100" dir="2700000" algn="tl">
                    <a:srgbClr val="C0C0C0"/>
                  </a:outerShdw>
                </a:effectLst>
                <a:latin typeface="Tahoma" pitchFamily="34" charset="0"/>
              </a:rPr>
              <a:t>Operações de Barter</a:t>
            </a:r>
          </a:p>
        </p:txBody>
      </p:sp>
      <p:sp>
        <p:nvSpPr>
          <p:cNvPr id="1028106" name="Freeform 10"/>
          <p:cNvSpPr>
            <a:spLocks/>
          </p:cNvSpPr>
          <p:nvPr/>
        </p:nvSpPr>
        <p:spPr bwMode="auto">
          <a:xfrm>
            <a:off x="4873625" y="2420542"/>
            <a:ext cx="2547939" cy="2509838"/>
          </a:xfrm>
          <a:custGeom>
            <a:avLst/>
            <a:gdLst>
              <a:gd name="T0" fmla="*/ 2147483647 w 2970"/>
              <a:gd name="T1" fmla="*/ 2147483647 h 2648"/>
              <a:gd name="T2" fmla="*/ 2147483647 w 2970"/>
              <a:gd name="T3" fmla="*/ 2147483647 h 2648"/>
              <a:gd name="T4" fmla="*/ 2147483647 w 2970"/>
              <a:gd name="T5" fmla="*/ 2147483647 h 2648"/>
              <a:gd name="T6" fmla="*/ 2147483647 w 2970"/>
              <a:gd name="T7" fmla="*/ 2147483647 h 2648"/>
              <a:gd name="T8" fmla="*/ 2147483647 w 2970"/>
              <a:gd name="T9" fmla="*/ 2147483647 h 2648"/>
              <a:gd name="T10" fmla="*/ 0 w 2970"/>
              <a:gd name="T11" fmla="*/ 0 h 2648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2970"/>
              <a:gd name="T19" fmla="*/ 0 h 2648"/>
              <a:gd name="T20" fmla="*/ 2970 w 2970"/>
              <a:gd name="T21" fmla="*/ 2648 h 2648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2970" h="2648">
                <a:moveTo>
                  <a:pt x="2597" y="2648"/>
                </a:moveTo>
                <a:cubicBezTo>
                  <a:pt x="2705" y="2537"/>
                  <a:pt x="2813" y="2427"/>
                  <a:pt x="2867" y="2185"/>
                </a:cubicBezTo>
                <a:cubicBezTo>
                  <a:pt x="2921" y="1943"/>
                  <a:pt x="2970" y="1437"/>
                  <a:pt x="2919" y="1195"/>
                </a:cubicBezTo>
                <a:cubicBezTo>
                  <a:pt x="2868" y="953"/>
                  <a:pt x="2818" y="898"/>
                  <a:pt x="2559" y="733"/>
                </a:cubicBezTo>
                <a:cubicBezTo>
                  <a:pt x="2300" y="568"/>
                  <a:pt x="1789" y="327"/>
                  <a:pt x="1363" y="205"/>
                </a:cubicBezTo>
                <a:cubicBezTo>
                  <a:pt x="937" y="83"/>
                  <a:pt x="468" y="41"/>
                  <a:pt x="0" y="0"/>
                </a:cubicBezTo>
              </a:path>
            </a:pathLst>
          </a:custGeom>
          <a:noFill/>
          <a:ln w="38100" cmpd="sng">
            <a:solidFill>
              <a:schemeClr val="accent2">
                <a:lumMod val="75000"/>
              </a:schemeClr>
            </a:solidFill>
            <a:round/>
            <a:headEnd type="none" w="med" len="med"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/>
          <a:p>
            <a:endParaRPr lang="pt-BR" sz="1350">
              <a:solidFill>
                <a:schemeClr val="bg1"/>
              </a:solidFill>
            </a:endParaRPr>
          </a:p>
        </p:txBody>
      </p:sp>
      <p:sp>
        <p:nvSpPr>
          <p:cNvPr id="1028107" name="Freeform 11"/>
          <p:cNvSpPr>
            <a:spLocks/>
          </p:cNvSpPr>
          <p:nvPr/>
        </p:nvSpPr>
        <p:spPr bwMode="auto">
          <a:xfrm>
            <a:off x="3848102" y="2553894"/>
            <a:ext cx="1620839" cy="2449115"/>
          </a:xfrm>
          <a:custGeom>
            <a:avLst/>
            <a:gdLst>
              <a:gd name="T0" fmla="*/ 0 w 1890"/>
              <a:gd name="T1" fmla="*/ 0 h 2584"/>
              <a:gd name="T2" fmla="*/ 2147483647 w 1890"/>
              <a:gd name="T3" fmla="*/ 2147483647 h 2584"/>
              <a:gd name="T4" fmla="*/ 2147483647 w 1890"/>
              <a:gd name="T5" fmla="*/ 2147483647 h 2584"/>
              <a:gd name="T6" fmla="*/ 2147483647 w 1890"/>
              <a:gd name="T7" fmla="*/ 2147483647 h 2584"/>
              <a:gd name="T8" fmla="*/ 2147483647 w 1890"/>
              <a:gd name="T9" fmla="*/ 2147483647 h 2584"/>
              <a:gd name="T10" fmla="*/ 2147483647 w 1890"/>
              <a:gd name="T11" fmla="*/ 2147483647 h 2584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1890"/>
              <a:gd name="T19" fmla="*/ 0 h 2584"/>
              <a:gd name="T20" fmla="*/ 1890 w 1890"/>
              <a:gd name="T21" fmla="*/ 2584 h 2584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1890" h="2584">
                <a:moveTo>
                  <a:pt x="0" y="0"/>
                </a:moveTo>
                <a:cubicBezTo>
                  <a:pt x="39" y="341"/>
                  <a:pt x="79" y="683"/>
                  <a:pt x="180" y="977"/>
                </a:cubicBezTo>
                <a:cubicBezTo>
                  <a:pt x="281" y="1271"/>
                  <a:pt x="497" y="1588"/>
                  <a:pt x="604" y="1762"/>
                </a:cubicBezTo>
                <a:cubicBezTo>
                  <a:pt x="711" y="1936"/>
                  <a:pt x="704" y="1912"/>
                  <a:pt x="822" y="2019"/>
                </a:cubicBezTo>
                <a:cubicBezTo>
                  <a:pt x="940" y="2126"/>
                  <a:pt x="1133" y="2310"/>
                  <a:pt x="1311" y="2404"/>
                </a:cubicBezTo>
                <a:cubicBezTo>
                  <a:pt x="1489" y="2498"/>
                  <a:pt x="1689" y="2541"/>
                  <a:pt x="1890" y="2584"/>
                </a:cubicBezTo>
              </a:path>
            </a:pathLst>
          </a:custGeom>
          <a:noFill/>
          <a:ln w="38100" cmpd="sng">
            <a:solidFill>
              <a:schemeClr val="accent2">
                <a:lumMod val="75000"/>
              </a:schemeClr>
            </a:solidFill>
            <a:round/>
            <a:headEnd type="none" w="med" len="med"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/>
          <a:p>
            <a:endParaRPr lang="pt-BR" sz="1350">
              <a:solidFill>
                <a:schemeClr val="bg1"/>
              </a:solidFill>
            </a:endParaRPr>
          </a:p>
        </p:txBody>
      </p:sp>
      <p:grpSp>
        <p:nvGrpSpPr>
          <p:cNvPr id="1028122" name="Group 26"/>
          <p:cNvGrpSpPr>
            <a:grpSpLocks/>
          </p:cNvGrpSpPr>
          <p:nvPr/>
        </p:nvGrpSpPr>
        <p:grpSpPr bwMode="auto">
          <a:xfrm>
            <a:off x="2905126" y="2122885"/>
            <a:ext cx="1963739" cy="547688"/>
            <a:chOff x="1830" y="1189"/>
            <a:chExt cx="1237" cy="460"/>
          </a:xfrm>
          <a:solidFill>
            <a:srgbClr val="C00000"/>
          </a:solidFill>
        </p:grpSpPr>
        <p:sp>
          <p:nvSpPr>
            <p:cNvPr id="51217" name="AutoShape 15"/>
            <p:cNvSpPr>
              <a:spLocks noChangeArrowheads="1"/>
            </p:cNvSpPr>
            <p:nvPr/>
          </p:nvSpPr>
          <p:spPr bwMode="auto">
            <a:xfrm>
              <a:off x="1830" y="1189"/>
              <a:ext cx="1237" cy="460"/>
            </a:xfrm>
            <a:prstGeom prst="bevel">
              <a:avLst>
                <a:gd name="adj" fmla="val 12500"/>
              </a:avLst>
            </a:prstGeom>
            <a:grpFill/>
            <a:ln w="952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pt-BR" sz="1350">
                <a:solidFill>
                  <a:schemeClr val="bg1"/>
                </a:solidFill>
              </a:endParaRPr>
            </a:p>
          </p:txBody>
        </p:sp>
        <p:sp>
          <p:nvSpPr>
            <p:cNvPr id="51218" name="Text Box 21"/>
            <p:cNvSpPr txBox="1">
              <a:spLocks noChangeArrowheads="1"/>
            </p:cNvSpPr>
            <p:nvPr/>
          </p:nvSpPr>
          <p:spPr bwMode="auto">
            <a:xfrm>
              <a:off x="1935" y="1318"/>
              <a:ext cx="1066" cy="226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Times New Roman" pitchFamily="18" charset="0"/>
                  <a:cs typeface="Arial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Times New Roman" pitchFamily="18" charset="0"/>
                  <a:cs typeface="Arial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Times New Roman" pitchFamily="18" charset="0"/>
                  <a:cs typeface="Arial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Times New Roman" pitchFamily="18" charset="0"/>
                  <a:cs typeface="Arial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Times New Roman" pitchFamily="18" charset="0"/>
                  <a:cs typeface="Arial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Times New Roman" pitchFamily="18" charset="0"/>
                  <a:cs typeface="Arial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Times New Roman" pitchFamily="18" charset="0"/>
                  <a:cs typeface="Arial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Times New Roman" pitchFamily="18" charset="0"/>
                  <a:cs typeface="Arial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Times New Roman" pitchFamily="18" charset="0"/>
                  <a:cs typeface="Arial" pitchFamily="34" charset="0"/>
                </a:defRPr>
              </a:lvl9pPr>
            </a:lstStyle>
            <a:p>
              <a:pPr algn="ctr"/>
              <a:r>
                <a:rPr lang="pt-BR" altLang="ko-KR" sz="1500" b="1" dirty="0">
                  <a:solidFill>
                    <a:schemeClr val="bg1"/>
                  </a:solidFill>
                  <a:latin typeface="Arial" pitchFamily="34" charset="0"/>
                  <a:ea typeface="굴림" pitchFamily="34" charset="-127"/>
                </a:rPr>
                <a:t>Fornecedor</a:t>
              </a:r>
              <a:endParaRPr lang="pt-BR" sz="1500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1028125" name="Group 29"/>
          <p:cNvGrpSpPr>
            <a:grpSpLocks/>
          </p:cNvGrpSpPr>
          <p:nvPr/>
        </p:nvGrpSpPr>
        <p:grpSpPr bwMode="auto">
          <a:xfrm>
            <a:off x="3594100" y="4027886"/>
            <a:ext cx="1995488" cy="511969"/>
            <a:chOff x="2264" y="2789"/>
            <a:chExt cx="1257" cy="430"/>
          </a:xfrm>
          <a:solidFill>
            <a:srgbClr val="FF0000"/>
          </a:solidFill>
        </p:grpSpPr>
        <p:sp>
          <p:nvSpPr>
            <p:cNvPr id="51215" name="AutoShape 17"/>
            <p:cNvSpPr>
              <a:spLocks noChangeArrowheads="1"/>
            </p:cNvSpPr>
            <p:nvPr/>
          </p:nvSpPr>
          <p:spPr bwMode="auto">
            <a:xfrm>
              <a:off x="2264" y="2789"/>
              <a:ext cx="1257" cy="430"/>
            </a:xfrm>
            <a:prstGeom prst="bevel">
              <a:avLst>
                <a:gd name="adj" fmla="val 12500"/>
              </a:avLst>
            </a:prstGeom>
            <a:grpFill/>
            <a:ln w="952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pt-BR" sz="1350">
                <a:solidFill>
                  <a:schemeClr val="bg1"/>
                </a:solidFill>
              </a:endParaRPr>
            </a:p>
          </p:txBody>
        </p:sp>
        <p:sp>
          <p:nvSpPr>
            <p:cNvPr id="51216" name="Text Box 22"/>
            <p:cNvSpPr txBox="1">
              <a:spLocks noChangeArrowheads="1"/>
            </p:cNvSpPr>
            <p:nvPr/>
          </p:nvSpPr>
          <p:spPr bwMode="auto">
            <a:xfrm>
              <a:off x="2320" y="2869"/>
              <a:ext cx="1125" cy="316"/>
            </a:xfrm>
            <a:prstGeom prst="rect">
              <a:avLst/>
            </a:prstGeom>
            <a:no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Times New Roman" pitchFamily="18" charset="0"/>
                  <a:cs typeface="Arial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Times New Roman" pitchFamily="18" charset="0"/>
                  <a:cs typeface="Arial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Times New Roman" pitchFamily="18" charset="0"/>
                  <a:cs typeface="Arial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Times New Roman" pitchFamily="18" charset="0"/>
                  <a:cs typeface="Arial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Times New Roman" pitchFamily="18" charset="0"/>
                  <a:cs typeface="Arial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Times New Roman" pitchFamily="18" charset="0"/>
                  <a:cs typeface="Arial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Times New Roman" pitchFamily="18" charset="0"/>
                  <a:cs typeface="Arial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Times New Roman" pitchFamily="18" charset="0"/>
                  <a:cs typeface="Arial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Times New Roman" pitchFamily="18" charset="0"/>
                  <a:cs typeface="Arial" pitchFamily="34" charset="0"/>
                </a:defRPr>
              </a:lvl9pPr>
            </a:lstStyle>
            <a:p>
              <a:pPr algn="ctr"/>
              <a:r>
                <a:rPr lang="pt-BR" altLang="ko-KR" sz="1500" b="1">
                  <a:solidFill>
                    <a:schemeClr val="bg1"/>
                  </a:solidFill>
                  <a:latin typeface="Arial" pitchFamily="34" charset="0"/>
                  <a:ea typeface="굴림" pitchFamily="34" charset="-127"/>
                </a:rPr>
                <a:t>Insumos</a:t>
              </a:r>
              <a:endParaRPr lang="pt-BR" sz="1500">
                <a:solidFill>
                  <a:schemeClr val="bg1"/>
                </a:solidFill>
              </a:endParaRPr>
            </a:p>
          </p:txBody>
        </p:sp>
      </p:grpSp>
      <p:grpSp>
        <p:nvGrpSpPr>
          <p:cNvPr id="1028126" name="Group 30"/>
          <p:cNvGrpSpPr>
            <a:grpSpLocks/>
          </p:cNvGrpSpPr>
          <p:nvPr/>
        </p:nvGrpSpPr>
        <p:grpSpPr bwMode="auto">
          <a:xfrm>
            <a:off x="5491160" y="4722019"/>
            <a:ext cx="1631949" cy="536972"/>
            <a:chOff x="3459" y="3372"/>
            <a:chExt cx="1028" cy="451"/>
          </a:xfrm>
          <a:solidFill>
            <a:srgbClr val="0000FF"/>
          </a:solidFill>
        </p:grpSpPr>
        <p:sp>
          <p:nvSpPr>
            <p:cNvPr id="51213" name="AutoShape 18"/>
            <p:cNvSpPr>
              <a:spLocks noChangeArrowheads="1"/>
            </p:cNvSpPr>
            <p:nvPr/>
          </p:nvSpPr>
          <p:spPr bwMode="auto">
            <a:xfrm>
              <a:off x="3459" y="3372"/>
              <a:ext cx="1028" cy="451"/>
            </a:xfrm>
            <a:prstGeom prst="bevel">
              <a:avLst>
                <a:gd name="adj" fmla="val 12500"/>
              </a:avLst>
            </a:prstGeom>
            <a:grpFill/>
            <a:ln w="952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pt-BR" sz="1350">
                <a:solidFill>
                  <a:schemeClr val="bg1"/>
                </a:solidFill>
              </a:endParaRPr>
            </a:p>
          </p:txBody>
        </p:sp>
        <p:sp>
          <p:nvSpPr>
            <p:cNvPr id="51214" name="Text Box 23"/>
            <p:cNvSpPr txBox="1">
              <a:spLocks noChangeArrowheads="1"/>
            </p:cNvSpPr>
            <p:nvPr/>
          </p:nvSpPr>
          <p:spPr bwMode="auto">
            <a:xfrm>
              <a:off x="3545" y="3496"/>
              <a:ext cx="891" cy="181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Times New Roman" pitchFamily="18" charset="0"/>
                  <a:cs typeface="Arial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Times New Roman" pitchFamily="18" charset="0"/>
                  <a:cs typeface="Arial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Times New Roman" pitchFamily="18" charset="0"/>
                  <a:cs typeface="Arial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Times New Roman" pitchFamily="18" charset="0"/>
                  <a:cs typeface="Arial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Times New Roman" pitchFamily="18" charset="0"/>
                  <a:cs typeface="Arial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Times New Roman" pitchFamily="18" charset="0"/>
                  <a:cs typeface="Arial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Times New Roman" pitchFamily="18" charset="0"/>
                  <a:cs typeface="Arial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Times New Roman" pitchFamily="18" charset="0"/>
                  <a:cs typeface="Arial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Times New Roman" pitchFamily="18" charset="0"/>
                  <a:cs typeface="Arial" pitchFamily="34" charset="0"/>
                </a:defRPr>
              </a:lvl9pPr>
            </a:lstStyle>
            <a:p>
              <a:pPr algn="ctr"/>
              <a:r>
                <a:rPr lang="pt-BR" altLang="ko-KR" sz="1500" b="1" dirty="0">
                  <a:solidFill>
                    <a:schemeClr val="bg1"/>
                  </a:solidFill>
                  <a:latin typeface="Arial" pitchFamily="34" charset="0"/>
                  <a:ea typeface="굴림" pitchFamily="34" charset="-127"/>
                </a:rPr>
                <a:t>Produtor</a:t>
              </a:r>
              <a:endParaRPr lang="pt-BR" sz="1500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1028127" name="Group 31"/>
          <p:cNvGrpSpPr>
            <a:grpSpLocks/>
          </p:cNvGrpSpPr>
          <p:nvPr/>
        </p:nvGrpSpPr>
        <p:grpSpPr bwMode="auto">
          <a:xfrm>
            <a:off x="5962651" y="3062288"/>
            <a:ext cx="2139951" cy="876300"/>
            <a:chOff x="3756" y="1978"/>
            <a:chExt cx="1348" cy="736"/>
          </a:xfrm>
          <a:solidFill>
            <a:srgbClr val="008000"/>
          </a:solidFill>
        </p:grpSpPr>
        <p:sp>
          <p:nvSpPr>
            <p:cNvPr id="51211" name="AutoShape 14"/>
            <p:cNvSpPr>
              <a:spLocks noChangeArrowheads="1"/>
            </p:cNvSpPr>
            <p:nvPr/>
          </p:nvSpPr>
          <p:spPr bwMode="auto">
            <a:xfrm>
              <a:off x="3756" y="1978"/>
              <a:ext cx="1348" cy="736"/>
            </a:xfrm>
            <a:prstGeom prst="bevel">
              <a:avLst>
                <a:gd name="adj" fmla="val 12500"/>
              </a:avLst>
            </a:prstGeom>
            <a:grpFill/>
            <a:ln w="952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pt-BR" sz="1350">
                <a:solidFill>
                  <a:schemeClr val="bg1"/>
                </a:solidFill>
              </a:endParaRPr>
            </a:p>
          </p:txBody>
        </p:sp>
        <p:sp>
          <p:nvSpPr>
            <p:cNvPr id="51212" name="Text Box 24"/>
            <p:cNvSpPr txBox="1">
              <a:spLocks noChangeArrowheads="1"/>
            </p:cNvSpPr>
            <p:nvPr/>
          </p:nvSpPr>
          <p:spPr bwMode="auto">
            <a:xfrm>
              <a:off x="3766" y="2133"/>
              <a:ext cx="1318" cy="459"/>
            </a:xfrm>
            <a:prstGeom prst="rect">
              <a:avLst/>
            </a:prstGeom>
            <a:no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Times New Roman" pitchFamily="18" charset="0"/>
                  <a:cs typeface="Arial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Times New Roman" pitchFamily="18" charset="0"/>
                  <a:cs typeface="Arial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Times New Roman" pitchFamily="18" charset="0"/>
                  <a:cs typeface="Arial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Times New Roman" pitchFamily="18" charset="0"/>
                  <a:cs typeface="Arial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Times New Roman" pitchFamily="18" charset="0"/>
                  <a:cs typeface="Arial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Times New Roman" pitchFamily="18" charset="0"/>
                  <a:cs typeface="Arial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Times New Roman" pitchFamily="18" charset="0"/>
                  <a:cs typeface="Arial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Times New Roman" pitchFamily="18" charset="0"/>
                  <a:cs typeface="Arial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Times New Roman" pitchFamily="18" charset="0"/>
                  <a:cs typeface="Arial" pitchFamily="34" charset="0"/>
                </a:defRPr>
              </a:lvl9pPr>
            </a:lstStyle>
            <a:p>
              <a:pPr algn="ctr"/>
              <a:r>
                <a:rPr lang="pt-BR" altLang="ko-KR" sz="1500" b="1" dirty="0">
                  <a:solidFill>
                    <a:schemeClr val="bg1"/>
                  </a:solidFill>
                  <a:latin typeface="Arial" pitchFamily="34" charset="0"/>
                  <a:ea typeface="굴림" pitchFamily="34" charset="-127"/>
                </a:rPr>
                <a:t>Entrega Futura do Produto</a:t>
              </a:r>
              <a:endParaRPr lang="pt-BR" sz="1500" dirty="0">
                <a:solidFill>
                  <a:schemeClr val="bg1"/>
                </a:solidFill>
              </a:endParaRPr>
            </a:p>
          </p:txBody>
        </p:sp>
      </p:grpSp>
      <p:sp>
        <p:nvSpPr>
          <p:cNvPr id="1028121" name="Text Box 25"/>
          <p:cNvSpPr txBox="1">
            <a:spLocks noChangeArrowheads="1"/>
          </p:cNvSpPr>
          <p:nvPr/>
        </p:nvSpPr>
        <p:spPr bwMode="auto">
          <a:xfrm rot="-5400000">
            <a:off x="7150300" y="3049766"/>
            <a:ext cx="3487341" cy="2954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marL="457200" indent="-457200"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9pPr>
          </a:lstStyle>
          <a:p>
            <a:pPr>
              <a:lnSpc>
                <a:spcPct val="110000"/>
              </a:lnSpc>
              <a:spcBef>
                <a:spcPct val="30000"/>
              </a:spcBef>
              <a:buFont typeface="Wingdings" pitchFamily="2" charset="2"/>
              <a:buNone/>
            </a:pPr>
            <a:r>
              <a:rPr lang="pt-BR" sz="1200" dirty="0">
                <a:latin typeface="Arial" pitchFamily="34" charset="0"/>
              </a:rPr>
              <a:t>Fonte: baseado em Azimute Agronegócios.</a:t>
            </a:r>
          </a:p>
        </p:txBody>
      </p:sp>
    </p:spTree>
    <p:extLst>
      <p:ext uri="{BB962C8B-B14F-4D97-AF65-F5344CB8AC3E}">
        <p14:creationId xmlns:p14="http://schemas.microsoft.com/office/powerpoint/2010/main" val="17010496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2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81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102812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102812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 nodeType="clickPar">
                      <p:stCondLst>
                        <p:cond delay="indefinite"/>
                      </p:stCondLst>
                      <p:childTnLst>
                        <p:par>
                          <p:cTn id="10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1" presetID="2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81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3" dur="500" fill="hold"/>
                                        <p:tgtEl>
                                          <p:spTgt spid="102812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500" fill="hold"/>
                                        <p:tgtEl>
                                          <p:spTgt spid="102812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 nodeType="clickPar">
                      <p:stCondLst>
                        <p:cond delay="indefinite"/>
                      </p:stCondLst>
                      <p:childTnLst>
                        <p:par>
                          <p:cTn id="16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7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810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9" dur="1000"/>
                                        <p:tgtEl>
                                          <p:spTgt spid="102810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2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81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2" dur="500" fill="hold"/>
                                        <p:tgtEl>
                                          <p:spTgt spid="102812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" dur="500" fill="hold"/>
                                        <p:tgtEl>
                                          <p:spTgt spid="102812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 nodeType="afterGroup">
                            <p:stCondLst>
                              <p:cond delay="1000"/>
                            </p:stCondLst>
                            <p:childTnLst>
                              <p:par>
                                <p:cTn id="25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810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7" dur="1000"/>
                                        <p:tgtEl>
                                          <p:spTgt spid="102810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2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81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0" dur="500" fill="hold"/>
                                        <p:tgtEl>
                                          <p:spTgt spid="102812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1" dur="500" fill="hold"/>
                                        <p:tgtEl>
                                          <p:spTgt spid="102812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 nodeType="afterGroup">
                            <p:stCondLst>
                              <p:cond delay="2000"/>
                            </p:stCondLst>
                            <p:childTnLst>
                              <p:par>
                                <p:cTn id="33" presetID="9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81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35" dur="500"/>
                                        <p:tgtEl>
                                          <p:spTgt spid="10281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28106" grpId="0" animBg="1"/>
      <p:bldP spid="1028107" grpId="0" animBg="1"/>
      <p:bldP spid="1028121" grpId="0" autoUpdateAnimBg="0"/>
    </p:bld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Gráfico 3"/>
          <p:cNvGraphicFramePr/>
          <p:nvPr>
            <p:extLst>
              <p:ext uri="{D42A27DB-BD31-4B8C-83A1-F6EECF244321}">
                <p14:modId xmlns:p14="http://schemas.microsoft.com/office/powerpoint/2010/main" val="3242683481"/>
              </p:ext>
            </p:extLst>
          </p:nvPr>
        </p:nvGraphicFramePr>
        <p:xfrm>
          <a:off x="203514" y="692696"/>
          <a:ext cx="8736972" cy="504056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2" name="CaixaDeTexto 1"/>
          <p:cNvSpPr txBox="1"/>
          <p:nvPr/>
        </p:nvSpPr>
        <p:spPr>
          <a:xfrm flipH="1">
            <a:off x="8840798" y="908721"/>
            <a:ext cx="276999" cy="3723878"/>
          </a:xfrm>
          <a:prstGeom prst="rect">
            <a:avLst/>
          </a:prstGeom>
          <a:noFill/>
        </p:spPr>
        <p:txBody>
          <a:bodyPr vert="vert270" wrap="square" rIns="0" rtlCol="0" anchor="b">
            <a:spAutoFit/>
          </a:bodyPr>
          <a:lstStyle/>
          <a:p>
            <a:r>
              <a:rPr lang="pt-BR" sz="1200" dirty="0">
                <a:solidFill>
                  <a:schemeClr val="bg1">
                    <a:lumMod val="50000"/>
                  </a:schemeClr>
                </a:solidFill>
              </a:rPr>
              <a:t>Reais de dezembro 2016 – deflacionado pelo IPCA</a:t>
            </a:r>
          </a:p>
        </p:txBody>
      </p:sp>
      <p:sp>
        <p:nvSpPr>
          <p:cNvPr id="3" name="Título 2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5248460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Gráfico 3"/>
          <p:cNvGraphicFramePr/>
          <p:nvPr>
            <p:extLst>
              <p:ext uri="{D42A27DB-BD31-4B8C-83A1-F6EECF244321}">
                <p14:modId xmlns:p14="http://schemas.microsoft.com/office/powerpoint/2010/main" val="1579230551"/>
              </p:ext>
            </p:extLst>
          </p:nvPr>
        </p:nvGraphicFramePr>
        <p:xfrm>
          <a:off x="179512" y="620688"/>
          <a:ext cx="8808980" cy="51125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cxnSp>
        <p:nvCxnSpPr>
          <p:cNvPr id="5" name="Conector reto 4"/>
          <p:cNvCxnSpPr/>
          <p:nvPr/>
        </p:nvCxnSpPr>
        <p:spPr>
          <a:xfrm>
            <a:off x="828676" y="2924944"/>
            <a:ext cx="8063805" cy="9525"/>
          </a:xfrm>
          <a:prstGeom prst="line">
            <a:avLst/>
          </a:prstGeom>
          <a:ln w="28575">
            <a:solidFill>
              <a:schemeClr val="accent1">
                <a:lumMod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ítulo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785485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Espaço Reservado para Conteúdo 6"/>
          <p:cNvGraphicFramePr>
            <a:graphicFrameLocks noGrp="1"/>
          </p:cNvGraphicFramePr>
          <p:nvPr>
            <p:ph sz="quarter" idx="13"/>
            <p:extLst>
              <p:ext uri="{D42A27DB-BD31-4B8C-83A1-F6EECF244321}">
                <p14:modId xmlns:p14="http://schemas.microsoft.com/office/powerpoint/2010/main" val="4286630075"/>
              </p:ext>
            </p:extLst>
          </p:nvPr>
        </p:nvGraphicFramePr>
        <p:xfrm>
          <a:off x="179513" y="620688"/>
          <a:ext cx="8790724" cy="489654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2" name="Título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2869642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3218" name="Text Box 2"/>
          <p:cNvSpPr txBox="1">
            <a:spLocks noChangeArrowheads="1"/>
          </p:cNvSpPr>
          <p:nvPr/>
        </p:nvSpPr>
        <p:spPr bwMode="auto">
          <a:xfrm>
            <a:off x="2051448" y="2619375"/>
            <a:ext cx="5005388" cy="60016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 algn="ctr">
              <a:lnSpc>
                <a:spcPct val="110000"/>
              </a:lnSpc>
              <a:spcBef>
                <a:spcPct val="20000"/>
              </a:spcBef>
              <a:defRPr/>
            </a:pPr>
            <a:r>
              <a:rPr lang="pt-BR" sz="3000" b="1" dirty="0">
                <a:effectLst>
                  <a:outerShdw blurRad="38100" dist="38100" dir="2700000" algn="tl">
                    <a:srgbClr val="C0C0C0"/>
                  </a:outerShdw>
                </a:effectLst>
                <a:latin typeface="Lucida Sans Unicode" pitchFamily="34" charset="0"/>
              </a:rPr>
              <a:t>Importância do Crédito</a:t>
            </a:r>
          </a:p>
        </p:txBody>
      </p:sp>
      <p:sp>
        <p:nvSpPr>
          <p:cNvPr id="1033219" name="Rectangle 3"/>
          <p:cNvSpPr>
            <a:spLocks noChangeArrowheads="1"/>
          </p:cNvSpPr>
          <p:nvPr/>
        </p:nvSpPr>
        <p:spPr bwMode="auto">
          <a:xfrm>
            <a:off x="1143000" y="897731"/>
            <a:ext cx="6858000" cy="6953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/>
          <a:lstStyle/>
          <a:p>
            <a:pPr algn="ctr">
              <a:defRPr/>
            </a:pPr>
            <a:endParaRPr lang="pt-BR" sz="2700" b="1">
              <a:solidFill>
                <a:schemeClr val="tx2"/>
              </a:solidFill>
              <a:effectLst>
                <a:outerShdw blurRad="38100" dist="38100" dir="2700000" algn="tl">
                  <a:srgbClr val="C0C0C0"/>
                </a:outerShdw>
              </a:effectLst>
              <a:latin typeface="Tahom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390100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32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7" dur="500"/>
                                        <p:tgtEl>
                                          <p:spTgt spid="10332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33218" grpId="0" autoUpdateAnimBg="0"/>
    </p:bld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7699" name="Rectangle 2"/>
          <p:cNvSpPr>
            <a:spLocks noGrp="1" noChangeArrowheads="1"/>
          </p:cNvSpPr>
          <p:nvPr>
            <p:ph type="ctrTitle"/>
          </p:nvPr>
        </p:nvSpPr>
        <p:spPr>
          <a:xfrm>
            <a:off x="1357312" y="1052738"/>
            <a:ext cx="7026647" cy="576063"/>
          </a:xfrm>
        </p:spPr>
        <p:txBody>
          <a:bodyPr/>
          <a:lstStyle/>
          <a:p>
            <a:r>
              <a:rPr lang="pt-BR" sz="2700" dirty="0">
                <a:effectLst>
                  <a:outerShdw blurRad="38100" dist="38100" dir="2700000" algn="tl">
                    <a:srgbClr val="C0C0C0"/>
                  </a:outerShdw>
                </a:effectLst>
                <a:latin typeface="Tahoma" pitchFamily="34" charset="0"/>
                <a:ea typeface="+mn-ea"/>
                <a:cs typeface="Arial" pitchFamily="34" charset="0"/>
              </a:rPr>
              <a:t>O Crédito</a:t>
            </a:r>
          </a:p>
        </p:txBody>
      </p:sp>
      <p:sp>
        <p:nvSpPr>
          <p:cNvPr id="521219" name="Rectangle 3"/>
          <p:cNvSpPr>
            <a:spLocks noGrp="1" noChangeArrowheads="1"/>
          </p:cNvSpPr>
          <p:nvPr>
            <p:ph sz="quarter" idx="13"/>
          </p:nvPr>
        </p:nvSpPr>
        <p:spPr>
          <a:xfrm>
            <a:off x="1357313" y="1844824"/>
            <a:ext cx="7031410" cy="3240088"/>
          </a:xfrm>
        </p:spPr>
        <p:txBody>
          <a:bodyPr>
            <a:noAutofit/>
          </a:bodyPr>
          <a:lstStyle/>
          <a:p>
            <a:pPr marL="196449" indent="-196449">
              <a:lnSpc>
                <a:spcPct val="150000"/>
              </a:lnSpc>
            </a:pPr>
            <a:r>
              <a:rPr lang="pt-BR" sz="2400" b="1" dirty="0">
                <a:latin typeface="Arial" pitchFamily="34" charset="0"/>
              </a:rPr>
              <a:t>Determinante central do nível de atividade econômica</a:t>
            </a:r>
          </a:p>
          <a:p>
            <a:pPr marL="196449" indent="-196449">
              <a:lnSpc>
                <a:spcPct val="150000"/>
              </a:lnSpc>
            </a:pPr>
            <a:r>
              <a:rPr lang="pt-BR" sz="2400" b="1" dirty="0">
                <a:latin typeface="Arial" pitchFamily="34" charset="0"/>
              </a:rPr>
              <a:t>Oferta é diferente de bens e serviços comuns – Não pode haver leilão!</a:t>
            </a:r>
          </a:p>
          <a:p>
            <a:pPr marL="196449" indent="-196449">
              <a:lnSpc>
                <a:spcPct val="150000"/>
              </a:lnSpc>
            </a:pPr>
            <a:r>
              <a:rPr lang="pt-BR" sz="2400" b="1" dirty="0">
                <a:latin typeface="Arial" pitchFamily="34" charset="0"/>
              </a:rPr>
              <a:t>Sistema bancário é importante, mas não é o único a ofertar crédito.</a:t>
            </a:r>
          </a:p>
        </p:txBody>
      </p:sp>
    </p:spTree>
    <p:extLst>
      <p:ext uri="{BB962C8B-B14F-4D97-AF65-F5344CB8AC3E}">
        <p14:creationId xmlns:p14="http://schemas.microsoft.com/office/powerpoint/2010/main" val="37574323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8" presetClass="entr" presetSubtype="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12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downRight)">
                                      <p:cBhvr>
                                        <p:cTn id="7" dur="500"/>
                                        <p:tgtEl>
                                          <p:spTgt spid="5212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8" presetClass="entr" presetSubtype="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1219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downRight)">
                                      <p:cBhvr>
                                        <p:cTn id="10" dur="500"/>
                                        <p:tgtEl>
                                          <p:spTgt spid="521219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 nodeType="clickPar">
                      <p:stCondLst>
                        <p:cond delay="indefinite"/>
                      </p:stCondLst>
                      <p:childTnLst>
                        <p:par>
                          <p:cTn id="12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3" presetID="18" presetClass="entr" presetSubtype="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1219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downRight)">
                                      <p:cBhvr>
                                        <p:cTn id="15" dur="500"/>
                                        <p:tgtEl>
                                          <p:spTgt spid="521219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21219" grpId="0" build="p" autoUpdateAnimBg="0"/>
    </p:bld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2"/>
          <p:cNvSpPr>
            <a:spLocks noGrp="1" noChangeArrowheads="1"/>
          </p:cNvSpPr>
          <p:nvPr>
            <p:ph type="ctrTitle"/>
          </p:nvPr>
        </p:nvSpPr>
        <p:spPr>
          <a:xfrm>
            <a:off x="1358644" y="1052738"/>
            <a:ext cx="7026647" cy="576063"/>
          </a:xfrm>
        </p:spPr>
        <p:txBody>
          <a:bodyPr/>
          <a:lstStyle/>
          <a:p>
            <a:r>
              <a:rPr lang="pt-BR" sz="2700" dirty="0">
                <a:effectLst>
                  <a:outerShdw blurRad="38100" dist="38100" dir="2700000" algn="tl">
                    <a:srgbClr val="C0C0C0"/>
                  </a:outerShdw>
                </a:effectLst>
                <a:latin typeface="Tahoma" pitchFamily="34" charset="0"/>
                <a:ea typeface="+mn-ea"/>
                <a:cs typeface="Arial" pitchFamily="34" charset="0"/>
              </a:rPr>
              <a:t>O Crédito</a:t>
            </a:r>
          </a:p>
        </p:txBody>
      </p:sp>
      <p:sp>
        <p:nvSpPr>
          <p:cNvPr id="522243" name="Rectangle 3"/>
          <p:cNvSpPr>
            <a:spLocks noGrp="1" noChangeArrowheads="1"/>
          </p:cNvSpPr>
          <p:nvPr>
            <p:ph sz="quarter" idx="13"/>
          </p:nvPr>
        </p:nvSpPr>
        <p:spPr>
          <a:xfrm>
            <a:off x="1357313" y="1844824"/>
            <a:ext cx="7031410" cy="3240088"/>
          </a:xfrm>
        </p:spPr>
        <p:txBody>
          <a:bodyPr>
            <a:normAutofit fontScale="92500" lnSpcReduction="10000"/>
          </a:bodyPr>
          <a:lstStyle/>
          <a:p>
            <a:pPr marL="196449" indent="-196449">
              <a:lnSpc>
                <a:spcPct val="150000"/>
              </a:lnSpc>
            </a:pPr>
            <a:r>
              <a:rPr lang="pt-BR" sz="2400" b="1" dirty="0">
                <a:latin typeface="Arial" pitchFamily="34" charset="0"/>
              </a:rPr>
              <a:t>Crédito surge em vários momentos na sociedade:</a:t>
            </a:r>
          </a:p>
          <a:p>
            <a:pPr marL="571486" lvl="1">
              <a:lnSpc>
                <a:spcPct val="150000"/>
              </a:lnSpc>
            </a:pPr>
            <a:r>
              <a:rPr lang="pt-BR" b="1" dirty="0">
                <a:latin typeface="Arial" pitchFamily="34" charset="0"/>
              </a:rPr>
              <a:t>Crédito de fornecedores a clientes</a:t>
            </a:r>
          </a:p>
          <a:p>
            <a:pPr marL="571486" lvl="1">
              <a:lnSpc>
                <a:spcPct val="150000"/>
              </a:lnSpc>
            </a:pPr>
            <a:r>
              <a:rPr lang="pt-BR" b="1" dirty="0">
                <a:latin typeface="Arial" pitchFamily="34" charset="0"/>
              </a:rPr>
              <a:t>Crédito aos consumidores</a:t>
            </a:r>
          </a:p>
          <a:p>
            <a:pPr marL="571486" lvl="1">
              <a:lnSpc>
                <a:spcPct val="150000"/>
              </a:lnSpc>
            </a:pPr>
            <a:r>
              <a:rPr lang="pt-BR" b="1" dirty="0">
                <a:latin typeface="Arial" pitchFamily="34" charset="0"/>
              </a:rPr>
              <a:t>Crédito para fornecedores comprarem insumos</a:t>
            </a:r>
          </a:p>
          <a:p>
            <a:pPr marL="571486" lvl="1">
              <a:lnSpc>
                <a:spcPct val="150000"/>
              </a:lnSpc>
            </a:pPr>
            <a:r>
              <a:rPr lang="pt-BR" b="1" dirty="0">
                <a:latin typeface="Arial" pitchFamily="34" charset="0"/>
              </a:rPr>
              <a:t>...</a:t>
            </a:r>
          </a:p>
        </p:txBody>
      </p:sp>
    </p:spTree>
    <p:extLst>
      <p:ext uri="{BB962C8B-B14F-4D97-AF65-F5344CB8AC3E}">
        <p14:creationId xmlns:p14="http://schemas.microsoft.com/office/powerpoint/2010/main" val="10357574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8" presetClass="entr" presetSubtype="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224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downRight)">
                                      <p:cBhvr>
                                        <p:cTn id="7" dur="500"/>
                                        <p:tgtEl>
                                          <p:spTgt spid="52224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8" presetClass="entr" presetSubtype="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224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downRight)">
                                      <p:cBhvr>
                                        <p:cTn id="10" dur="500"/>
                                        <p:tgtEl>
                                          <p:spTgt spid="52224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8" presetClass="entr" presetSubtype="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224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downRight)">
                                      <p:cBhvr>
                                        <p:cTn id="13" dur="500"/>
                                        <p:tgtEl>
                                          <p:spTgt spid="52224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8" presetClass="entr" presetSubtype="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224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downRight)">
                                      <p:cBhvr>
                                        <p:cTn id="16" dur="500"/>
                                        <p:tgtEl>
                                          <p:spTgt spid="52224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8" presetClass="entr" presetSubtype="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224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downRight)">
                                      <p:cBhvr>
                                        <p:cTn id="19" dur="500"/>
                                        <p:tgtEl>
                                          <p:spTgt spid="52224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22243" grpId="0" build="p" autoUpdateAnimBg="0"/>
    </p:bld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43" name="Rectangle 2"/>
          <p:cNvSpPr>
            <a:spLocks noGrp="1" noChangeArrowheads="1"/>
          </p:cNvSpPr>
          <p:nvPr>
            <p:ph type="ctrTitle"/>
          </p:nvPr>
        </p:nvSpPr>
        <p:spPr>
          <a:xfrm>
            <a:off x="1357312" y="1052738"/>
            <a:ext cx="7026647" cy="576063"/>
          </a:xfrm>
        </p:spPr>
        <p:txBody>
          <a:bodyPr/>
          <a:lstStyle/>
          <a:p>
            <a:r>
              <a:rPr lang="pt-BR" sz="2400" dirty="0">
                <a:effectLst>
                  <a:outerShdw blurRad="38100" dist="38100" dir="2700000" algn="tl">
                    <a:srgbClr val="C0C0C0"/>
                  </a:outerShdw>
                </a:effectLst>
                <a:latin typeface="Tahoma" pitchFamily="34" charset="0"/>
                <a:cs typeface="Arial" pitchFamily="34" charset="0"/>
              </a:rPr>
              <a:t>O Crédito</a:t>
            </a:r>
            <a:endParaRPr lang="pt-BR" sz="2250" dirty="0">
              <a:effectLst>
                <a:outerShdw blurRad="38100" dist="38100" dir="2700000" algn="tl">
                  <a:srgbClr val="C0C0C0"/>
                </a:outerShdw>
              </a:effectLst>
              <a:latin typeface="Tahoma" pitchFamily="34" charset="0"/>
              <a:ea typeface="+mn-ea"/>
              <a:cs typeface="Arial" pitchFamily="34" charset="0"/>
            </a:endParaRPr>
          </a:p>
        </p:txBody>
      </p:sp>
      <p:sp>
        <p:nvSpPr>
          <p:cNvPr id="527364" name="Oval 4"/>
          <p:cNvSpPr>
            <a:spLocks noChangeArrowheads="1"/>
          </p:cNvSpPr>
          <p:nvPr/>
        </p:nvSpPr>
        <p:spPr bwMode="auto">
          <a:xfrm>
            <a:off x="2863210" y="2350780"/>
            <a:ext cx="4162425" cy="1943100"/>
          </a:xfrm>
          <a:prstGeom prst="ellipse">
            <a:avLst/>
          </a:prstGeom>
          <a:noFill/>
          <a:ln w="57150" cmpd="thinThick" algn="ctr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pt-BR">
              <a:solidFill>
                <a:schemeClr val="accent6">
                  <a:lumMod val="50000"/>
                </a:schemeClr>
              </a:solidFill>
              <a:latin typeface="Arial" pitchFamily="34" charset="0"/>
            </a:endParaRPr>
          </a:p>
        </p:txBody>
      </p:sp>
      <p:sp>
        <p:nvSpPr>
          <p:cNvPr id="527365" name="Text Box 5"/>
          <p:cNvSpPr txBox="1">
            <a:spLocks noChangeArrowheads="1"/>
          </p:cNvSpPr>
          <p:nvPr/>
        </p:nvSpPr>
        <p:spPr bwMode="auto">
          <a:xfrm>
            <a:off x="4385503" y="3099572"/>
            <a:ext cx="1136177" cy="92333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/>
          <a:p>
            <a:pPr algn="ctr">
              <a:spcBef>
                <a:spcPct val="50000"/>
              </a:spcBef>
              <a:defRPr/>
            </a:pPr>
            <a:r>
              <a:rPr lang="pt-BR" sz="2700" dirty="0">
                <a:solidFill>
                  <a:schemeClr val="accent6">
                    <a:lumMod val="50000"/>
                  </a:schemeClr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Arial" pitchFamily="34" charset="0"/>
              </a:rPr>
              <a:t>Banco</a:t>
            </a:r>
          </a:p>
        </p:txBody>
      </p:sp>
      <p:sp>
        <p:nvSpPr>
          <p:cNvPr id="527366" name="Oval 6"/>
          <p:cNvSpPr>
            <a:spLocks noChangeArrowheads="1"/>
          </p:cNvSpPr>
          <p:nvPr/>
        </p:nvSpPr>
        <p:spPr bwMode="auto">
          <a:xfrm>
            <a:off x="4349109" y="3065155"/>
            <a:ext cx="1200150" cy="552450"/>
          </a:xfrm>
          <a:prstGeom prst="ellipse">
            <a:avLst/>
          </a:prstGeom>
          <a:noFill/>
          <a:ln w="28575" algn="ctr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pt-BR">
              <a:solidFill>
                <a:schemeClr val="accent6">
                  <a:lumMod val="50000"/>
                </a:schemeClr>
              </a:solidFill>
              <a:latin typeface="Arial" pitchFamily="34" charset="0"/>
            </a:endParaRPr>
          </a:p>
        </p:txBody>
      </p:sp>
      <p:sp>
        <p:nvSpPr>
          <p:cNvPr id="527367" name="Line 7"/>
          <p:cNvSpPr>
            <a:spLocks noChangeShapeType="1"/>
          </p:cNvSpPr>
          <p:nvPr/>
        </p:nvSpPr>
        <p:spPr bwMode="auto">
          <a:xfrm flipV="1">
            <a:off x="4956329" y="2455556"/>
            <a:ext cx="0" cy="600075"/>
          </a:xfrm>
          <a:prstGeom prst="line">
            <a:avLst/>
          </a:prstGeom>
          <a:noFill/>
          <a:ln w="19050">
            <a:solidFill>
              <a:schemeClr val="tx1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pt-BR">
              <a:solidFill>
                <a:schemeClr val="accent6">
                  <a:lumMod val="50000"/>
                </a:schemeClr>
              </a:solidFill>
              <a:latin typeface="Arial" pitchFamily="34" charset="0"/>
            </a:endParaRPr>
          </a:p>
        </p:txBody>
      </p:sp>
      <p:sp>
        <p:nvSpPr>
          <p:cNvPr id="527368" name="Line 8"/>
          <p:cNvSpPr>
            <a:spLocks noChangeShapeType="1"/>
          </p:cNvSpPr>
          <p:nvPr/>
        </p:nvSpPr>
        <p:spPr bwMode="auto">
          <a:xfrm>
            <a:off x="4956329" y="3617606"/>
            <a:ext cx="0" cy="581025"/>
          </a:xfrm>
          <a:prstGeom prst="line">
            <a:avLst/>
          </a:prstGeom>
          <a:noFill/>
          <a:ln w="19050">
            <a:solidFill>
              <a:schemeClr val="tx1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pt-BR">
              <a:solidFill>
                <a:schemeClr val="accent6">
                  <a:lumMod val="50000"/>
                </a:schemeClr>
              </a:solidFill>
              <a:latin typeface="Arial" pitchFamily="34" charset="0"/>
            </a:endParaRPr>
          </a:p>
        </p:txBody>
      </p:sp>
      <p:sp>
        <p:nvSpPr>
          <p:cNvPr id="527369" name="Line 9"/>
          <p:cNvSpPr>
            <a:spLocks noChangeShapeType="1"/>
          </p:cNvSpPr>
          <p:nvPr/>
        </p:nvSpPr>
        <p:spPr bwMode="auto">
          <a:xfrm>
            <a:off x="5549259" y="3333046"/>
            <a:ext cx="1371600" cy="0"/>
          </a:xfrm>
          <a:prstGeom prst="line">
            <a:avLst/>
          </a:prstGeom>
          <a:noFill/>
          <a:ln w="19050">
            <a:solidFill>
              <a:schemeClr val="tx1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pt-BR">
              <a:solidFill>
                <a:schemeClr val="accent6">
                  <a:lumMod val="50000"/>
                </a:schemeClr>
              </a:solidFill>
              <a:latin typeface="Arial" pitchFamily="34" charset="0"/>
            </a:endParaRPr>
          </a:p>
        </p:txBody>
      </p:sp>
      <p:sp>
        <p:nvSpPr>
          <p:cNvPr id="527370" name="Line 10"/>
          <p:cNvSpPr>
            <a:spLocks noChangeShapeType="1"/>
          </p:cNvSpPr>
          <p:nvPr/>
        </p:nvSpPr>
        <p:spPr bwMode="auto">
          <a:xfrm flipH="1">
            <a:off x="2967985" y="3333046"/>
            <a:ext cx="1362075" cy="0"/>
          </a:xfrm>
          <a:prstGeom prst="line">
            <a:avLst/>
          </a:prstGeom>
          <a:noFill/>
          <a:ln w="28575">
            <a:solidFill>
              <a:schemeClr val="tx1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pt-BR">
              <a:solidFill>
                <a:schemeClr val="accent6">
                  <a:lumMod val="50000"/>
                </a:schemeClr>
              </a:solidFill>
              <a:latin typeface="Arial" pitchFamily="34" charset="0"/>
            </a:endParaRPr>
          </a:p>
        </p:txBody>
      </p:sp>
      <p:sp>
        <p:nvSpPr>
          <p:cNvPr id="527371" name="Line 11"/>
          <p:cNvSpPr>
            <a:spLocks noChangeShapeType="1"/>
          </p:cNvSpPr>
          <p:nvPr/>
        </p:nvSpPr>
        <p:spPr bwMode="auto">
          <a:xfrm flipV="1">
            <a:off x="5292084" y="2617480"/>
            <a:ext cx="781050" cy="495300"/>
          </a:xfrm>
          <a:prstGeom prst="line">
            <a:avLst/>
          </a:prstGeom>
          <a:noFill/>
          <a:ln w="19050">
            <a:solidFill>
              <a:schemeClr val="tx1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pt-BR">
              <a:solidFill>
                <a:schemeClr val="accent6">
                  <a:lumMod val="50000"/>
                </a:schemeClr>
              </a:solidFill>
              <a:latin typeface="Arial" pitchFamily="34" charset="0"/>
            </a:endParaRPr>
          </a:p>
        </p:txBody>
      </p:sp>
      <p:sp>
        <p:nvSpPr>
          <p:cNvPr id="527372" name="Line 12"/>
          <p:cNvSpPr>
            <a:spLocks noChangeShapeType="1"/>
          </p:cNvSpPr>
          <p:nvPr/>
        </p:nvSpPr>
        <p:spPr bwMode="auto">
          <a:xfrm flipV="1">
            <a:off x="3803804" y="3561646"/>
            <a:ext cx="781050" cy="495300"/>
          </a:xfrm>
          <a:prstGeom prst="line">
            <a:avLst/>
          </a:prstGeom>
          <a:noFill/>
          <a:ln w="19050">
            <a:solidFill>
              <a:schemeClr val="tx1"/>
            </a:solidFill>
            <a:round/>
            <a:headEnd type="triangle" w="med" len="med"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pt-BR">
              <a:solidFill>
                <a:schemeClr val="accent6">
                  <a:lumMod val="50000"/>
                </a:schemeClr>
              </a:solidFill>
              <a:latin typeface="Arial" pitchFamily="34" charset="0"/>
            </a:endParaRPr>
          </a:p>
        </p:txBody>
      </p:sp>
      <p:sp>
        <p:nvSpPr>
          <p:cNvPr id="527373" name="Line 13"/>
          <p:cNvSpPr>
            <a:spLocks noChangeShapeType="1"/>
          </p:cNvSpPr>
          <p:nvPr/>
        </p:nvSpPr>
        <p:spPr bwMode="auto">
          <a:xfrm>
            <a:off x="5377809" y="3541406"/>
            <a:ext cx="800100" cy="447675"/>
          </a:xfrm>
          <a:prstGeom prst="line">
            <a:avLst/>
          </a:prstGeom>
          <a:noFill/>
          <a:ln w="19050">
            <a:solidFill>
              <a:schemeClr val="tx1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pt-BR">
              <a:solidFill>
                <a:schemeClr val="accent6">
                  <a:lumMod val="50000"/>
                </a:schemeClr>
              </a:solidFill>
              <a:latin typeface="Arial" pitchFamily="34" charset="0"/>
            </a:endParaRPr>
          </a:p>
        </p:txBody>
      </p:sp>
      <p:sp>
        <p:nvSpPr>
          <p:cNvPr id="527374" name="Line 14"/>
          <p:cNvSpPr>
            <a:spLocks noChangeShapeType="1"/>
          </p:cNvSpPr>
          <p:nvPr/>
        </p:nvSpPr>
        <p:spPr bwMode="auto">
          <a:xfrm flipH="1" flipV="1">
            <a:off x="3720459" y="2636531"/>
            <a:ext cx="857250" cy="466725"/>
          </a:xfrm>
          <a:prstGeom prst="line">
            <a:avLst/>
          </a:prstGeom>
          <a:noFill/>
          <a:ln w="19050">
            <a:solidFill>
              <a:schemeClr val="tx1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pt-BR">
              <a:solidFill>
                <a:schemeClr val="accent6">
                  <a:lumMod val="50000"/>
                </a:schemeClr>
              </a:solidFill>
              <a:latin typeface="Arial" pitchFamily="34" charset="0"/>
            </a:endParaRPr>
          </a:p>
        </p:txBody>
      </p:sp>
      <p:sp>
        <p:nvSpPr>
          <p:cNvPr id="527375" name="Text Box 15"/>
          <p:cNvSpPr txBox="1">
            <a:spLocks noChangeArrowheads="1"/>
          </p:cNvSpPr>
          <p:nvPr/>
        </p:nvSpPr>
        <p:spPr bwMode="auto">
          <a:xfrm>
            <a:off x="4641398" y="1847660"/>
            <a:ext cx="594248" cy="5078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>
              <a:defRPr sz="20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>
              <a:defRPr sz="20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>
              <a:defRPr sz="2000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>
              <a:defRPr sz="20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>
              <a:defRPr sz="20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algn="ctr">
              <a:spcBef>
                <a:spcPct val="50000"/>
              </a:spcBef>
            </a:pPr>
            <a:r>
              <a:rPr lang="pt-BR" sz="2700" i="1" dirty="0">
                <a:solidFill>
                  <a:schemeClr val="accent6">
                    <a:lumMod val="50000"/>
                  </a:schemeClr>
                </a:solidFill>
                <a:latin typeface="Arial" pitchFamily="34" charset="0"/>
              </a:rPr>
              <a:t>A</a:t>
            </a:r>
            <a:r>
              <a:rPr lang="pt-BR" sz="2700" baseline="-25000" dirty="0">
                <a:solidFill>
                  <a:schemeClr val="accent6">
                    <a:lumMod val="50000"/>
                  </a:schemeClr>
                </a:solidFill>
                <a:latin typeface="Arial" pitchFamily="34" charset="0"/>
              </a:rPr>
              <a:t>1</a:t>
            </a:r>
          </a:p>
        </p:txBody>
      </p:sp>
      <p:sp>
        <p:nvSpPr>
          <p:cNvPr id="527376" name="Text Box 16"/>
          <p:cNvSpPr txBox="1">
            <a:spLocks noChangeArrowheads="1"/>
          </p:cNvSpPr>
          <p:nvPr/>
        </p:nvSpPr>
        <p:spPr bwMode="auto">
          <a:xfrm>
            <a:off x="6130749" y="2139098"/>
            <a:ext cx="578287" cy="5078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>
              <a:defRPr sz="20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>
              <a:defRPr sz="20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>
              <a:defRPr sz="2000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>
              <a:defRPr sz="20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>
              <a:defRPr sz="20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algn="ctr">
              <a:spcBef>
                <a:spcPct val="50000"/>
              </a:spcBef>
            </a:pPr>
            <a:r>
              <a:rPr lang="pt-BR" sz="2700" i="1" dirty="0">
                <a:solidFill>
                  <a:schemeClr val="accent6">
                    <a:lumMod val="50000"/>
                  </a:schemeClr>
                </a:solidFill>
                <a:latin typeface="Arial" pitchFamily="34" charset="0"/>
              </a:rPr>
              <a:t>A</a:t>
            </a:r>
            <a:r>
              <a:rPr lang="pt-BR" sz="2700" baseline="-25000" dirty="0">
                <a:solidFill>
                  <a:schemeClr val="accent6">
                    <a:lumMod val="50000"/>
                  </a:schemeClr>
                </a:solidFill>
                <a:latin typeface="Arial" pitchFamily="34" charset="0"/>
              </a:rPr>
              <a:t>2</a:t>
            </a:r>
          </a:p>
        </p:txBody>
      </p:sp>
      <p:sp>
        <p:nvSpPr>
          <p:cNvPr id="527377" name="Text Box 17"/>
          <p:cNvSpPr txBox="1">
            <a:spLocks noChangeArrowheads="1"/>
          </p:cNvSpPr>
          <p:nvPr/>
        </p:nvSpPr>
        <p:spPr bwMode="auto">
          <a:xfrm>
            <a:off x="7032779" y="3128260"/>
            <a:ext cx="546299" cy="5078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>
              <a:defRPr sz="20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>
              <a:defRPr sz="20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>
              <a:defRPr sz="2000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>
              <a:defRPr sz="20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>
              <a:defRPr sz="20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algn="ctr">
              <a:spcBef>
                <a:spcPct val="50000"/>
              </a:spcBef>
            </a:pPr>
            <a:r>
              <a:rPr lang="pt-BR" sz="2700" i="1" dirty="0">
                <a:solidFill>
                  <a:schemeClr val="accent6">
                    <a:lumMod val="50000"/>
                  </a:schemeClr>
                </a:solidFill>
                <a:latin typeface="Arial" pitchFamily="34" charset="0"/>
              </a:rPr>
              <a:t>A</a:t>
            </a:r>
            <a:r>
              <a:rPr lang="pt-BR" sz="2700" baseline="-25000" dirty="0">
                <a:solidFill>
                  <a:schemeClr val="accent6">
                    <a:lumMod val="50000"/>
                  </a:schemeClr>
                </a:solidFill>
                <a:latin typeface="Arial" pitchFamily="34" charset="0"/>
              </a:rPr>
              <a:t>3</a:t>
            </a:r>
          </a:p>
        </p:txBody>
      </p:sp>
      <p:sp>
        <p:nvSpPr>
          <p:cNvPr id="527378" name="Text Box 18"/>
          <p:cNvSpPr txBox="1">
            <a:spLocks noChangeArrowheads="1"/>
          </p:cNvSpPr>
          <p:nvPr/>
        </p:nvSpPr>
        <p:spPr bwMode="auto">
          <a:xfrm>
            <a:off x="6213629" y="4010264"/>
            <a:ext cx="515876" cy="78483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>
              <a:defRPr sz="20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>
              <a:defRPr sz="20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>
              <a:defRPr sz="2000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>
              <a:defRPr sz="20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>
              <a:defRPr sz="20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algn="ctr">
              <a:spcBef>
                <a:spcPct val="50000"/>
              </a:spcBef>
            </a:pPr>
            <a:r>
              <a:rPr lang="pt-BR" sz="2700" i="1">
                <a:solidFill>
                  <a:schemeClr val="accent6">
                    <a:lumMod val="50000"/>
                  </a:schemeClr>
                </a:solidFill>
                <a:latin typeface="Arial" pitchFamily="34" charset="0"/>
              </a:rPr>
              <a:t>A</a:t>
            </a:r>
            <a:r>
              <a:rPr lang="pt-BR" sz="2700" baseline="-25000">
                <a:solidFill>
                  <a:schemeClr val="accent6">
                    <a:lumMod val="50000"/>
                  </a:schemeClr>
                </a:solidFill>
                <a:latin typeface="Arial" pitchFamily="34" charset="0"/>
              </a:rPr>
              <a:t>4</a:t>
            </a:r>
          </a:p>
        </p:txBody>
      </p:sp>
      <p:sp>
        <p:nvSpPr>
          <p:cNvPr id="527379" name="Text Box 19"/>
          <p:cNvSpPr txBox="1">
            <a:spLocks noChangeArrowheads="1"/>
          </p:cNvSpPr>
          <p:nvPr/>
        </p:nvSpPr>
        <p:spPr bwMode="auto">
          <a:xfrm>
            <a:off x="4651634" y="4312931"/>
            <a:ext cx="539249" cy="5078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>
              <a:defRPr sz="20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>
              <a:defRPr sz="20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>
              <a:defRPr sz="2000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>
              <a:defRPr sz="20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>
              <a:defRPr sz="20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algn="ctr">
              <a:spcBef>
                <a:spcPct val="50000"/>
              </a:spcBef>
            </a:pPr>
            <a:r>
              <a:rPr lang="pt-BR" sz="2700" i="1" dirty="0">
                <a:solidFill>
                  <a:schemeClr val="accent6">
                    <a:lumMod val="50000"/>
                  </a:schemeClr>
                </a:solidFill>
                <a:latin typeface="Arial" pitchFamily="34" charset="0"/>
              </a:rPr>
              <a:t>A</a:t>
            </a:r>
            <a:r>
              <a:rPr lang="pt-BR" sz="2700" baseline="-25000" dirty="0">
                <a:solidFill>
                  <a:schemeClr val="accent6">
                    <a:lumMod val="50000"/>
                  </a:schemeClr>
                </a:solidFill>
                <a:latin typeface="Arial" pitchFamily="34" charset="0"/>
              </a:rPr>
              <a:t>5</a:t>
            </a:r>
          </a:p>
        </p:txBody>
      </p:sp>
      <p:sp>
        <p:nvSpPr>
          <p:cNvPr id="527380" name="Text Box 20"/>
          <p:cNvSpPr txBox="1">
            <a:spLocks noChangeArrowheads="1"/>
          </p:cNvSpPr>
          <p:nvPr/>
        </p:nvSpPr>
        <p:spPr bwMode="auto">
          <a:xfrm>
            <a:off x="3280034" y="4084331"/>
            <a:ext cx="524730" cy="78483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>
              <a:defRPr sz="20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>
              <a:defRPr sz="20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>
              <a:defRPr sz="2000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>
              <a:defRPr sz="20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>
              <a:defRPr sz="20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algn="ctr">
              <a:spcBef>
                <a:spcPct val="50000"/>
              </a:spcBef>
            </a:pPr>
            <a:r>
              <a:rPr lang="pt-BR" sz="2700" i="1" dirty="0">
                <a:solidFill>
                  <a:schemeClr val="accent6">
                    <a:lumMod val="50000"/>
                  </a:schemeClr>
                </a:solidFill>
                <a:latin typeface="Arial" pitchFamily="34" charset="0"/>
              </a:rPr>
              <a:t>A</a:t>
            </a:r>
            <a:r>
              <a:rPr lang="pt-BR" sz="2700" baseline="-25000" dirty="0">
                <a:solidFill>
                  <a:schemeClr val="accent6">
                    <a:lumMod val="50000"/>
                  </a:schemeClr>
                </a:solidFill>
                <a:latin typeface="Arial" pitchFamily="34" charset="0"/>
              </a:rPr>
              <a:t>6</a:t>
            </a:r>
          </a:p>
        </p:txBody>
      </p:sp>
      <p:sp>
        <p:nvSpPr>
          <p:cNvPr id="527381" name="Text Box 21"/>
          <p:cNvSpPr txBox="1">
            <a:spLocks noChangeArrowheads="1"/>
          </p:cNvSpPr>
          <p:nvPr/>
        </p:nvSpPr>
        <p:spPr bwMode="auto">
          <a:xfrm>
            <a:off x="2328103" y="3099572"/>
            <a:ext cx="544633" cy="5078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>
              <a:defRPr sz="20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>
              <a:defRPr sz="20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>
              <a:defRPr sz="2000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>
              <a:defRPr sz="20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>
              <a:defRPr sz="20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algn="ctr">
              <a:spcBef>
                <a:spcPct val="50000"/>
              </a:spcBef>
            </a:pPr>
            <a:r>
              <a:rPr lang="pt-BR" sz="2700" i="1" dirty="0">
                <a:solidFill>
                  <a:schemeClr val="accent6">
                    <a:lumMod val="50000"/>
                  </a:schemeClr>
                </a:solidFill>
                <a:latin typeface="Arial" pitchFamily="34" charset="0"/>
              </a:rPr>
              <a:t>A</a:t>
            </a:r>
            <a:r>
              <a:rPr lang="pt-BR" sz="2700" baseline="-25000" dirty="0">
                <a:solidFill>
                  <a:schemeClr val="accent6">
                    <a:lumMod val="50000"/>
                  </a:schemeClr>
                </a:solidFill>
                <a:latin typeface="Arial" pitchFamily="34" charset="0"/>
              </a:rPr>
              <a:t>7</a:t>
            </a:r>
          </a:p>
        </p:txBody>
      </p:sp>
      <p:sp>
        <p:nvSpPr>
          <p:cNvPr id="527382" name="Text Box 22"/>
          <p:cNvSpPr txBox="1">
            <a:spLocks noChangeArrowheads="1"/>
          </p:cNvSpPr>
          <p:nvPr/>
        </p:nvSpPr>
        <p:spPr bwMode="auto">
          <a:xfrm>
            <a:off x="3085553" y="2137405"/>
            <a:ext cx="516342" cy="78483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>
              <a:defRPr sz="20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>
              <a:defRPr sz="20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>
              <a:defRPr sz="2000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>
              <a:defRPr sz="20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>
              <a:defRPr sz="20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algn="ctr">
              <a:spcBef>
                <a:spcPct val="50000"/>
              </a:spcBef>
            </a:pPr>
            <a:r>
              <a:rPr lang="pt-BR" sz="2700" i="1" dirty="0" err="1">
                <a:solidFill>
                  <a:schemeClr val="accent6">
                    <a:lumMod val="50000"/>
                  </a:schemeClr>
                </a:solidFill>
                <a:latin typeface="Arial" pitchFamily="34" charset="0"/>
              </a:rPr>
              <a:t>A</a:t>
            </a:r>
            <a:r>
              <a:rPr lang="pt-BR" sz="2700" baseline="-25000" dirty="0" err="1">
                <a:solidFill>
                  <a:schemeClr val="accent6">
                    <a:lumMod val="50000"/>
                  </a:schemeClr>
                </a:solidFill>
                <a:latin typeface="Arial" pitchFamily="34" charset="0"/>
              </a:rPr>
              <a:t>n</a:t>
            </a:r>
            <a:endParaRPr lang="pt-BR" sz="2700" baseline="-25000" dirty="0">
              <a:solidFill>
                <a:schemeClr val="accent6">
                  <a:lumMod val="50000"/>
                </a:schemeClr>
              </a:solidFill>
              <a:latin typeface="Arial" pitchFamily="34" charset="0"/>
            </a:endParaRPr>
          </a:p>
        </p:txBody>
      </p:sp>
      <p:sp>
        <p:nvSpPr>
          <p:cNvPr id="527383" name="Freeform 23"/>
          <p:cNvSpPr>
            <a:spLocks/>
          </p:cNvSpPr>
          <p:nvPr/>
        </p:nvSpPr>
        <p:spPr bwMode="auto">
          <a:xfrm>
            <a:off x="3587109" y="2160280"/>
            <a:ext cx="1200150" cy="209550"/>
          </a:xfrm>
          <a:custGeom>
            <a:avLst/>
            <a:gdLst>
              <a:gd name="T0" fmla="*/ 1600200 w 1008"/>
              <a:gd name="T1" fmla="*/ 0 h 176"/>
              <a:gd name="T2" fmla="*/ 723900 w 1008"/>
              <a:gd name="T3" fmla="*/ 76200 h 176"/>
              <a:gd name="T4" fmla="*/ 0 w 1008"/>
              <a:gd name="T5" fmla="*/ 279400 h 176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1008" h="176">
                <a:moveTo>
                  <a:pt x="1008" y="0"/>
                </a:moveTo>
                <a:cubicBezTo>
                  <a:pt x="816" y="9"/>
                  <a:pt x="624" y="19"/>
                  <a:pt x="456" y="48"/>
                </a:cubicBezTo>
                <a:cubicBezTo>
                  <a:pt x="288" y="77"/>
                  <a:pt x="144" y="126"/>
                  <a:pt x="0" y="176"/>
                </a:cubicBezTo>
              </a:path>
            </a:pathLst>
          </a:custGeom>
          <a:noFill/>
          <a:ln w="9525" cap="flat" cmpd="sng">
            <a:solidFill>
              <a:schemeClr val="bg1"/>
            </a:solidFill>
            <a:prstDash val="solid"/>
            <a:round/>
            <a:headEnd type="none" w="med" len="med"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pt-BR">
              <a:solidFill>
                <a:schemeClr val="accent6">
                  <a:lumMod val="50000"/>
                </a:schemeClr>
              </a:solidFill>
              <a:latin typeface="Arial" pitchFamily="34" charset="0"/>
            </a:endParaRPr>
          </a:p>
        </p:txBody>
      </p:sp>
      <p:sp>
        <p:nvSpPr>
          <p:cNvPr id="527384" name="Freeform 24"/>
          <p:cNvSpPr>
            <a:spLocks/>
          </p:cNvSpPr>
          <p:nvPr/>
        </p:nvSpPr>
        <p:spPr bwMode="auto">
          <a:xfrm flipH="1">
            <a:off x="5130160" y="2160281"/>
            <a:ext cx="1000125" cy="142875"/>
          </a:xfrm>
          <a:custGeom>
            <a:avLst/>
            <a:gdLst>
              <a:gd name="T0" fmla="*/ 1333500 w 1008"/>
              <a:gd name="T1" fmla="*/ 0 h 176"/>
              <a:gd name="T2" fmla="*/ 603250 w 1008"/>
              <a:gd name="T3" fmla="*/ 51955 h 176"/>
              <a:gd name="T4" fmla="*/ 0 w 1008"/>
              <a:gd name="T5" fmla="*/ 190500 h 176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1008" h="176">
                <a:moveTo>
                  <a:pt x="1008" y="0"/>
                </a:moveTo>
                <a:cubicBezTo>
                  <a:pt x="816" y="9"/>
                  <a:pt x="624" y="19"/>
                  <a:pt x="456" y="48"/>
                </a:cubicBezTo>
                <a:cubicBezTo>
                  <a:pt x="288" y="77"/>
                  <a:pt x="144" y="126"/>
                  <a:pt x="0" y="176"/>
                </a:cubicBezTo>
              </a:path>
            </a:pathLst>
          </a:custGeom>
          <a:noFill/>
          <a:ln w="9525" cap="flat" cmpd="sng">
            <a:solidFill>
              <a:schemeClr val="bg1"/>
            </a:solidFill>
            <a:prstDash val="solid"/>
            <a:round/>
            <a:headEnd type="none" w="med" len="med"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pt-BR">
              <a:solidFill>
                <a:schemeClr val="accent6">
                  <a:lumMod val="50000"/>
                </a:schemeClr>
              </a:solidFill>
              <a:latin typeface="Arial" pitchFamily="34" charset="0"/>
            </a:endParaRPr>
          </a:p>
        </p:txBody>
      </p:sp>
      <p:sp>
        <p:nvSpPr>
          <p:cNvPr id="527385" name="Freeform 25"/>
          <p:cNvSpPr>
            <a:spLocks/>
          </p:cNvSpPr>
          <p:nvPr/>
        </p:nvSpPr>
        <p:spPr bwMode="auto">
          <a:xfrm>
            <a:off x="6501759" y="2417456"/>
            <a:ext cx="723900" cy="695325"/>
          </a:xfrm>
          <a:custGeom>
            <a:avLst/>
            <a:gdLst>
              <a:gd name="T0" fmla="*/ 0 w 608"/>
              <a:gd name="T1" fmla="*/ 0 h 584"/>
              <a:gd name="T2" fmla="*/ 673100 w 608"/>
              <a:gd name="T3" fmla="*/ 368300 h 584"/>
              <a:gd name="T4" fmla="*/ 965200 w 608"/>
              <a:gd name="T5" fmla="*/ 927100 h 584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608" h="584">
                <a:moveTo>
                  <a:pt x="0" y="0"/>
                </a:moveTo>
                <a:cubicBezTo>
                  <a:pt x="161" y="67"/>
                  <a:pt x="323" y="135"/>
                  <a:pt x="424" y="232"/>
                </a:cubicBezTo>
                <a:cubicBezTo>
                  <a:pt x="525" y="329"/>
                  <a:pt x="566" y="456"/>
                  <a:pt x="608" y="584"/>
                </a:cubicBezTo>
              </a:path>
            </a:pathLst>
          </a:custGeom>
          <a:noFill/>
          <a:ln w="9525" cap="flat" cmpd="sng">
            <a:solidFill>
              <a:schemeClr val="bg1"/>
            </a:solidFill>
            <a:prstDash val="solid"/>
            <a:round/>
            <a:headEnd type="none" w="med" len="med"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pt-BR">
              <a:solidFill>
                <a:schemeClr val="accent6">
                  <a:lumMod val="50000"/>
                </a:schemeClr>
              </a:solidFill>
              <a:latin typeface="Arial" pitchFamily="34" charset="0"/>
            </a:endParaRPr>
          </a:p>
        </p:txBody>
      </p:sp>
      <p:sp>
        <p:nvSpPr>
          <p:cNvPr id="527386" name="Text Box 26"/>
          <p:cNvSpPr txBox="1">
            <a:spLocks noChangeArrowheads="1"/>
          </p:cNvSpPr>
          <p:nvPr/>
        </p:nvSpPr>
        <p:spPr bwMode="auto">
          <a:xfrm>
            <a:off x="4549265" y="1339002"/>
            <a:ext cx="2655629" cy="8309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>
              <a:defRPr sz="20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>
              <a:defRPr sz="20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>
              <a:defRPr sz="2000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>
              <a:defRPr sz="20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>
              <a:defRPr sz="20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algn="ctr">
              <a:spcBef>
                <a:spcPct val="50000"/>
              </a:spcBef>
            </a:pPr>
            <a:r>
              <a:rPr lang="pt-BR" sz="2400" dirty="0">
                <a:solidFill>
                  <a:srgbClr val="FF0000"/>
                </a:solidFill>
                <a:latin typeface="Arial" pitchFamily="34" charset="0"/>
              </a:rPr>
              <a:t>A</a:t>
            </a:r>
            <a:r>
              <a:rPr lang="pt-BR" sz="2400" baseline="-25000" dirty="0">
                <a:solidFill>
                  <a:srgbClr val="FF0000"/>
                </a:solidFill>
                <a:latin typeface="Arial" pitchFamily="34" charset="0"/>
              </a:rPr>
              <a:t>2 </a:t>
            </a:r>
            <a:r>
              <a:rPr lang="pt-BR" sz="2400" dirty="0">
                <a:solidFill>
                  <a:srgbClr val="FF0000"/>
                </a:solidFill>
                <a:latin typeface="Arial" pitchFamily="34" charset="0"/>
              </a:rPr>
              <a:t>compra de bens de A</a:t>
            </a:r>
            <a:r>
              <a:rPr lang="pt-BR" sz="2400" baseline="-25000" dirty="0">
                <a:solidFill>
                  <a:srgbClr val="FF0000"/>
                </a:solidFill>
                <a:latin typeface="Arial" pitchFamily="34" charset="0"/>
              </a:rPr>
              <a:t>1</a:t>
            </a:r>
          </a:p>
        </p:txBody>
      </p:sp>
      <p:sp>
        <p:nvSpPr>
          <p:cNvPr id="527387" name="Text Box 27"/>
          <p:cNvSpPr txBox="1">
            <a:spLocks noChangeArrowheads="1"/>
          </p:cNvSpPr>
          <p:nvPr/>
        </p:nvSpPr>
        <p:spPr bwMode="auto">
          <a:xfrm>
            <a:off x="6733057" y="2187716"/>
            <a:ext cx="1511351" cy="8309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>
              <a:defRPr sz="20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>
              <a:defRPr sz="20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>
              <a:defRPr sz="2000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>
              <a:defRPr sz="20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>
              <a:defRPr sz="20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algn="ctr">
              <a:spcBef>
                <a:spcPct val="50000"/>
              </a:spcBef>
            </a:pPr>
            <a:r>
              <a:rPr lang="pt-BR" sz="2400" dirty="0">
                <a:solidFill>
                  <a:srgbClr val="FF0000"/>
                </a:solidFill>
                <a:latin typeface="Arial" pitchFamily="34" charset="0"/>
              </a:rPr>
              <a:t>A</a:t>
            </a:r>
            <a:r>
              <a:rPr lang="pt-BR" sz="2400" baseline="-25000" dirty="0">
                <a:solidFill>
                  <a:srgbClr val="FF0000"/>
                </a:solidFill>
                <a:latin typeface="Arial" pitchFamily="34" charset="0"/>
              </a:rPr>
              <a:t>2 </a:t>
            </a:r>
            <a:r>
              <a:rPr lang="pt-BR" sz="2400" dirty="0">
                <a:solidFill>
                  <a:srgbClr val="FF0000"/>
                </a:solidFill>
                <a:latin typeface="Arial" pitchFamily="34" charset="0"/>
              </a:rPr>
              <a:t>vende bens a A</a:t>
            </a:r>
            <a:r>
              <a:rPr lang="pt-BR" sz="2400" baseline="-25000" dirty="0">
                <a:solidFill>
                  <a:srgbClr val="FF0000"/>
                </a:solidFill>
                <a:latin typeface="Arial" pitchFamily="34" charset="0"/>
              </a:rPr>
              <a:t>3</a:t>
            </a:r>
          </a:p>
        </p:txBody>
      </p:sp>
      <p:sp>
        <p:nvSpPr>
          <p:cNvPr id="527388" name="Text Box 28"/>
          <p:cNvSpPr txBox="1">
            <a:spLocks noChangeArrowheads="1"/>
          </p:cNvSpPr>
          <p:nvPr/>
        </p:nvSpPr>
        <p:spPr bwMode="auto">
          <a:xfrm>
            <a:off x="1357313" y="5082818"/>
            <a:ext cx="7090594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/>
          <a:p>
            <a:pPr marL="196449" indent="-196449" algn="ctr" eaLnBrk="0" hangingPunct="0">
              <a:lnSpc>
                <a:spcPct val="90000"/>
              </a:lnSpc>
              <a:spcBef>
                <a:spcPct val="20000"/>
              </a:spcBef>
              <a:buChar char="•"/>
              <a:defRPr/>
            </a:pPr>
            <a:r>
              <a:rPr lang="pt-BR" sz="2000" b="1" dirty="0">
                <a:latin typeface="Arial" pitchFamily="34" charset="0"/>
              </a:rPr>
              <a:t>Cada empresa é tanto tomadora quanto emprestadora</a:t>
            </a:r>
          </a:p>
        </p:txBody>
      </p:sp>
    </p:spTree>
    <p:extLst>
      <p:ext uri="{BB962C8B-B14F-4D97-AF65-F5344CB8AC3E}">
        <p14:creationId xmlns:p14="http://schemas.microsoft.com/office/powerpoint/2010/main" val="16992902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73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7" dur="500"/>
                                        <p:tgtEl>
                                          <p:spTgt spid="52736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73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0" dur="500"/>
                                        <p:tgtEl>
                                          <p:spTgt spid="52736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73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3" dur="500"/>
                                        <p:tgtEl>
                                          <p:spTgt spid="52736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73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6" dur="500"/>
                                        <p:tgtEl>
                                          <p:spTgt spid="52736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73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9" dur="500"/>
                                        <p:tgtEl>
                                          <p:spTgt spid="52736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73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2" dur="500"/>
                                        <p:tgtEl>
                                          <p:spTgt spid="52736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73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5" dur="500"/>
                                        <p:tgtEl>
                                          <p:spTgt spid="52737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73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8" dur="500"/>
                                        <p:tgtEl>
                                          <p:spTgt spid="52737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73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31" dur="500"/>
                                        <p:tgtEl>
                                          <p:spTgt spid="52737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73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34" dur="500"/>
                                        <p:tgtEl>
                                          <p:spTgt spid="52737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73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37" dur="500"/>
                                        <p:tgtEl>
                                          <p:spTgt spid="5273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73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40" dur="500"/>
                                        <p:tgtEl>
                                          <p:spTgt spid="52737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73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43" dur="500"/>
                                        <p:tgtEl>
                                          <p:spTgt spid="52737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4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73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46" dur="500"/>
                                        <p:tgtEl>
                                          <p:spTgt spid="52737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7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73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49" dur="500"/>
                                        <p:tgtEl>
                                          <p:spTgt spid="52737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0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73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52" dur="500"/>
                                        <p:tgtEl>
                                          <p:spTgt spid="52737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3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73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55" dur="500"/>
                                        <p:tgtEl>
                                          <p:spTgt spid="52738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6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73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58" dur="500"/>
                                        <p:tgtEl>
                                          <p:spTgt spid="52738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9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73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61" dur="500"/>
                                        <p:tgtEl>
                                          <p:spTgt spid="52738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2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73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64" dur="500"/>
                                        <p:tgtEl>
                                          <p:spTgt spid="52738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5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73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67" dur="500"/>
                                        <p:tgtEl>
                                          <p:spTgt spid="52738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8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73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70" dur="500"/>
                                        <p:tgtEl>
                                          <p:spTgt spid="52738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1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73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73" dur="500"/>
                                        <p:tgtEl>
                                          <p:spTgt spid="52738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4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73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76" dur="500"/>
                                        <p:tgtEl>
                                          <p:spTgt spid="52738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7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73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79" dur="500"/>
                                        <p:tgtEl>
                                          <p:spTgt spid="52738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27364" grpId="0" animBg="1"/>
      <p:bldP spid="527365" grpId="0"/>
      <p:bldP spid="527366" grpId="0" animBg="1"/>
      <p:bldP spid="527367" grpId="0" animBg="1"/>
      <p:bldP spid="527368" grpId="0" animBg="1"/>
      <p:bldP spid="527369" grpId="0" animBg="1"/>
      <p:bldP spid="527370" grpId="0" animBg="1"/>
      <p:bldP spid="527371" grpId="0" animBg="1"/>
      <p:bldP spid="527372" grpId="0" animBg="1"/>
      <p:bldP spid="527373" grpId="0" animBg="1"/>
      <p:bldP spid="527374" grpId="0" animBg="1"/>
      <p:bldP spid="527375" grpId="0"/>
      <p:bldP spid="527376" grpId="0"/>
      <p:bldP spid="527377" grpId="0"/>
      <p:bldP spid="527378" grpId="0"/>
      <p:bldP spid="527379" grpId="0"/>
      <p:bldP spid="527380" grpId="0"/>
      <p:bldP spid="527381" grpId="0"/>
      <p:bldP spid="527382" grpId="0"/>
      <p:bldP spid="527383" grpId="0" animBg="1"/>
      <p:bldP spid="527384" grpId="0" animBg="1"/>
      <p:bldP spid="527385" grpId="0" animBg="1"/>
      <p:bldP spid="527386" grpId="0"/>
      <p:bldP spid="527387" grpId="0"/>
      <p:bldP spid="527388" grpId="0"/>
    </p:bld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4291" name="Rectangle 3"/>
          <p:cNvSpPr>
            <a:spLocks noGrp="1" noChangeArrowheads="1"/>
          </p:cNvSpPr>
          <p:nvPr>
            <p:ph sz="quarter" idx="13"/>
          </p:nvPr>
        </p:nvSpPr>
        <p:spPr>
          <a:xfrm>
            <a:off x="1357313" y="1844824"/>
            <a:ext cx="7031410" cy="3240088"/>
          </a:xfrm>
        </p:spPr>
        <p:txBody>
          <a:bodyPr>
            <a:normAutofit/>
          </a:bodyPr>
          <a:lstStyle/>
          <a:p>
            <a:pPr marL="196449" indent="-196449"/>
            <a:r>
              <a:rPr lang="pt-BR" sz="2400" b="1" dirty="0">
                <a:latin typeface="Arial" pitchFamily="34" charset="0"/>
              </a:rPr>
              <a:t>INFORMAÇÃO tem papel central no crédito.</a:t>
            </a:r>
          </a:p>
          <a:p>
            <a:pPr marL="196449" indent="-196449">
              <a:buNone/>
            </a:pPr>
            <a:endParaRPr lang="pt-BR" sz="2400" b="1" dirty="0">
              <a:latin typeface="Arial" pitchFamily="34" charset="0"/>
            </a:endParaRPr>
          </a:p>
          <a:p>
            <a:pPr marL="496487" lvl="1" indent="-196449"/>
            <a:r>
              <a:rPr lang="pt-BR" b="1" dirty="0">
                <a:latin typeface="Arial" pitchFamily="34" charset="0"/>
              </a:rPr>
              <a:t>Informação sobre o status econômico-financeiro</a:t>
            </a:r>
          </a:p>
          <a:p>
            <a:pPr marL="196449" indent="-196449"/>
            <a:endParaRPr lang="pt-BR" sz="2400" b="1" dirty="0">
              <a:latin typeface="Arial" pitchFamily="34" charset="0"/>
            </a:endParaRPr>
          </a:p>
          <a:p>
            <a:pPr marL="496487" lvl="1" indent="-196449"/>
            <a:r>
              <a:rPr lang="pt-BR" b="1" dirty="0">
                <a:latin typeface="Arial" pitchFamily="34" charset="0"/>
              </a:rPr>
              <a:t>Informação sobre incentivos para honrar o  crédito</a:t>
            </a:r>
          </a:p>
        </p:txBody>
      </p:sp>
      <p:sp>
        <p:nvSpPr>
          <p:cNvPr id="4" name="Rectangle 2"/>
          <p:cNvSpPr txBox="1">
            <a:spLocks noChangeArrowheads="1"/>
          </p:cNvSpPr>
          <p:nvPr/>
        </p:nvSpPr>
        <p:spPr bwMode="auto">
          <a:xfrm>
            <a:off x="1657350" y="878681"/>
            <a:ext cx="5829300" cy="857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68580" tIns="34290" rIns="68580" bIns="34290" numCol="1" anchor="ctr" anchorCtr="0" compatLnSpc="1">
            <a:prstTxWarp prst="textNoShape">
              <a:avLst/>
            </a:prstTxWarp>
          </a:bodyPr>
          <a:lstStyle/>
          <a:p>
            <a:pPr lvl="0" algn="ctr" eaLnBrk="0" hangingPunct="0">
              <a:defRPr/>
            </a:pPr>
            <a:r>
              <a:rPr lang="pt-BR" sz="2700" b="1" dirty="0">
                <a:effectLst>
                  <a:outerShdw blurRad="38100" dist="38100" dir="2700000" algn="tl">
                    <a:srgbClr val="C0C0C0"/>
                  </a:outerShdw>
                </a:effectLst>
                <a:latin typeface="Tahoma" pitchFamily="34" charset="0"/>
              </a:rPr>
              <a:t>O Crédito</a:t>
            </a:r>
            <a:endParaRPr lang="pt-BR" sz="2700" b="1" dirty="0">
              <a:effectLst>
                <a:outerShdw blurRad="38100" dist="38100" dir="2700000" algn="tl">
                  <a:srgbClr val="C0C0C0"/>
                </a:outerShdw>
              </a:effectLst>
              <a:latin typeface="Tahoma" pitchFamily="34" charset="0"/>
              <a:cs typeface="Arial" pitchFamily="34" charset="0"/>
            </a:endParaRPr>
          </a:p>
        </p:txBody>
      </p:sp>
      <p:sp>
        <p:nvSpPr>
          <p:cNvPr id="5" name="Chave esquerda 4"/>
          <p:cNvSpPr/>
          <p:nvPr/>
        </p:nvSpPr>
        <p:spPr>
          <a:xfrm>
            <a:off x="1439653" y="2708783"/>
            <a:ext cx="179948" cy="2016361"/>
          </a:xfrm>
          <a:prstGeom prst="leftBrac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pt-BR" sz="1350"/>
          </a:p>
        </p:txBody>
      </p:sp>
    </p:spTree>
    <p:extLst>
      <p:ext uri="{BB962C8B-B14F-4D97-AF65-F5344CB8AC3E}">
        <p14:creationId xmlns:p14="http://schemas.microsoft.com/office/powerpoint/2010/main" val="26138526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8" presetClass="entr" presetSubtype="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429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downRight)">
                                      <p:cBhvr>
                                        <p:cTn id="7" dur="500"/>
                                        <p:tgtEl>
                                          <p:spTgt spid="52429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4" presetClass="entr" presetSubtype="3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out)">
                                      <p:cBhvr>
                                        <p:cTn id="11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18" presetClass="entr" presetSubtype="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4291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downRight)">
                                      <p:cBhvr>
                                        <p:cTn id="14" dur="500"/>
                                        <p:tgtEl>
                                          <p:spTgt spid="524291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18" presetClass="entr" presetSubtype="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4291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downRight)">
                                      <p:cBhvr>
                                        <p:cTn id="17" dur="500"/>
                                        <p:tgtEl>
                                          <p:spTgt spid="524291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24291" grpId="0" build="p" autoUpdateAnimBg="0"/>
      <p:bldP spid="5" grpId="0" animBg="1"/>
    </p:bld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4291" name="Rectangle 3"/>
          <p:cNvSpPr>
            <a:spLocks noGrp="1" noChangeArrowheads="1"/>
          </p:cNvSpPr>
          <p:nvPr>
            <p:ph sz="quarter" idx="13"/>
          </p:nvPr>
        </p:nvSpPr>
        <p:spPr>
          <a:xfrm>
            <a:off x="1357313" y="1844824"/>
            <a:ext cx="7031410" cy="3240088"/>
          </a:xfrm>
        </p:spPr>
        <p:txBody>
          <a:bodyPr>
            <a:normAutofit/>
          </a:bodyPr>
          <a:lstStyle/>
          <a:p>
            <a:pPr marL="196449" indent="-196449">
              <a:lnSpc>
                <a:spcPct val="150000"/>
              </a:lnSpc>
            </a:pPr>
            <a:r>
              <a:rPr lang="pt-BR" sz="2400" b="1" dirty="0">
                <a:latin typeface="Arial" pitchFamily="34" charset="0"/>
              </a:rPr>
              <a:t>INFORMAÇÃO tem papel central no crédito.</a:t>
            </a:r>
          </a:p>
        </p:txBody>
      </p:sp>
      <p:sp>
        <p:nvSpPr>
          <p:cNvPr id="4" name="Rectangle 2"/>
          <p:cNvSpPr txBox="1">
            <a:spLocks noChangeArrowheads="1"/>
          </p:cNvSpPr>
          <p:nvPr/>
        </p:nvSpPr>
        <p:spPr bwMode="auto">
          <a:xfrm>
            <a:off x="1657350" y="878681"/>
            <a:ext cx="5829300" cy="857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68580" tIns="34290" rIns="68580" bIns="34290" numCol="1" anchor="ctr" anchorCtr="0" compatLnSpc="1">
            <a:prstTxWarp prst="textNoShape">
              <a:avLst/>
            </a:prstTxWarp>
          </a:bodyPr>
          <a:lstStyle/>
          <a:p>
            <a:pPr lvl="0" algn="ctr" eaLnBrk="0" hangingPunct="0">
              <a:defRPr/>
            </a:pPr>
            <a:r>
              <a:rPr lang="pt-BR" sz="2700" b="1" dirty="0">
                <a:effectLst>
                  <a:outerShdw blurRad="38100" dist="38100" dir="2700000" algn="tl">
                    <a:srgbClr val="C0C0C0"/>
                  </a:outerShdw>
                </a:effectLst>
                <a:latin typeface="Tahoma" pitchFamily="34" charset="0"/>
              </a:rPr>
              <a:t>O Crédito</a:t>
            </a:r>
            <a:endParaRPr lang="pt-BR" sz="2700" b="1" dirty="0">
              <a:effectLst>
                <a:outerShdw blurRad="38100" dist="38100" dir="2700000" algn="tl">
                  <a:srgbClr val="C0C0C0"/>
                </a:outerShdw>
              </a:effectLst>
              <a:latin typeface="Tahoma" pitchFamily="34" charset="0"/>
              <a:cs typeface="Arial" pitchFamily="34" charset="0"/>
            </a:endParaRPr>
          </a:p>
        </p:txBody>
      </p:sp>
      <p:sp>
        <p:nvSpPr>
          <p:cNvPr id="6" name="Rectangle 3"/>
          <p:cNvSpPr txBox="1">
            <a:spLocks noChangeArrowheads="1"/>
          </p:cNvSpPr>
          <p:nvPr/>
        </p:nvSpPr>
        <p:spPr bwMode="auto">
          <a:xfrm>
            <a:off x="1654969" y="2992038"/>
            <a:ext cx="6517431" cy="202114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marL="196449" lvl="1" indent="-196449" defTabSz="685783" eaLnBrk="0" fontAlgn="base" hangingPunct="0">
              <a:lnSpc>
                <a:spcPct val="150000"/>
              </a:lnSpc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/>
            </a:pPr>
            <a:r>
              <a:rPr lang="pt-BR" sz="2400" b="1" dirty="0">
                <a:latin typeface="Arial" pitchFamily="34" charset="0"/>
              </a:rPr>
              <a:t>Muito da informação relevante é difundida através da economia, sendo obtida como subproduto de outra atividade econômica.</a:t>
            </a:r>
          </a:p>
        </p:txBody>
      </p:sp>
    </p:spTree>
    <p:extLst>
      <p:ext uri="{BB962C8B-B14F-4D97-AF65-F5344CB8AC3E}">
        <p14:creationId xmlns:p14="http://schemas.microsoft.com/office/powerpoint/2010/main" val="18159002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8" presetClass="entr" presetSubtype="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429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downRight)">
                                      <p:cBhvr>
                                        <p:cTn id="7" dur="500"/>
                                        <p:tgtEl>
                                          <p:spTgt spid="52429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8" presetClass="entr" presetSubtype="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downRight)">
                                      <p:cBhvr>
                                        <p:cTn id="10" dur="500"/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24291" grpId="0" build="p" autoUpdateAnimBg="0"/>
      <p:bldP spid="6" grpId="0" build="p" autoUpdateAnimBg="0"/>
    </p:bld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4291" name="Rectangle 3"/>
          <p:cNvSpPr>
            <a:spLocks noGrp="1" noChangeArrowheads="1"/>
          </p:cNvSpPr>
          <p:nvPr>
            <p:ph sz="quarter" idx="13"/>
          </p:nvPr>
        </p:nvSpPr>
        <p:spPr>
          <a:xfrm>
            <a:off x="1357313" y="1844824"/>
            <a:ext cx="7031410" cy="3240088"/>
          </a:xfrm>
        </p:spPr>
        <p:txBody>
          <a:bodyPr/>
          <a:lstStyle/>
          <a:p>
            <a:pPr marL="196449" lvl="1" indent="-196449">
              <a:buNone/>
              <a:defRPr/>
            </a:pPr>
            <a:r>
              <a:rPr lang="pt-BR" b="1" dirty="0">
                <a:latin typeface="Arial" pitchFamily="34" charset="0"/>
              </a:rPr>
              <a:t>O crédito é mediado por:</a:t>
            </a:r>
          </a:p>
          <a:p>
            <a:pPr marL="196449" lvl="1" indent="-196449">
              <a:buNone/>
              <a:defRPr/>
            </a:pPr>
            <a:endParaRPr lang="pt-BR" b="1" dirty="0">
              <a:latin typeface="Arial" pitchFamily="34" charset="0"/>
            </a:endParaRPr>
          </a:p>
          <a:p>
            <a:pPr marL="196449" lvl="1" indent="-196449">
              <a:defRPr/>
            </a:pPr>
            <a:r>
              <a:rPr lang="pt-BR" b="1" dirty="0">
                <a:latin typeface="Arial" pitchFamily="34" charset="0"/>
              </a:rPr>
              <a:t> bancos</a:t>
            </a:r>
          </a:p>
          <a:p>
            <a:pPr marL="196449" lvl="1" indent="-196449">
              <a:defRPr/>
            </a:pPr>
            <a:r>
              <a:rPr lang="pt-BR" b="1" dirty="0">
                <a:latin typeface="Arial" pitchFamily="34" charset="0"/>
              </a:rPr>
              <a:t> empresas</a:t>
            </a:r>
          </a:p>
        </p:txBody>
      </p:sp>
      <p:sp>
        <p:nvSpPr>
          <p:cNvPr id="4" name="Rectangle 2"/>
          <p:cNvSpPr txBox="1">
            <a:spLocks noChangeArrowheads="1"/>
          </p:cNvSpPr>
          <p:nvPr/>
        </p:nvSpPr>
        <p:spPr bwMode="auto">
          <a:xfrm>
            <a:off x="1657350" y="878681"/>
            <a:ext cx="5829300" cy="857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68580" tIns="34290" rIns="68580" bIns="34290" numCol="1" anchor="ctr" anchorCtr="0" compatLnSpc="1">
            <a:prstTxWarp prst="textNoShape">
              <a:avLst/>
            </a:prstTxWarp>
          </a:bodyPr>
          <a:lstStyle/>
          <a:p>
            <a:pPr lvl="0" algn="ctr" eaLnBrk="0" hangingPunct="0">
              <a:defRPr/>
            </a:pPr>
            <a:r>
              <a:rPr lang="pt-BR" sz="2700" b="1" dirty="0">
                <a:effectLst>
                  <a:outerShdw blurRad="38100" dist="38100" dir="2700000" algn="tl">
                    <a:srgbClr val="C0C0C0"/>
                  </a:outerShdw>
                </a:effectLst>
                <a:latin typeface="Tahoma" pitchFamily="34" charset="0"/>
              </a:rPr>
              <a:t>O Crédito</a:t>
            </a:r>
            <a:endParaRPr lang="pt-BR" sz="2700" b="1" dirty="0">
              <a:effectLst>
                <a:outerShdw blurRad="38100" dist="38100" dir="2700000" algn="tl">
                  <a:srgbClr val="C0C0C0"/>
                </a:outerShdw>
              </a:effectLst>
              <a:latin typeface="Tahoma" pitchFamily="34" charset="0"/>
              <a:cs typeface="Arial" pitchFamily="34" charset="0"/>
            </a:endParaRPr>
          </a:p>
        </p:txBody>
      </p:sp>
      <p:sp>
        <p:nvSpPr>
          <p:cNvPr id="6" name="Rectangle 3"/>
          <p:cNvSpPr txBox="1">
            <a:spLocks noChangeArrowheads="1"/>
          </p:cNvSpPr>
          <p:nvPr/>
        </p:nvSpPr>
        <p:spPr bwMode="auto">
          <a:xfrm>
            <a:off x="3130785" y="4401109"/>
            <a:ext cx="5977720" cy="147166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marL="196449" indent="-196449"/>
            <a:r>
              <a:rPr lang="pt-BR" sz="2400" b="1" dirty="0">
                <a:latin typeface="Arial" pitchFamily="34" charset="0"/>
              </a:rPr>
              <a:t>	Relacionamento de cliente-fornecedor produz informações e incentivos que os bancos não possuem.</a:t>
            </a:r>
          </a:p>
        </p:txBody>
      </p:sp>
      <p:sp>
        <p:nvSpPr>
          <p:cNvPr id="5" name="Rectangle 3"/>
          <p:cNvSpPr txBox="1">
            <a:spLocks noChangeArrowheads="1"/>
          </p:cNvSpPr>
          <p:nvPr/>
        </p:nvSpPr>
        <p:spPr bwMode="auto">
          <a:xfrm>
            <a:off x="3417208" y="3323121"/>
            <a:ext cx="4084093" cy="42991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marL="196449" lvl="1" indent="-196449" defTabSz="685783" eaLnBrk="0" fontAlgn="base" hangingPunct="0">
              <a:spcBef>
                <a:spcPct val="20000"/>
              </a:spcBef>
              <a:spcAft>
                <a:spcPct val="0"/>
              </a:spcAft>
              <a:defRPr/>
            </a:pPr>
            <a:r>
              <a:rPr lang="pt-BR" sz="2400" b="1" dirty="0">
                <a:latin typeface="Arial" pitchFamily="34" charset="0"/>
              </a:rPr>
              <a:t>Escolhas </a:t>
            </a:r>
            <a:r>
              <a:rPr lang="pt-BR" sz="2400" b="1" dirty="0" err="1">
                <a:latin typeface="Arial" pitchFamily="34" charset="0"/>
              </a:rPr>
              <a:t>interrelacionadas</a:t>
            </a:r>
            <a:endParaRPr lang="pt-BR" sz="2400" b="1" dirty="0">
              <a:latin typeface="Arial" pitchFamily="34" charset="0"/>
            </a:endParaRPr>
          </a:p>
        </p:txBody>
      </p:sp>
      <p:sp>
        <p:nvSpPr>
          <p:cNvPr id="7" name="Chave direita 6"/>
          <p:cNvSpPr/>
          <p:nvPr/>
        </p:nvSpPr>
        <p:spPr>
          <a:xfrm>
            <a:off x="3111205" y="3158971"/>
            <a:ext cx="245660" cy="757451"/>
          </a:xfrm>
          <a:prstGeom prst="rightBrace">
            <a:avLst/>
          </a:prstGeom>
          <a:ln>
            <a:solidFill>
              <a:schemeClr val="accent6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pt-BR" sz="2400"/>
          </a:p>
        </p:txBody>
      </p:sp>
      <p:sp>
        <p:nvSpPr>
          <p:cNvPr id="8" name="Forma livre 7"/>
          <p:cNvSpPr/>
          <p:nvPr/>
        </p:nvSpPr>
        <p:spPr>
          <a:xfrm>
            <a:off x="2772388" y="3889418"/>
            <a:ext cx="908513" cy="532193"/>
          </a:xfrm>
          <a:custGeom>
            <a:avLst/>
            <a:gdLst>
              <a:gd name="connsiteX0" fmla="*/ 732429 w 732429"/>
              <a:gd name="connsiteY0" fmla="*/ 0 h 955343"/>
              <a:gd name="connsiteX1" fmla="*/ 36394 w 732429"/>
              <a:gd name="connsiteY1" fmla="*/ 518615 h 955343"/>
              <a:gd name="connsiteX2" fmla="*/ 514065 w 732429"/>
              <a:gd name="connsiteY2" fmla="*/ 955343 h 9553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732429" h="955343">
                <a:moveTo>
                  <a:pt x="732429" y="0"/>
                </a:moveTo>
                <a:cubicBezTo>
                  <a:pt x="402608" y="179695"/>
                  <a:pt x="72788" y="359391"/>
                  <a:pt x="36394" y="518615"/>
                </a:cubicBezTo>
                <a:cubicBezTo>
                  <a:pt x="0" y="677839"/>
                  <a:pt x="257032" y="816591"/>
                  <a:pt x="514065" y="955343"/>
                </a:cubicBezTo>
              </a:path>
            </a:pathLst>
          </a:custGeom>
          <a:ln w="22225">
            <a:solidFill>
              <a:schemeClr val="accent6">
                <a:lumMod val="50000"/>
              </a:schemeClr>
            </a:solidFill>
            <a:tailEnd type="stealt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pt-BR" sz="2400"/>
          </a:p>
        </p:txBody>
      </p:sp>
    </p:spTree>
    <p:extLst>
      <p:ext uri="{BB962C8B-B14F-4D97-AF65-F5344CB8AC3E}">
        <p14:creationId xmlns:p14="http://schemas.microsoft.com/office/powerpoint/2010/main" val="2598977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8" presetClass="entr" presetSubtype="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429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downRight)">
                                      <p:cBhvr>
                                        <p:cTn id="7" dur="500"/>
                                        <p:tgtEl>
                                          <p:spTgt spid="52429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8" presetClass="entr" presetSubtype="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4291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downRight)">
                                      <p:cBhvr>
                                        <p:cTn id="10" dur="500"/>
                                        <p:tgtEl>
                                          <p:spTgt spid="524291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8" presetClass="entr" presetSubtype="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4291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downRight)">
                                      <p:cBhvr>
                                        <p:cTn id="13" dur="500"/>
                                        <p:tgtEl>
                                          <p:spTgt spid="524291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4" presetClass="entr" presetSubtype="3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out)">
                                      <p:cBhvr>
                                        <p:cTn id="18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8" presetClass="entr" presetSubtype="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downRight)">
                                      <p:cBhvr>
                                        <p:cTn id="21" dur="500"/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2" fill="hold">
                      <p:stCondLst>
                        <p:cond delay="indefinite"/>
                      </p:stCondLst>
                      <p:childTnLst>
                        <p:par>
                          <p:cTn id="23" fill="hold">
                            <p:stCondLst>
                              <p:cond delay="0"/>
                            </p:stCondLst>
                            <p:childTnLst>
                              <p:par>
                                <p:cTn id="24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6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7" fill="hold">
                            <p:stCondLst>
                              <p:cond delay="500"/>
                            </p:stCondLst>
                            <p:childTnLst>
                              <p:par>
                                <p:cTn id="28" presetID="18" presetClass="entr" presetSubtype="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downRight)">
                                      <p:cBhvr>
                                        <p:cTn id="30" dur="500"/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24291" grpId="0" build="p" autoUpdateAnimBg="0"/>
      <p:bldP spid="6" grpId="0" build="p" autoUpdateAnimBg="0"/>
      <p:bldP spid="5" grpId="0" build="p" autoUpdateAnimBg="0"/>
      <p:bldP spid="7" grpId="0" animBg="1"/>
      <p:bldP spid="8" grpId="0" animBg="1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m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96890" y="116632"/>
            <a:ext cx="5954418" cy="6624736"/>
          </a:xfrm>
          <a:prstGeom prst="rect">
            <a:avLst/>
          </a:prstGeom>
        </p:spPr>
      </p:pic>
      <p:cxnSp>
        <p:nvCxnSpPr>
          <p:cNvPr id="4" name="Conector reto 3"/>
          <p:cNvCxnSpPr/>
          <p:nvPr/>
        </p:nvCxnSpPr>
        <p:spPr>
          <a:xfrm>
            <a:off x="4067944" y="1268760"/>
            <a:ext cx="1152128" cy="0"/>
          </a:xfrm>
          <a:prstGeom prst="line">
            <a:avLst/>
          </a:prstGeom>
          <a:ln w="28575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" name="Conector reto 4"/>
          <p:cNvCxnSpPr/>
          <p:nvPr/>
        </p:nvCxnSpPr>
        <p:spPr>
          <a:xfrm>
            <a:off x="1620000" y="5589240"/>
            <a:ext cx="4919326" cy="0"/>
          </a:xfrm>
          <a:prstGeom prst="line">
            <a:avLst/>
          </a:prstGeom>
          <a:ln w="28575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Conector reto 6"/>
          <p:cNvCxnSpPr/>
          <p:nvPr/>
        </p:nvCxnSpPr>
        <p:spPr>
          <a:xfrm>
            <a:off x="1620000" y="5436000"/>
            <a:ext cx="5711414" cy="0"/>
          </a:xfrm>
          <a:prstGeom prst="line">
            <a:avLst/>
          </a:prstGeom>
          <a:ln w="28575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Conector reto 9"/>
          <p:cNvCxnSpPr/>
          <p:nvPr/>
        </p:nvCxnSpPr>
        <p:spPr>
          <a:xfrm>
            <a:off x="1596890" y="332656"/>
            <a:ext cx="1174910" cy="0"/>
          </a:xfrm>
          <a:prstGeom prst="line">
            <a:avLst/>
          </a:prstGeom>
          <a:ln w="28575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04003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3267" name="Rectangle 3"/>
          <p:cNvSpPr>
            <a:spLocks noGrp="1" noChangeArrowheads="1"/>
          </p:cNvSpPr>
          <p:nvPr>
            <p:ph sz="quarter" idx="13"/>
          </p:nvPr>
        </p:nvSpPr>
        <p:spPr>
          <a:xfrm>
            <a:off x="1357313" y="1844824"/>
            <a:ext cx="7031410" cy="3240088"/>
          </a:xfrm>
        </p:spPr>
        <p:txBody>
          <a:bodyPr>
            <a:normAutofit/>
          </a:bodyPr>
          <a:lstStyle/>
          <a:p>
            <a:pPr marL="196449" indent="-196449">
              <a:lnSpc>
                <a:spcPct val="150000"/>
              </a:lnSpc>
            </a:pPr>
            <a:r>
              <a:rPr lang="pt-BR" sz="2400" b="1" dirty="0">
                <a:latin typeface="Arial" pitchFamily="34" charset="0"/>
              </a:rPr>
              <a:t>O que interessa:</a:t>
            </a:r>
          </a:p>
          <a:p>
            <a:pPr marL="196449" indent="-196449">
              <a:lnSpc>
                <a:spcPct val="150000"/>
              </a:lnSpc>
              <a:buNone/>
            </a:pPr>
            <a:endParaRPr lang="pt-BR" sz="1200" b="1" dirty="0">
              <a:latin typeface="Arial" pitchFamily="34" charset="0"/>
            </a:endParaRPr>
          </a:p>
          <a:p>
            <a:pPr marL="571486" lvl="1">
              <a:lnSpc>
                <a:spcPct val="150000"/>
              </a:lnSpc>
            </a:pPr>
            <a:r>
              <a:rPr lang="pt-BR" b="1" dirty="0">
                <a:latin typeface="Arial" pitchFamily="34" charset="0"/>
              </a:rPr>
              <a:t>Qual a probabilidade de que o contrato será cumprido (pago, produtos entregues)? </a:t>
            </a:r>
          </a:p>
        </p:txBody>
      </p:sp>
      <p:sp>
        <p:nvSpPr>
          <p:cNvPr id="4" name="Rectangle 2"/>
          <p:cNvSpPr txBox="1">
            <a:spLocks noChangeArrowheads="1"/>
          </p:cNvSpPr>
          <p:nvPr/>
        </p:nvSpPr>
        <p:spPr bwMode="auto">
          <a:xfrm>
            <a:off x="1657350" y="878681"/>
            <a:ext cx="5829300" cy="857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68580" tIns="34290" rIns="68580" bIns="34290" numCol="1" anchor="ctr" anchorCtr="0" compatLnSpc="1">
            <a:prstTxWarp prst="textNoShape">
              <a:avLst/>
            </a:prstTxWarp>
          </a:bodyPr>
          <a:lstStyle/>
          <a:p>
            <a:pPr lvl="0" algn="ctr" eaLnBrk="0" hangingPunct="0">
              <a:defRPr/>
            </a:pPr>
            <a:r>
              <a:rPr lang="pt-BR" sz="2700" b="1" dirty="0">
                <a:effectLst>
                  <a:outerShdw blurRad="38100" dist="38100" dir="2700000" algn="tl">
                    <a:srgbClr val="C0C0C0"/>
                  </a:outerShdw>
                </a:effectLst>
                <a:latin typeface="Tahoma" pitchFamily="34" charset="0"/>
              </a:rPr>
              <a:t>O Crédito</a:t>
            </a:r>
          </a:p>
        </p:txBody>
      </p:sp>
      <p:sp>
        <p:nvSpPr>
          <p:cNvPr id="5" name="Seta dobrada para cima 4"/>
          <p:cNvSpPr/>
          <p:nvPr/>
        </p:nvSpPr>
        <p:spPr>
          <a:xfrm rot="5400000">
            <a:off x="2299649" y="4419316"/>
            <a:ext cx="634621" cy="614150"/>
          </a:xfrm>
          <a:prstGeom prst="bentUp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1350"/>
          </a:p>
        </p:txBody>
      </p:sp>
      <p:sp>
        <p:nvSpPr>
          <p:cNvPr id="6" name="CaixaDeTexto 5"/>
          <p:cNvSpPr txBox="1"/>
          <p:nvPr/>
        </p:nvSpPr>
        <p:spPr>
          <a:xfrm>
            <a:off x="3036623" y="4613797"/>
            <a:ext cx="1750325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3000" b="1" dirty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itchFamily="34" charset="0"/>
              </a:rPr>
              <a:t>RISCO</a:t>
            </a:r>
          </a:p>
        </p:txBody>
      </p:sp>
    </p:spTree>
    <p:extLst>
      <p:ext uri="{BB962C8B-B14F-4D97-AF65-F5344CB8AC3E}">
        <p14:creationId xmlns:p14="http://schemas.microsoft.com/office/powerpoint/2010/main" val="36968324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8" presetClass="entr" presetSubtype="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326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downRight)">
                                      <p:cBhvr>
                                        <p:cTn id="7" dur="500"/>
                                        <p:tgtEl>
                                          <p:spTgt spid="52326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8" presetClass="entr" presetSubtype="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326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downRight)">
                                      <p:cBhvr>
                                        <p:cTn id="10" dur="500"/>
                                        <p:tgtEl>
                                          <p:spTgt spid="52326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5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500"/>
                            </p:stCondLst>
                            <p:childTnLst>
                              <p:par>
                                <p:cTn id="17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9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23267" grpId="0" build="p" autoUpdateAnimBg="0"/>
      <p:bldP spid="5" grpId="0" animBg="1"/>
      <p:bldP spid="6" grpId="0"/>
    </p:bld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3218" name="Text Box 2"/>
          <p:cNvSpPr txBox="1">
            <a:spLocks noChangeArrowheads="1"/>
          </p:cNvSpPr>
          <p:nvPr/>
        </p:nvSpPr>
        <p:spPr bwMode="auto">
          <a:xfrm>
            <a:off x="2051448" y="2619375"/>
            <a:ext cx="5005388" cy="60016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 algn="ctr">
              <a:lnSpc>
                <a:spcPct val="110000"/>
              </a:lnSpc>
              <a:spcBef>
                <a:spcPct val="20000"/>
              </a:spcBef>
              <a:defRPr/>
            </a:pPr>
            <a:r>
              <a:rPr lang="pt-BR" sz="3000" b="1">
                <a:effectLst>
                  <a:outerShdw blurRad="38100" dist="38100" dir="2700000" algn="tl">
                    <a:srgbClr val="C0C0C0"/>
                  </a:outerShdw>
                </a:effectLst>
                <a:latin typeface="Lucida Sans Unicode" pitchFamily="34" charset="0"/>
              </a:rPr>
              <a:t>Introdução ao Risco</a:t>
            </a:r>
          </a:p>
        </p:txBody>
      </p:sp>
      <p:sp>
        <p:nvSpPr>
          <p:cNvPr id="1033219" name="Rectangle 3"/>
          <p:cNvSpPr>
            <a:spLocks noChangeArrowheads="1"/>
          </p:cNvSpPr>
          <p:nvPr/>
        </p:nvSpPr>
        <p:spPr bwMode="auto">
          <a:xfrm>
            <a:off x="1143000" y="897731"/>
            <a:ext cx="6858000" cy="6953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/>
          <a:lstStyle/>
          <a:p>
            <a:pPr algn="ctr">
              <a:defRPr/>
            </a:pPr>
            <a:endParaRPr lang="pt-BR" sz="2700" b="1">
              <a:solidFill>
                <a:schemeClr val="tx2"/>
              </a:solidFill>
              <a:effectLst>
                <a:outerShdw blurRad="38100" dist="38100" dir="2700000" algn="tl">
                  <a:srgbClr val="C0C0C0"/>
                </a:outerShdw>
              </a:effectLst>
              <a:latin typeface="Tahom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1632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32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7" dur="500"/>
                                        <p:tgtEl>
                                          <p:spTgt spid="10332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33218" grpId="0" autoUpdateAnimBg="0"/>
    </p:bld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2194" name="Text Box 2"/>
          <p:cNvSpPr txBox="1">
            <a:spLocks noChangeArrowheads="1"/>
          </p:cNvSpPr>
          <p:nvPr/>
        </p:nvSpPr>
        <p:spPr bwMode="auto">
          <a:xfrm>
            <a:off x="1357312" y="2227660"/>
            <a:ext cx="6887096" cy="2862322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square">
            <a:spAutoFit/>
          </a:bodyPr>
          <a:lstStyle>
            <a:lvl1pPr>
              <a:defRPr sz="2400">
                <a:solidFill>
                  <a:schemeClr val="tx1"/>
                </a:solidFill>
                <a:latin typeface="Times New Roman" pitchFamily="18" charset="0"/>
              </a:defRPr>
            </a:lvl1pPr>
            <a:lvl2pPr marL="2343150" indent="-714375">
              <a:defRPr sz="2400">
                <a:solidFill>
                  <a:schemeClr val="tx1"/>
                </a:solidFill>
                <a:latin typeface="Times New Roman" pitchFamily="18" charset="0"/>
              </a:defRPr>
            </a:lvl2pPr>
            <a:lvl3pPr marL="4229100" indent="-828675">
              <a:defRPr sz="2400">
                <a:solidFill>
                  <a:schemeClr val="tx1"/>
                </a:solidFill>
                <a:latin typeface="Times New Roman" pitchFamily="18" charset="0"/>
              </a:defRPr>
            </a:lvl3pPr>
            <a:lvl4pPr marL="4408488">
              <a:defRPr sz="2400">
                <a:solidFill>
                  <a:schemeClr val="tx1"/>
                </a:solidFill>
                <a:latin typeface="Times New Roman" pitchFamily="18" charset="0"/>
              </a:defRPr>
            </a:lvl4pPr>
            <a:lvl5pPr marL="4587875">
              <a:defRPr sz="2400">
                <a:solidFill>
                  <a:schemeClr val="tx1"/>
                </a:solidFill>
                <a:latin typeface="Times New Roman" pitchFamily="18" charset="0"/>
              </a:defRPr>
            </a:lvl5pPr>
            <a:lvl6pPr marL="5045075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6pPr>
            <a:lvl7pPr marL="5502275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7pPr>
            <a:lvl8pPr marL="5959475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8pPr>
            <a:lvl9pPr marL="6416675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>
              <a:lnSpc>
                <a:spcPct val="150000"/>
              </a:lnSpc>
              <a:spcBef>
                <a:spcPct val="30000"/>
              </a:spcBef>
              <a:defRPr/>
            </a:pPr>
            <a:r>
              <a:rPr lang="pt-BR" b="1" dirty="0">
                <a:effectLst>
                  <a:outerShdw blurRad="38100" dist="38100" dir="2700000" algn="tl">
                    <a:srgbClr val="C0C0C0"/>
                  </a:outerShdw>
                </a:effectLst>
                <a:latin typeface="Arial" pitchFamily="34" charset="0"/>
              </a:rPr>
              <a:t>Risco</a:t>
            </a:r>
            <a:r>
              <a:rPr lang="pt-BR" b="1" dirty="0">
                <a:latin typeface="Arial" pitchFamily="34" charset="0"/>
              </a:rPr>
              <a:t> é a possibilidade de que a empresa venha a incorrer em perdas, tenha o crescimento de suas receitas impactado negativamente ou venha a defrontar-se com dificuldades.</a:t>
            </a:r>
          </a:p>
        </p:txBody>
      </p:sp>
      <p:sp>
        <p:nvSpPr>
          <p:cNvPr id="1032196" name="Rectangle 4"/>
          <p:cNvSpPr>
            <a:spLocks noChangeArrowheads="1"/>
          </p:cNvSpPr>
          <p:nvPr/>
        </p:nvSpPr>
        <p:spPr bwMode="auto">
          <a:xfrm>
            <a:off x="1143000" y="897731"/>
            <a:ext cx="6858000" cy="69532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anchor="ctr"/>
          <a:lstStyle/>
          <a:p>
            <a:pPr algn="ctr">
              <a:defRPr/>
            </a:pPr>
            <a:r>
              <a:rPr lang="pt-BR" sz="2700" b="1">
                <a:effectLst>
                  <a:outerShdw blurRad="38100" dist="38100" dir="2700000" algn="tl">
                    <a:srgbClr val="C0C0C0"/>
                  </a:outerShdw>
                </a:effectLst>
                <a:latin typeface="Tahoma" pitchFamily="34" charset="0"/>
              </a:rPr>
              <a:t>Risco</a:t>
            </a:r>
          </a:p>
        </p:txBody>
      </p:sp>
    </p:spTree>
    <p:extLst>
      <p:ext uri="{BB962C8B-B14F-4D97-AF65-F5344CB8AC3E}">
        <p14:creationId xmlns:p14="http://schemas.microsoft.com/office/powerpoint/2010/main" val="19331442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8" presetClass="entr" presetSubtype="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21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downRight)">
                                      <p:cBhvr>
                                        <p:cTn id="7" dur="500"/>
                                        <p:tgtEl>
                                          <p:spTgt spid="103219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32194" grpId="0"/>
    </p:bld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2195" name="Text Box 3"/>
          <p:cNvSpPr txBox="1">
            <a:spLocks noChangeArrowheads="1"/>
          </p:cNvSpPr>
          <p:nvPr/>
        </p:nvSpPr>
        <p:spPr bwMode="auto">
          <a:xfrm>
            <a:off x="1357312" y="1999405"/>
            <a:ext cx="7031111" cy="31577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2514600" indent="-2514600"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9pPr>
          </a:lstStyle>
          <a:p>
            <a:pPr>
              <a:lnSpc>
                <a:spcPct val="110000"/>
              </a:lnSpc>
              <a:spcBef>
                <a:spcPct val="30000"/>
              </a:spcBef>
            </a:pPr>
            <a:r>
              <a:rPr lang="pt-BR" sz="2400" b="1" dirty="0">
                <a:latin typeface="Arial" pitchFamily="34" charset="0"/>
              </a:rPr>
              <a:t>Risco Primário: riscos básicos, inerentes a essência da empresa.</a:t>
            </a:r>
          </a:p>
          <a:p>
            <a:pPr>
              <a:lnSpc>
                <a:spcPct val="110000"/>
              </a:lnSpc>
              <a:spcBef>
                <a:spcPct val="30000"/>
              </a:spcBef>
            </a:pPr>
            <a:endParaRPr lang="pt-BR" sz="2400" b="1" dirty="0">
              <a:latin typeface="Arial" pitchFamily="34" charset="0"/>
            </a:endParaRPr>
          </a:p>
          <a:p>
            <a:pPr>
              <a:lnSpc>
                <a:spcPct val="110000"/>
              </a:lnSpc>
              <a:spcBef>
                <a:spcPct val="30000"/>
              </a:spcBef>
            </a:pPr>
            <a:r>
              <a:rPr lang="pt-BR" sz="2400" b="1" dirty="0">
                <a:latin typeface="Arial" pitchFamily="34" charset="0"/>
              </a:rPr>
              <a:t>Riscos de Situação: decorrentes de situações negociais (situação de risco). Em geral, desdobram-se em riscos primários.</a:t>
            </a:r>
          </a:p>
        </p:txBody>
      </p:sp>
      <p:sp>
        <p:nvSpPr>
          <p:cNvPr id="1032196" name="Rectangle 4"/>
          <p:cNvSpPr>
            <a:spLocks noChangeArrowheads="1"/>
          </p:cNvSpPr>
          <p:nvPr/>
        </p:nvSpPr>
        <p:spPr bwMode="auto">
          <a:xfrm>
            <a:off x="1143000" y="897731"/>
            <a:ext cx="6858000" cy="69532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anchor="ctr"/>
          <a:lstStyle/>
          <a:p>
            <a:pPr algn="ctr">
              <a:defRPr/>
            </a:pPr>
            <a:r>
              <a:rPr lang="pt-BR" sz="2700" b="1">
                <a:effectLst>
                  <a:outerShdw blurRad="38100" dist="38100" dir="2700000" algn="tl">
                    <a:srgbClr val="C0C0C0"/>
                  </a:outerShdw>
                </a:effectLst>
                <a:latin typeface="Tahoma" pitchFamily="34" charset="0"/>
              </a:rPr>
              <a:t>Risco</a:t>
            </a:r>
          </a:p>
        </p:txBody>
      </p:sp>
    </p:spTree>
    <p:extLst>
      <p:ext uri="{BB962C8B-B14F-4D97-AF65-F5344CB8AC3E}">
        <p14:creationId xmlns:p14="http://schemas.microsoft.com/office/powerpoint/2010/main" val="11537926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8" presetClass="entr" presetSubtype="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219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downRight)">
                                      <p:cBhvr>
                                        <p:cTn id="7" dur="500"/>
                                        <p:tgtEl>
                                          <p:spTgt spid="103219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32195" grpId="0"/>
    </p:bld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17858" name="Rectangle 2"/>
          <p:cNvSpPr>
            <a:spLocks noChangeArrowheads="1"/>
          </p:cNvSpPr>
          <p:nvPr/>
        </p:nvSpPr>
        <p:spPr bwMode="auto">
          <a:xfrm>
            <a:off x="1143000" y="897733"/>
            <a:ext cx="6858000" cy="69532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anchor="ctr"/>
          <a:lstStyle/>
          <a:p>
            <a:pPr algn="ctr">
              <a:defRPr/>
            </a:pPr>
            <a:r>
              <a:rPr lang="pt-BR" sz="2700" b="1">
                <a:effectLst>
                  <a:outerShdw blurRad="38100" dist="38100" dir="2700000" algn="tl">
                    <a:srgbClr val="C0C0C0"/>
                  </a:outerShdw>
                </a:effectLst>
                <a:latin typeface="Tahoma" pitchFamily="34" charset="0"/>
              </a:rPr>
              <a:t>Risco</a:t>
            </a:r>
          </a:p>
        </p:txBody>
      </p:sp>
      <p:sp>
        <p:nvSpPr>
          <p:cNvPr id="1017860" name="Rectangle 4"/>
          <p:cNvSpPr>
            <a:spLocks noChangeArrowheads="1"/>
          </p:cNvSpPr>
          <p:nvPr/>
        </p:nvSpPr>
        <p:spPr bwMode="auto">
          <a:xfrm>
            <a:off x="1357313" y="1577373"/>
            <a:ext cx="7247137" cy="394261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anchor="ctr">
            <a:spAutoFit/>
          </a:bodyPr>
          <a:lstStyle/>
          <a:p>
            <a:pPr>
              <a:lnSpc>
                <a:spcPct val="110000"/>
              </a:lnSpc>
              <a:spcAft>
                <a:spcPct val="40000"/>
              </a:spcAft>
            </a:pPr>
            <a:r>
              <a:rPr lang="pt-BR" sz="2800" dirty="0">
                <a:latin typeface="Arial" pitchFamily="34" charset="0"/>
              </a:rPr>
              <a:t>Os riscos estão em toda a parte – mas a grande questão é a forma como as empresas os identificam, avaliam, controlam e financiam.</a:t>
            </a:r>
          </a:p>
          <a:p>
            <a:pPr>
              <a:lnSpc>
                <a:spcPct val="110000"/>
              </a:lnSpc>
              <a:spcAft>
                <a:spcPct val="40000"/>
              </a:spcAft>
            </a:pPr>
            <a:endParaRPr lang="pt-BR" sz="1400" dirty="0">
              <a:latin typeface="Arial" pitchFamily="34" charset="0"/>
            </a:endParaRPr>
          </a:p>
          <a:p>
            <a:pPr algn="ctr">
              <a:lnSpc>
                <a:spcPct val="110000"/>
              </a:lnSpc>
              <a:spcAft>
                <a:spcPct val="40000"/>
              </a:spcAft>
            </a:pPr>
            <a:r>
              <a:rPr lang="pt-BR" sz="2800" dirty="0">
                <a:latin typeface="Arial" pitchFamily="34" charset="0"/>
              </a:rPr>
              <a:t>“Tudo na vida é administração de risco, não sua eliminação”</a:t>
            </a:r>
          </a:p>
          <a:p>
            <a:pPr algn="r">
              <a:lnSpc>
                <a:spcPct val="110000"/>
              </a:lnSpc>
              <a:spcAft>
                <a:spcPct val="40000"/>
              </a:spcAft>
            </a:pPr>
            <a:r>
              <a:rPr lang="pt-BR" sz="2000" dirty="0">
                <a:latin typeface="Arial" pitchFamily="34" charset="0"/>
              </a:rPr>
              <a:t>(Walter </a:t>
            </a:r>
            <a:r>
              <a:rPr lang="pt-BR" sz="2000" dirty="0" err="1">
                <a:latin typeface="Arial" pitchFamily="34" charset="0"/>
              </a:rPr>
              <a:t>Wriston</a:t>
            </a:r>
            <a:r>
              <a:rPr lang="pt-BR" sz="2000" dirty="0">
                <a:latin typeface="Arial" pitchFamily="34" charset="0"/>
              </a:rPr>
              <a:t>, ex-presidente do </a:t>
            </a:r>
            <a:r>
              <a:rPr lang="pt-BR" sz="2000" dirty="0" err="1">
                <a:latin typeface="Arial" pitchFamily="34" charset="0"/>
              </a:rPr>
              <a:t>Citicorp</a:t>
            </a:r>
            <a:r>
              <a:rPr lang="pt-BR" sz="2000" dirty="0">
                <a:latin typeface="Arial" pitchFamily="34" charset="0"/>
              </a:rPr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40627736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8" presetClass="entr" presetSubtype="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1786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downRight)">
                                      <p:cBhvr>
                                        <p:cTn id="7" dur="500"/>
                                        <p:tgtEl>
                                          <p:spTgt spid="101786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 nodeType="afterGroup">
                            <p:stCondLst>
                              <p:cond delay="500"/>
                            </p:stCondLst>
                            <p:childTnLst>
                              <p:par>
                                <p:cTn id="9" presetID="18" presetClass="entr" presetSubtype="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17860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downRight)">
                                      <p:cBhvr>
                                        <p:cTn id="11" dur="500"/>
                                        <p:tgtEl>
                                          <p:spTgt spid="1017860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18" presetClass="entr" presetSubtype="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17860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downRight)">
                                      <p:cBhvr>
                                        <p:cTn id="15" dur="500"/>
                                        <p:tgtEl>
                                          <p:spTgt spid="1017860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17860" grpId="0" build="p"/>
    </p:bld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ítulo 1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3" name="Título 2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pt-BR" smtClean="0"/>
              <a:t>Aula dia 06 de junho de 2017</a:t>
            </a:r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375948939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pt-BR" smtClean="0"/>
              <a:t>Exercício</a:t>
            </a:r>
            <a:br>
              <a:rPr lang="pt-BR" smtClean="0"/>
            </a:br>
            <a:endParaRPr lang="pt-BR"/>
          </a:p>
        </p:txBody>
      </p:sp>
      <p:sp>
        <p:nvSpPr>
          <p:cNvPr id="3" name="Espaço Reservado para Conteúdo 2"/>
          <p:cNvSpPr>
            <a:spLocks noGrp="1"/>
          </p:cNvSpPr>
          <p:nvPr>
            <p:ph sz="quarter" idx="1"/>
          </p:nvPr>
        </p:nvSpPr>
        <p:spPr>
          <a:xfrm>
            <a:off x="251520" y="908720"/>
            <a:ext cx="8712968" cy="4572000"/>
          </a:xfrm>
        </p:spPr>
        <p:txBody>
          <a:bodyPr>
            <a:noAutofit/>
          </a:bodyPr>
          <a:lstStyle/>
          <a:p>
            <a:pPr marL="0" indent="0" algn="just">
              <a:buNone/>
            </a:pPr>
            <a:r>
              <a:rPr lang="pt-BR" sz="2700" dirty="0" smtClean="0"/>
              <a:t>Um </a:t>
            </a:r>
            <a:r>
              <a:rPr lang="pt-BR" sz="2700" dirty="0"/>
              <a:t>produtor de certa commodity solicita ao fornecedor de insumo, no mês de outubro, insumos para pagamento em troca de sacas da commodity após a colheita, que ocorrerá em abril do ano seguinte. No mercado futuro, a commodity está cotada a R$ 50,00/</a:t>
            </a:r>
            <a:r>
              <a:rPr lang="pt-BR" sz="2700" dirty="0" err="1"/>
              <a:t>sc</a:t>
            </a:r>
            <a:r>
              <a:rPr lang="pt-BR" sz="2700" dirty="0"/>
              <a:t> para o mês de abril (época da colheita). No mês de outubro (época do pré-plantio) o valor da saca da commodity é de R$ 40,00. A empresa vendedora de insumo trabalha com margem de lucro de 3,0%, inadimplência de 1%, custo financeiro de </a:t>
            </a:r>
            <a:r>
              <a:rPr lang="pt-BR" sz="2700" dirty="0" smtClean="0"/>
              <a:t>3% </a:t>
            </a:r>
            <a:r>
              <a:rPr lang="pt-BR" sz="2700" dirty="0"/>
              <a:t>ao mês. A commodity comercializada na região possui 12% de umidade, 1,5% de impurezas, e 7% para grãos avariados (4% de ardidos) e 25% de grãos quebrados. O custo de produção dos insumos para indústria, na quantidade solicitada pelo produtor, é de R$ 120.000,00. Precifique a operação, ou seja, calcule a quantidade de sacas de commodity que será utilizada para a operação de </a:t>
            </a:r>
            <a:r>
              <a:rPr lang="pt-BR" sz="2700" dirty="0" err="1"/>
              <a:t>Barter</a:t>
            </a:r>
            <a:r>
              <a:rPr lang="pt-BR" sz="2700" dirty="0"/>
              <a:t>.</a:t>
            </a:r>
          </a:p>
          <a:p>
            <a:pPr algn="just"/>
            <a:endParaRPr lang="pt-BR" sz="2700" dirty="0"/>
          </a:p>
        </p:txBody>
      </p:sp>
    </p:spTree>
    <p:extLst>
      <p:ext uri="{BB962C8B-B14F-4D97-AF65-F5344CB8AC3E}">
        <p14:creationId xmlns:p14="http://schemas.microsoft.com/office/powerpoint/2010/main" val="2967724250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pt-BR" smtClean="0"/>
              <a:t>Exercício</a:t>
            </a:r>
            <a:br>
              <a:rPr lang="pt-BR" smtClean="0"/>
            </a:br>
            <a:endParaRPr lang="pt-BR"/>
          </a:p>
        </p:txBody>
      </p:sp>
      <p:sp>
        <p:nvSpPr>
          <p:cNvPr id="3" name="Espaço Reservado para Conteúdo 2"/>
          <p:cNvSpPr>
            <a:spLocks noGrp="1"/>
          </p:cNvSpPr>
          <p:nvPr>
            <p:ph sz="quarter" idx="1"/>
          </p:nvPr>
        </p:nvSpPr>
        <p:spPr>
          <a:xfrm>
            <a:off x="251520" y="908720"/>
            <a:ext cx="8712968" cy="4572000"/>
          </a:xfrm>
        </p:spPr>
        <p:txBody>
          <a:bodyPr>
            <a:noAutofit/>
          </a:bodyPr>
          <a:lstStyle/>
          <a:p>
            <a:pPr marL="0" indent="0" algn="just">
              <a:buNone/>
            </a:pPr>
            <a:r>
              <a:rPr lang="pt-BR" sz="2700" dirty="0" smtClean="0"/>
              <a:t>Um </a:t>
            </a:r>
            <a:r>
              <a:rPr lang="pt-BR" sz="2700" dirty="0"/>
              <a:t>produtor de certa commodity solicita ao fornecedor de insumo, no mês de </a:t>
            </a:r>
            <a:r>
              <a:rPr lang="pt-BR" sz="2700" dirty="0">
                <a:solidFill>
                  <a:srgbClr val="FF0000"/>
                </a:solidFill>
              </a:rPr>
              <a:t>outubro</a:t>
            </a:r>
            <a:r>
              <a:rPr lang="pt-BR" sz="2700" dirty="0"/>
              <a:t>, insumos para pagamento em troca de sacas da commodity após a colheita, que ocorrerá em </a:t>
            </a:r>
            <a:r>
              <a:rPr lang="pt-BR" sz="2700" dirty="0">
                <a:solidFill>
                  <a:srgbClr val="FF0000"/>
                </a:solidFill>
              </a:rPr>
              <a:t>abril</a:t>
            </a:r>
            <a:r>
              <a:rPr lang="pt-BR" sz="2700" dirty="0"/>
              <a:t> do ano seguinte. No mercado futuro, a commodity está cotada a </a:t>
            </a:r>
            <a:r>
              <a:rPr lang="pt-BR" sz="2700" dirty="0">
                <a:solidFill>
                  <a:srgbClr val="FF0000"/>
                </a:solidFill>
              </a:rPr>
              <a:t>R$ 50,00/</a:t>
            </a:r>
            <a:r>
              <a:rPr lang="pt-BR" sz="2700" dirty="0" err="1">
                <a:solidFill>
                  <a:srgbClr val="FF0000"/>
                </a:solidFill>
              </a:rPr>
              <a:t>sc</a:t>
            </a:r>
            <a:r>
              <a:rPr lang="pt-BR" sz="2700" dirty="0">
                <a:solidFill>
                  <a:srgbClr val="FF0000"/>
                </a:solidFill>
              </a:rPr>
              <a:t> </a:t>
            </a:r>
            <a:r>
              <a:rPr lang="pt-BR" sz="2700" dirty="0"/>
              <a:t>para o mês de abril (época da colheita). No mês de outubro (época do pré-plantio) o valor da saca da commodity é de R$ 40,00. A empresa vendedora de insumo trabalha com </a:t>
            </a:r>
            <a:r>
              <a:rPr lang="pt-BR" sz="2700" dirty="0">
                <a:solidFill>
                  <a:srgbClr val="FF0000"/>
                </a:solidFill>
              </a:rPr>
              <a:t>margem de lucro de 3,0%, inadimplência de 1%, custo financeiro de </a:t>
            </a:r>
            <a:r>
              <a:rPr lang="pt-BR" sz="2700" dirty="0" smtClean="0">
                <a:solidFill>
                  <a:srgbClr val="FF0000"/>
                </a:solidFill>
              </a:rPr>
              <a:t>3% </a:t>
            </a:r>
            <a:r>
              <a:rPr lang="pt-BR" sz="2700" dirty="0">
                <a:solidFill>
                  <a:srgbClr val="FF0000"/>
                </a:solidFill>
              </a:rPr>
              <a:t>ao mês</a:t>
            </a:r>
            <a:r>
              <a:rPr lang="pt-BR" sz="2700" dirty="0"/>
              <a:t>. A commodity comercializada na região possui 12% de umidade, 1,5% de impurezas, e 7% para grãos avariados (4% de ardidos) e 25% de grãos quebrados. O custo de produção dos insumos para indústria, na quantidade solicitada pelo produtor, é de </a:t>
            </a:r>
            <a:r>
              <a:rPr lang="pt-BR" sz="2700" dirty="0">
                <a:solidFill>
                  <a:srgbClr val="FF0000"/>
                </a:solidFill>
              </a:rPr>
              <a:t>R$ 120.000,00</a:t>
            </a:r>
            <a:r>
              <a:rPr lang="pt-BR" sz="2700" dirty="0"/>
              <a:t>. Precifique a operação, ou seja, calcule a quantidade de sacas de commodity que será utilizada para a operação de </a:t>
            </a:r>
            <a:r>
              <a:rPr lang="pt-BR" sz="2700" dirty="0" err="1"/>
              <a:t>Barter</a:t>
            </a:r>
            <a:r>
              <a:rPr lang="pt-BR" sz="2700" dirty="0"/>
              <a:t>.</a:t>
            </a:r>
          </a:p>
          <a:p>
            <a:pPr algn="just"/>
            <a:endParaRPr lang="pt-BR" sz="2700" dirty="0"/>
          </a:p>
        </p:txBody>
      </p:sp>
    </p:spTree>
    <p:extLst>
      <p:ext uri="{BB962C8B-B14F-4D97-AF65-F5344CB8AC3E}">
        <p14:creationId xmlns:p14="http://schemas.microsoft.com/office/powerpoint/2010/main" val="3877419291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40502" name="Group 118"/>
          <p:cNvGraphicFramePr>
            <a:graphicFrameLocks noGrp="1"/>
          </p:cNvGraphicFramePr>
          <p:nvPr>
            <p:ph sz="quarter" idx="13"/>
            <p:extLst>
              <p:ext uri="{D42A27DB-BD31-4B8C-83A1-F6EECF244321}">
                <p14:modId xmlns:p14="http://schemas.microsoft.com/office/powerpoint/2010/main" val="1134829080"/>
              </p:ext>
            </p:extLst>
          </p:nvPr>
        </p:nvGraphicFramePr>
        <p:xfrm>
          <a:off x="611188" y="1316038"/>
          <a:ext cx="8113594" cy="3627617"/>
        </p:xfrm>
        <a:graphic>
          <a:graphicData uri="http://schemas.openxmlformats.org/drawingml/2006/table">
            <a:tbl>
              <a:tblPr/>
              <a:tblGrid>
                <a:gridCol w="720452"/>
                <a:gridCol w="4793189"/>
                <a:gridCol w="2599953"/>
              </a:tblGrid>
              <a:tr h="518231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2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(1)</a:t>
                      </a:r>
                    </a:p>
                  </a:txBody>
                  <a:tcPr marL="94419" marR="94419" marT="45726" marB="45726" horzOverflow="overflow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2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Custo total</a:t>
                      </a:r>
                    </a:p>
                  </a:txBody>
                  <a:tcPr marL="94419" marR="94419" marT="45726" marB="45726" horzOverflow="overflow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2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R$ </a:t>
                      </a:r>
                    </a:p>
                  </a:txBody>
                  <a:tcPr marL="94419" marR="94419" marT="45726" marB="45726" horzOverflow="overflow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518231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2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(2)</a:t>
                      </a:r>
                    </a:p>
                  </a:txBody>
                  <a:tcPr marL="94419" marR="94419" marT="45726" marB="45726" horzOverflow="overflow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2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Margem de lucro (3,0%)</a:t>
                      </a:r>
                    </a:p>
                  </a:txBody>
                  <a:tcPr marL="94419" marR="94419" marT="45726" marB="45726" horzOverflow="overflow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2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R$</a:t>
                      </a:r>
                    </a:p>
                  </a:txBody>
                  <a:tcPr marL="94419" marR="94419" marT="45726" marB="45726" horzOverflow="overflow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518231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2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(3)</a:t>
                      </a:r>
                    </a:p>
                  </a:txBody>
                  <a:tcPr marL="94419" marR="94419" marT="45726" marB="45726" horzOverflow="overflow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2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Subtotal (1) + (2)</a:t>
                      </a:r>
                    </a:p>
                  </a:txBody>
                  <a:tcPr marL="94419" marR="94419" marT="45726" marB="45726" horzOverflow="overflow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2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R$</a:t>
                      </a:r>
                    </a:p>
                  </a:txBody>
                  <a:tcPr marL="94419" marR="94419" marT="45726" marB="45726" horzOverflow="overflow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518231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2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(4)</a:t>
                      </a:r>
                    </a:p>
                  </a:txBody>
                  <a:tcPr marL="94419" marR="94419" marT="45726" marB="45726" horzOverflow="overflow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2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Risco de crédito (1%)</a:t>
                      </a:r>
                    </a:p>
                  </a:txBody>
                  <a:tcPr marL="94419" marR="94419" marT="45726" marB="45726" horzOverflow="overflow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2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R$</a:t>
                      </a:r>
                    </a:p>
                  </a:txBody>
                  <a:tcPr marL="94419" marR="94419" marT="45726" marB="45726" horzOverflow="overflow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518231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2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(5)</a:t>
                      </a:r>
                    </a:p>
                  </a:txBody>
                  <a:tcPr marL="94419" marR="94419" marT="45726" marB="45726" horzOverflow="overflow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2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Subtotal (3) + (4)</a:t>
                      </a:r>
                    </a:p>
                  </a:txBody>
                  <a:tcPr marL="94419" marR="94419" marT="45726" marB="45726" horzOverflow="overflow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2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R$</a:t>
                      </a:r>
                    </a:p>
                  </a:txBody>
                  <a:tcPr marL="94419" marR="94419" marT="45726" marB="45726" horzOverflow="overflow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518231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2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(6)</a:t>
                      </a:r>
                    </a:p>
                  </a:txBody>
                  <a:tcPr marL="94419" marR="94419" marT="45726" marB="45726" horzOverflow="overflow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2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Juros (3% a.m. em 6 meses)</a:t>
                      </a:r>
                    </a:p>
                  </a:txBody>
                  <a:tcPr marL="94419" marR="94419" marT="45726" marB="45726" horzOverflow="overflow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2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R$</a:t>
                      </a:r>
                    </a:p>
                  </a:txBody>
                  <a:tcPr marL="94419" marR="94419" marT="45726" marB="45726" horzOverflow="overflow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518231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2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(7)</a:t>
                      </a:r>
                    </a:p>
                  </a:txBody>
                  <a:tcPr marL="94419" marR="94419" marT="45726" marB="45726" horzOverflow="overflow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2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Total (5) + (6)</a:t>
                      </a:r>
                    </a:p>
                  </a:txBody>
                  <a:tcPr marL="94419" marR="94419" marT="45726" marB="45726" horzOverflow="overflow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2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R$                      </a:t>
                      </a:r>
                    </a:p>
                  </a:txBody>
                  <a:tcPr marL="94419" marR="94419" marT="45726" marB="45726" horzOverflow="overflow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1040386" name="Text Box 2"/>
          <p:cNvSpPr txBox="1">
            <a:spLocks noChangeArrowheads="1"/>
          </p:cNvSpPr>
          <p:nvPr/>
        </p:nvSpPr>
        <p:spPr bwMode="auto">
          <a:xfrm>
            <a:off x="304800" y="764704"/>
            <a:ext cx="8470900" cy="56630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marL="457200" indent="-457200"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9pPr>
          </a:lstStyle>
          <a:p>
            <a:pPr>
              <a:lnSpc>
                <a:spcPct val="110000"/>
              </a:lnSpc>
              <a:spcBef>
                <a:spcPct val="30000"/>
              </a:spcBef>
              <a:buFont typeface="Wingdings" pitchFamily="2" charset="2"/>
              <a:buChar char="§"/>
            </a:pPr>
            <a:r>
              <a:rPr lang="pt-BR" sz="2800" dirty="0">
                <a:latin typeface="Arial" pitchFamily="34" charset="0"/>
              </a:rPr>
              <a:t>Valor do insumo a ser recuperado (em R$):</a:t>
            </a:r>
          </a:p>
        </p:txBody>
      </p:sp>
      <p:sp>
        <p:nvSpPr>
          <p:cNvPr id="54275" name="Rectangle 3"/>
          <p:cNvSpPr>
            <a:spLocks noChangeArrowheads="1"/>
          </p:cNvSpPr>
          <p:nvPr/>
        </p:nvSpPr>
        <p:spPr bwMode="auto">
          <a:xfrm>
            <a:off x="0" y="53975"/>
            <a:ext cx="9144000" cy="927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r>
              <a:rPr lang="pt-BR" sz="3600" b="1">
                <a:latin typeface="Tahoma" pitchFamily="34" charset="0"/>
              </a:rPr>
              <a:t>Precificando a operação</a:t>
            </a:r>
          </a:p>
        </p:txBody>
      </p:sp>
      <p:graphicFrame>
        <p:nvGraphicFramePr>
          <p:cNvPr id="1040620" name="Group 23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39080955"/>
              </p:ext>
            </p:extLst>
          </p:nvPr>
        </p:nvGraphicFramePr>
        <p:xfrm>
          <a:off x="6426622" y="1325712"/>
          <a:ext cx="2321842" cy="519112"/>
        </p:xfrm>
        <a:graphic>
          <a:graphicData uri="http://schemas.openxmlformats.org/drawingml/2006/table">
            <a:tbl>
              <a:tblPr/>
              <a:tblGrid>
                <a:gridCol w="2321842"/>
              </a:tblGrid>
              <a:tr h="519112"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2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120.000,00</a:t>
                      </a:r>
                    </a:p>
                  </a:txBody>
                  <a:tcPr marT="45804" marB="45804" horzOverflow="overflow">
                    <a:lnL cap="flat">
                      <a:noFill/>
                    </a:lnL>
                    <a:lnR cap="flat"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graphicFrame>
        <p:nvGraphicFramePr>
          <p:cNvPr id="1040675" name="Group 29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92082778"/>
              </p:ext>
            </p:extLst>
          </p:nvPr>
        </p:nvGraphicFramePr>
        <p:xfrm>
          <a:off x="7118326" y="1832369"/>
          <a:ext cx="1612552" cy="518048"/>
        </p:xfrm>
        <a:graphic>
          <a:graphicData uri="http://schemas.openxmlformats.org/drawingml/2006/table">
            <a:tbl>
              <a:tblPr/>
              <a:tblGrid>
                <a:gridCol w="1612552"/>
              </a:tblGrid>
              <a:tr h="517525"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2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3.600,00</a:t>
                      </a:r>
                    </a:p>
                  </a:txBody>
                  <a:tcPr marL="91392" marR="91392" marT="45664" marB="45664" horzOverflow="overflow">
                    <a:lnL cap="flat">
                      <a:noFill/>
                    </a:lnL>
                    <a:lnR cap="flat"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graphicFrame>
        <p:nvGraphicFramePr>
          <p:cNvPr id="1040714" name="Group 33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74037378"/>
              </p:ext>
            </p:extLst>
          </p:nvPr>
        </p:nvGraphicFramePr>
        <p:xfrm>
          <a:off x="5778550" y="2341957"/>
          <a:ext cx="2951311" cy="519112"/>
        </p:xfrm>
        <a:graphic>
          <a:graphicData uri="http://schemas.openxmlformats.org/drawingml/2006/table">
            <a:tbl>
              <a:tblPr/>
              <a:tblGrid>
                <a:gridCol w="2951311"/>
              </a:tblGrid>
              <a:tr h="519112"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2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123.600,00</a:t>
                      </a:r>
                    </a:p>
                  </a:txBody>
                  <a:tcPr marL="91444" marR="91444" marT="45804" marB="45804" horzOverflow="overflow">
                    <a:lnL cap="flat">
                      <a:noFill/>
                    </a:lnL>
                    <a:lnR cap="flat"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graphicFrame>
        <p:nvGraphicFramePr>
          <p:cNvPr id="1040750" name="Group 36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60679337"/>
              </p:ext>
            </p:extLst>
          </p:nvPr>
        </p:nvGraphicFramePr>
        <p:xfrm>
          <a:off x="5975400" y="2861069"/>
          <a:ext cx="2755478" cy="519113"/>
        </p:xfrm>
        <a:graphic>
          <a:graphicData uri="http://schemas.openxmlformats.org/drawingml/2006/table">
            <a:tbl>
              <a:tblPr/>
              <a:tblGrid>
                <a:gridCol w="2755478"/>
              </a:tblGrid>
              <a:tr h="519113"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2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1.236,00</a:t>
                      </a:r>
                    </a:p>
                  </a:txBody>
                  <a:tcPr marL="91442" marR="91442" marT="45804" marB="45804" horzOverflow="overflow">
                    <a:lnL cap="flat">
                      <a:noFill/>
                    </a:lnL>
                    <a:lnR cap="flat"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graphicFrame>
        <p:nvGraphicFramePr>
          <p:cNvPr id="1040786" name="Group 40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49346526"/>
              </p:ext>
            </p:extLst>
          </p:nvPr>
        </p:nvGraphicFramePr>
        <p:xfrm>
          <a:off x="5778550" y="3381769"/>
          <a:ext cx="2952328" cy="518048"/>
        </p:xfrm>
        <a:graphic>
          <a:graphicData uri="http://schemas.openxmlformats.org/drawingml/2006/table">
            <a:tbl>
              <a:tblPr/>
              <a:tblGrid>
                <a:gridCol w="2952328"/>
              </a:tblGrid>
              <a:tr h="517525"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2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124.836,00</a:t>
                      </a:r>
                    </a:p>
                  </a:txBody>
                  <a:tcPr marL="91411" marR="91411" marT="45664" marB="45664" horzOverflow="overflow">
                    <a:lnL cap="flat">
                      <a:noFill/>
                    </a:lnL>
                    <a:lnR cap="flat"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graphicFrame>
        <p:nvGraphicFramePr>
          <p:cNvPr id="1040818" name="Group 43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426347"/>
              </p:ext>
            </p:extLst>
          </p:nvPr>
        </p:nvGraphicFramePr>
        <p:xfrm>
          <a:off x="5940152" y="3910407"/>
          <a:ext cx="2757189" cy="518048"/>
        </p:xfrm>
        <a:graphic>
          <a:graphicData uri="http://schemas.openxmlformats.org/drawingml/2006/table">
            <a:tbl>
              <a:tblPr/>
              <a:tblGrid>
                <a:gridCol w="2757189"/>
              </a:tblGrid>
              <a:tr h="517525"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2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24.224,71</a:t>
                      </a:r>
                    </a:p>
                  </a:txBody>
                  <a:tcPr marL="91414" marR="91414" marT="45664" marB="45664" horzOverflow="overflow">
                    <a:lnL cap="flat">
                      <a:noFill/>
                    </a:lnL>
                    <a:lnR cap="flat"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graphicFrame>
        <p:nvGraphicFramePr>
          <p:cNvPr id="1040848" name="Group 46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62758410"/>
              </p:ext>
            </p:extLst>
          </p:nvPr>
        </p:nvGraphicFramePr>
        <p:xfrm>
          <a:off x="6516216" y="4421582"/>
          <a:ext cx="2170112" cy="518048"/>
        </p:xfrm>
        <a:graphic>
          <a:graphicData uri="http://schemas.openxmlformats.org/drawingml/2006/table">
            <a:tbl>
              <a:tblPr/>
              <a:tblGrid>
                <a:gridCol w="2170112"/>
              </a:tblGrid>
              <a:tr h="517525"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2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149.060,71</a:t>
                      </a:r>
                    </a:p>
                  </a:txBody>
                  <a:tcPr marT="45664" marB="45664" horzOverflow="overflow">
                    <a:lnL cap="flat">
                      <a:noFill/>
                    </a:lnL>
                    <a:lnR cap="flat"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1628904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8" presetClass="entr" presetSubtype="6" fill="hold" grpId="0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03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downRight)">
                                      <p:cBhvr>
                                        <p:cTn id="7" dur="500"/>
                                        <p:tgtEl>
                                          <p:spTgt spid="104038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 nodeType="afterGroup">
                            <p:stCondLst>
                              <p:cond delay="1500"/>
                            </p:stCondLst>
                            <p:childTnLst>
                              <p:par>
                                <p:cTn id="9" presetID="4" presetClass="entr" presetSubtype="3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050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out)">
                                      <p:cBhvr>
                                        <p:cTn id="11" dur="1000"/>
                                        <p:tgtEl>
                                          <p:spTgt spid="104050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 nodeType="clickPar">
                      <p:stCondLst>
                        <p:cond delay="indefinite"/>
                      </p:stCondLst>
                      <p:childTnLst>
                        <p:par>
                          <p:cTn id="13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4" presetID="2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06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6" dur="500" fill="hold"/>
                                        <p:tgtEl>
                                          <p:spTgt spid="104062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7" dur="500" fill="hold"/>
                                        <p:tgtEl>
                                          <p:spTgt spid="104062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 nodeType="clickPar">
                      <p:stCondLst>
                        <p:cond delay="indefinite"/>
                      </p:stCondLst>
                      <p:childTnLst>
                        <p:par>
                          <p:cTn id="19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20" presetID="2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06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2" dur="500" fill="hold"/>
                                        <p:tgtEl>
                                          <p:spTgt spid="104067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" dur="500" fill="hold"/>
                                        <p:tgtEl>
                                          <p:spTgt spid="104067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 nodeType="clickPar">
                      <p:stCondLst>
                        <p:cond delay="indefinite"/>
                      </p:stCondLst>
                      <p:childTnLst>
                        <p:par>
                          <p:cTn id="25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26" presetID="2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07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8" dur="500" fill="hold"/>
                                        <p:tgtEl>
                                          <p:spTgt spid="104071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" dur="500" fill="hold"/>
                                        <p:tgtEl>
                                          <p:spTgt spid="104071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0" fill="hold" nodeType="clickPar">
                      <p:stCondLst>
                        <p:cond delay="indefinite"/>
                      </p:stCondLst>
                      <p:childTnLst>
                        <p:par>
                          <p:cTn id="31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32" presetID="2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07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4" dur="500" fill="hold"/>
                                        <p:tgtEl>
                                          <p:spTgt spid="104075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5" dur="500" fill="hold"/>
                                        <p:tgtEl>
                                          <p:spTgt spid="104075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6" fill="hold" nodeType="clickPar">
                      <p:stCondLst>
                        <p:cond delay="indefinite"/>
                      </p:stCondLst>
                      <p:childTnLst>
                        <p:par>
                          <p:cTn id="37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38" presetID="2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07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0" dur="500" fill="hold"/>
                                        <p:tgtEl>
                                          <p:spTgt spid="104078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1" dur="500" fill="hold"/>
                                        <p:tgtEl>
                                          <p:spTgt spid="104078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2" fill="hold" nodeType="clickPar">
                      <p:stCondLst>
                        <p:cond delay="indefinite"/>
                      </p:stCondLst>
                      <p:childTnLst>
                        <p:par>
                          <p:cTn id="43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44" presetID="2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08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6" dur="500" fill="hold"/>
                                        <p:tgtEl>
                                          <p:spTgt spid="104081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7" dur="500" fill="hold"/>
                                        <p:tgtEl>
                                          <p:spTgt spid="104081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8" fill="hold" nodeType="clickPar">
                      <p:stCondLst>
                        <p:cond delay="indefinite"/>
                      </p:stCondLst>
                      <p:childTnLst>
                        <p:par>
                          <p:cTn id="49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0" presetID="2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08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2" dur="500" fill="hold"/>
                                        <p:tgtEl>
                                          <p:spTgt spid="104084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3" dur="500" fill="hold"/>
                                        <p:tgtEl>
                                          <p:spTgt spid="104084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40386" grpId="0" autoUpdateAnimBg="0"/>
    </p:bldLst>
  </p:timing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44873" name="Group 393"/>
          <p:cNvGraphicFramePr>
            <a:graphicFrameLocks noGrp="1"/>
          </p:cNvGraphicFramePr>
          <p:nvPr>
            <p:ph sz="quarter" idx="13"/>
            <p:extLst>
              <p:ext uri="{D42A27DB-BD31-4B8C-83A1-F6EECF244321}">
                <p14:modId xmlns:p14="http://schemas.microsoft.com/office/powerpoint/2010/main" val="2650972310"/>
              </p:ext>
            </p:extLst>
          </p:nvPr>
        </p:nvGraphicFramePr>
        <p:xfrm>
          <a:off x="611188" y="4321374"/>
          <a:ext cx="7777165" cy="1555749"/>
        </p:xfrm>
        <a:graphic>
          <a:graphicData uri="http://schemas.openxmlformats.org/drawingml/2006/table">
            <a:tbl>
              <a:tblPr/>
              <a:tblGrid>
                <a:gridCol w="1149954"/>
                <a:gridCol w="3770404"/>
                <a:gridCol w="2856807"/>
              </a:tblGrid>
              <a:tr h="518583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2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(1)</a:t>
                      </a:r>
                    </a:p>
                  </a:txBody>
                  <a:tcPr marL="97161" marR="97161" marT="45757" marB="45757" horzOverflow="overflow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2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Valor em Reais</a:t>
                      </a:r>
                    </a:p>
                  </a:txBody>
                  <a:tcPr marL="97161" marR="97161" marT="45757" marB="45757" horzOverflow="overflow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174625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2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R$</a:t>
                      </a:r>
                    </a:p>
                  </a:txBody>
                  <a:tcPr marL="97161" marR="97161" marT="45757" marB="45757" horzOverflow="overflow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518583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2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(2)</a:t>
                      </a:r>
                    </a:p>
                  </a:txBody>
                  <a:tcPr marL="97161" marR="97161" marT="45757" marB="45757" horzOverflow="overflow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2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Preço (por </a:t>
                      </a:r>
                      <a:r>
                        <a:rPr kumimoji="0" lang="pt-BR" sz="2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sc</a:t>
                      </a:r>
                      <a:r>
                        <a:rPr kumimoji="0" lang="pt-BR" sz="2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)</a:t>
                      </a:r>
                    </a:p>
                  </a:txBody>
                  <a:tcPr marL="97161" marR="97161" marT="45757" marB="45757" horzOverflow="overflow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2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R$           /</a:t>
                      </a:r>
                      <a:r>
                        <a:rPr kumimoji="0" lang="pt-BR" sz="2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sc</a:t>
                      </a:r>
                      <a:endParaRPr kumimoji="0" lang="pt-BR" sz="2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7161" marR="97161" marT="45757" marB="45757" horzOverflow="overflow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518583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2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(3)</a:t>
                      </a:r>
                    </a:p>
                  </a:txBody>
                  <a:tcPr marL="97161" marR="97161" marT="45757" marB="45757" horzOverflow="overflow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2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Valor em </a:t>
                      </a:r>
                      <a:r>
                        <a:rPr kumimoji="0" lang="pt-BR" sz="2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sc</a:t>
                      </a:r>
                      <a:r>
                        <a:rPr kumimoji="0" lang="pt-BR" sz="2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 (1) </a:t>
                      </a:r>
                      <a:r>
                        <a:rPr kumimoji="0" lang="en-US" sz="2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÷</a:t>
                      </a:r>
                      <a:r>
                        <a:rPr kumimoji="0" lang="pt-BR" sz="2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 (2)</a:t>
                      </a:r>
                    </a:p>
                  </a:txBody>
                  <a:tcPr marL="97161" marR="97161" marT="45757" marB="45757" horzOverflow="overflow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174625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2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sc</a:t>
                      </a:r>
                      <a:endParaRPr kumimoji="0" lang="pt-BR" sz="2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7161" marR="97161" marT="45757" marB="45757" horzOverflow="overflow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1044482" name="Text Box 2"/>
          <p:cNvSpPr txBox="1">
            <a:spLocks noChangeArrowheads="1"/>
          </p:cNvSpPr>
          <p:nvPr/>
        </p:nvSpPr>
        <p:spPr bwMode="auto">
          <a:xfrm>
            <a:off x="25880" y="3763527"/>
            <a:ext cx="9001000" cy="5295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457200" indent="-457200"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9pPr>
          </a:lstStyle>
          <a:p>
            <a:pPr>
              <a:lnSpc>
                <a:spcPct val="110000"/>
              </a:lnSpc>
              <a:spcBef>
                <a:spcPct val="30000"/>
              </a:spcBef>
              <a:buFont typeface="Wingdings" pitchFamily="2" charset="2"/>
              <a:buChar char="§"/>
            </a:pPr>
            <a:r>
              <a:rPr lang="pt-BR" sz="2800" dirty="0" smtClean="0">
                <a:latin typeface="Arial" pitchFamily="34" charset="0"/>
              </a:rPr>
              <a:t>Valor </a:t>
            </a:r>
            <a:r>
              <a:rPr lang="pt-BR" sz="2800" dirty="0">
                <a:latin typeface="Arial" pitchFamily="34" charset="0"/>
              </a:rPr>
              <a:t>do insumo a ser recuperado (em </a:t>
            </a:r>
            <a:r>
              <a:rPr lang="pt-BR" sz="2800" dirty="0" err="1">
                <a:latin typeface="Arial" pitchFamily="34" charset="0"/>
              </a:rPr>
              <a:t>sc</a:t>
            </a:r>
            <a:r>
              <a:rPr lang="pt-BR" sz="2800" dirty="0">
                <a:latin typeface="Arial" pitchFamily="34" charset="0"/>
              </a:rPr>
              <a:t>): </a:t>
            </a:r>
          </a:p>
        </p:txBody>
      </p:sp>
      <p:sp>
        <p:nvSpPr>
          <p:cNvPr id="55299" name="Rectangle 3"/>
          <p:cNvSpPr>
            <a:spLocks noChangeArrowheads="1"/>
          </p:cNvSpPr>
          <p:nvPr/>
        </p:nvSpPr>
        <p:spPr bwMode="auto">
          <a:xfrm>
            <a:off x="0" y="53975"/>
            <a:ext cx="9144000" cy="927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r>
              <a:rPr lang="pt-BR" sz="3600" b="1">
                <a:latin typeface="Tahoma" pitchFamily="34" charset="0"/>
              </a:rPr>
              <a:t>Precificando a operação</a:t>
            </a:r>
          </a:p>
        </p:txBody>
      </p:sp>
      <p:graphicFrame>
        <p:nvGraphicFramePr>
          <p:cNvPr id="1044625" name="Group 14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08109996"/>
              </p:ext>
            </p:extLst>
          </p:nvPr>
        </p:nvGraphicFramePr>
        <p:xfrm>
          <a:off x="6354763" y="4311997"/>
          <a:ext cx="2052637" cy="518048"/>
        </p:xfrm>
        <a:graphic>
          <a:graphicData uri="http://schemas.openxmlformats.org/drawingml/2006/table">
            <a:tbl>
              <a:tblPr/>
              <a:tblGrid>
                <a:gridCol w="2052637"/>
              </a:tblGrid>
              <a:tr h="517525"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2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149.060,71</a:t>
                      </a:r>
                    </a:p>
                  </a:txBody>
                  <a:tcPr marL="91470" marR="91470" marT="45664" marB="45664" horzOverflow="overflow">
                    <a:lnL cap="flat">
                      <a:noFill/>
                    </a:lnL>
                    <a:lnR cap="flat"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graphicFrame>
        <p:nvGraphicFramePr>
          <p:cNvPr id="1044875" name="Group 39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94135570"/>
              </p:ext>
            </p:extLst>
          </p:nvPr>
        </p:nvGraphicFramePr>
        <p:xfrm>
          <a:off x="6492875" y="4824760"/>
          <a:ext cx="1381125" cy="518048"/>
        </p:xfrm>
        <a:graphic>
          <a:graphicData uri="http://schemas.openxmlformats.org/drawingml/2006/table">
            <a:tbl>
              <a:tblPr/>
              <a:tblGrid>
                <a:gridCol w="1381125"/>
              </a:tblGrid>
              <a:tr h="517525"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2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50,00</a:t>
                      </a:r>
                    </a:p>
                  </a:txBody>
                  <a:tcPr marL="91371" marR="91371" marT="45664" marB="45664" horzOverflow="overflow">
                    <a:lnL cap="flat">
                      <a:noFill/>
                    </a:lnL>
                    <a:lnR cap="flat"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graphicFrame>
        <p:nvGraphicFramePr>
          <p:cNvPr id="1044877" name="Group 39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1729457"/>
              </p:ext>
            </p:extLst>
          </p:nvPr>
        </p:nvGraphicFramePr>
        <p:xfrm>
          <a:off x="6129338" y="5358160"/>
          <a:ext cx="1785937" cy="519112"/>
        </p:xfrm>
        <a:graphic>
          <a:graphicData uri="http://schemas.openxmlformats.org/drawingml/2006/table">
            <a:tbl>
              <a:tblPr/>
              <a:tblGrid>
                <a:gridCol w="1785937"/>
              </a:tblGrid>
              <a:tr h="519112"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2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2.981,21</a:t>
                      </a:r>
                    </a:p>
                  </a:txBody>
                  <a:tcPr marL="91418" marR="91418" marT="45804" marB="45804" horzOverflow="overflow">
                    <a:lnL cap="flat">
                      <a:noFill/>
                    </a:lnL>
                    <a:lnR cap="flat"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pic>
        <p:nvPicPr>
          <p:cNvPr id="2" name="Imagem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97459" y="863498"/>
            <a:ext cx="6342893" cy="28765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514427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8" presetClass="entr" presetSubtype="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448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downRight)">
                                      <p:cBhvr>
                                        <p:cTn id="7" dur="500"/>
                                        <p:tgtEl>
                                          <p:spTgt spid="104448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 nodeType="afterGroup">
                            <p:stCondLst>
                              <p:cond delay="500"/>
                            </p:stCondLst>
                            <p:childTnLst>
                              <p:par>
                                <p:cTn id="9" presetID="4" presetClass="entr" presetSubtype="3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48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out)">
                                      <p:cBhvr>
                                        <p:cTn id="11" dur="1000"/>
                                        <p:tgtEl>
                                          <p:spTgt spid="104487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 nodeType="clickPar">
                      <p:stCondLst>
                        <p:cond delay="indefinite"/>
                      </p:stCondLst>
                      <p:childTnLst>
                        <p:par>
                          <p:cTn id="13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4" presetID="2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46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6" dur="500" fill="hold"/>
                                        <p:tgtEl>
                                          <p:spTgt spid="104462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7" dur="500" fill="hold"/>
                                        <p:tgtEl>
                                          <p:spTgt spid="104462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 nodeType="clickPar">
                      <p:stCondLst>
                        <p:cond delay="indefinite"/>
                      </p:stCondLst>
                      <p:childTnLst>
                        <p:par>
                          <p:cTn id="19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20" presetID="2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48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2" dur="500" fill="hold"/>
                                        <p:tgtEl>
                                          <p:spTgt spid="104487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" dur="500" fill="hold"/>
                                        <p:tgtEl>
                                          <p:spTgt spid="104487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 nodeType="clickPar">
                      <p:stCondLst>
                        <p:cond delay="indefinite"/>
                      </p:stCondLst>
                      <p:childTnLst>
                        <p:par>
                          <p:cTn id="25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26" presetID="2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48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8" dur="500" fill="hold"/>
                                        <p:tgtEl>
                                          <p:spTgt spid="104487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" dur="500" fill="hold"/>
                                        <p:tgtEl>
                                          <p:spTgt spid="104487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44482" grpId="0" build="p" autoUpdateAnimBg="0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m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23528" y="116632"/>
            <a:ext cx="8437266" cy="65527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272720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pt-BR" smtClean="0"/>
              <a:t>Exercício</a:t>
            </a:r>
            <a:br>
              <a:rPr lang="pt-BR" smtClean="0"/>
            </a:br>
            <a:endParaRPr lang="pt-BR"/>
          </a:p>
        </p:txBody>
      </p:sp>
      <p:sp>
        <p:nvSpPr>
          <p:cNvPr id="3" name="Espaço Reservado para Conteúdo 2"/>
          <p:cNvSpPr>
            <a:spLocks noGrp="1"/>
          </p:cNvSpPr>
          <p:nvPr>
            <p:ph sz="quarter" idx="1"/>
          </p:nvPr>
        </p:nvSpPr>
        <p:spPr>
          <a:xfrm>
            <a:off x="251520" y="801216"/>
            <a:ext cx="8712968" cy="4572000"/>
          </a:xfrm>
        </p:spPr>
        <p:txBody>
          <a:bodyPr>
            <a:noAutofit/>
          </a:bodyPr>
          <a:lstStyle/>
          <a:p>
            <a:pPr marL="0" indent="0" algn="just">
              <a:buNone/>
            </a:pPr>
            <a:r>
              <a:rPr lang="pt-BR" sz="2700" dirty="0" smtClean="0"/>
              <a:t>Um </a:t>
            </a:r>
            <a:r>
              <a:rPr lang="pt-BR" sz="2700" dirty="0"/>
              <a:t>agricultar </a:t>
            </a:r>
            <a:r>
              <a:rPr lang="pt-BR" sz="2700" dirty="0" smtClean="0"/>
              <a:t>precisará </a:t>
            </a:r>
            <a:r>
              <a:rPr lang="pt-BR" sz="2700" dirty="0"/>
              <a:t>comprar </a:t>
            </a:r>
            <a:r>
              <a:rPr lang="pt-BR" sz="2700" dirty="0" smtClean="0"/>
              <a:t>em </a:t>
            </a:r>
            <a:r>
              <a:rPr lang="pt-BR" sz="2700" dirty="0"/>
              <a:t>novembro de </a:t>
            </a:r>
            <a:r>
              <a:rPr lang="pt-BR" sz="2700" dirty="0" smtClean="0"/>
              <a:t>2017,                R</a:t>
            </a:r>
            <a:r>
              <a:rPr lang="pt-BR" sz="2700" dirty="0"/>
              <a:t>$ </a:t>
            </a:r>
            <a:r>
              <a:rPr lang="pt-BR" sz="2700" dirty="0" smtClean="0"/>
              <a:t>200.000,00 </a:t>
            </a:r>
            <a:r>
              <a:rPr lang="pt-BR" sz="2700" dirty="0"/>
              <a:t>em insumos para aplicar em sua cultura de café. O preço do café, hoje, </a:t>
            </a:r>
            <a:r>
              <a:rPr lang="pt-BR" sz="2700" dirty="0" smtClean="0"/>
              <a:t>estará em </a:t>
            </a:r>
            <a:r>
              <a:rPr lang="pt-BR" sz="2700" dirty="0"/>
              <a:t>R$ </a:t>
            </a:r>
            <a:r>
              <a:rPr lang="pt-BR" sz="2700" dirty="0" smtClean="0"/>
              <a:t>440,00/sc</a:t>
            </a:r>
            <a:r>
              <a:rPr lang="pt-BR" sz="2700" dirty="0"/>
              <a:t>. Ele deseja pagar essa compra somente em setembro de </a:t>
            </a:r>
            <a:r>
              <a:rPr lang="pt-BR" sz="2700" dirty="0" smtClean="0"/>
              <a:t>2018. </a:t>
            </a:r>
            <a:r>
              <a:rPr lang="pt-BR" sz="2700" dirty="0"/>
              <a:t>Há duas alternativas para essa compra: operação de </a:t>
            </a:r>
            <a:r>
              <a:rPr lang="pt-BR" sz="2700" dirty="0" err="1"/>
              <a:t>Barter</a:t>
            </a:r>
            <a:r>
              <a:rPr lang="pt-BR" sz="2700" dirty="0"/>
              <a:t> ou financiamento bancário. O banco cobra juros de </a:t>
            </a:r>
            <a:r>
              <a:rPr lang="pt-BR" sz="2700" dirty="0" smtClean="0"/>
              <a:t>0,5% </a:t>
            </a:r>
            <a:r>
              <a:rPr lang="pt-BR" sz="2700" dirty="0"/>
              <a:t>a.m. Considere que se o agricultor optar pelo financiamento bancário ele conseguirá vender sua safra pelo preço da saca de café que está cotada em R$ </a:t>
            </a:r>
            <a:r>
              <a:rPr lang="pt-BR" sz="2700" dirty="0" smtClean="0"/>
              <a:t>460,00 </a:t>
            </a:r>
            <a:r>
              <a:rPr lang="pt-BR" sz="2700" dirty="0"/>
              <a:t>no mercado futuro para setembro de </a:t>
            </a:r>
            <a:r>
              <a:rPr lang="pt-BR" sz="2700" dirty="0" smtClean="0"/>
              <a:t>2018. </a:t>
            </a:r>
            <a:r>
              <a:rPr lang="pt-BR" sz="2700" dirty="0"/>
              <a:t>Se ele optar pelo </a:t>
            </a:r>
            <a:r>
              <a:rPr lang="pt-BR" sz="2700" dirty="0" err="1"/>
              <a:t>Barter</a:t>
            </a:r>
            <a:r>
              <a:rPr lang="pt-BR" sz="2700" dirty="0"/>
              <a:t>, a operação está precificada em </a:t>
            </a:r>
            <a:r>
              <a:rPr lang="pt-BR" sz="2700" dirty="0" smtClean="0"/>
              <a:t>500 </a:t>
            </a:r>
            <a:r>
              <a:rPr lang="pt-BR" sz="2700" dirty="0"/>
              <a:t>sacas de café.</a:t>
            </a:r>
          </a:p>
          <a:p>
            <a:pPr lvl="0"/>
            <a:r>
              <a:rPr lang="pt-BR" sz="2700" dirty="0" smtClean="0"/>
              <a:t>Qual </a:t>
            </a:r>
            <a:r>
              <a:rPr lang="pt-BR" sz="2700" dirty="0"/>
              <a:t>é a melhor escolha para esse agricultor, financiamento bancário ou </a:t>
            </a:r>
            <a:r>
              <a:rPr lang="pt-BR" sz="2700" dirty="0" err="1"/>
              <a:t>Barter</a:t>
            </a:r>
            <a:r>
              <a:rPr lang="pt-BR" sz="2700" dirty="0"/>
              <a:t>?</a:t>
            </a:r>
          </a:p>
          <a:p>
            <a:r>
              <a:rPr lang="pt-BR" sz="2700" dirty="0" smtClean="0"/>
              <a:t>Ao </a:t>
            </a:r>
            <a:r>
              <a:rPr lang="pt-BR" sz="2700" dirty="0"/>
              <a:t>fazer essa escolha, quanto (em R$) ele economizará em relação à outra opção? </a:t>
            </a:r>
          </a:p>
        </p:txBody>
      </p:sp>
    </p:spTree>
    <p:extLst>
      <p:ext uri="{BB962C8B-B14F-4D97-AF65-F5344CB8AC3E}">
        <p14:creationId xmlns:p14="http://schemas.microsoft.com/office/powerpoint/2010/main" val="5340668"/>
      </p:ext>
    </p:extLst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pt-BR" smtClean="0"/>
              <a:t>Exercício</a:t>
            </a:r>
            <a:br>
              <a:rPr lang="pt-BR" smtClean="0"/>
            </a:br>
            <a:endParaRPr lang="pt-BR"/>
          </a:p>
        </p:txBody>
      </p:sp>
      <p:sp>
        <p:nvSpPr>
          <p:cNvPr id="3" name="Espaço Reservado para Conteúdo 2"/>
          <p:cNvSpPr>
            <a:spLocks noGrp="1"/>
          </p:cNvSpPr>
          <p:nvPr>
            <p:ph sz="quarter" idx="1"/>
          </p:nvPr>
        </p:nvSpPr>
        <p:spPr>
          <a:xfrm>
            <a:off x="107504" y="5765817"/>
            <a:ext cx="8712968" cy="862282"/>
          </a:xfrm>
        </p:spPr>
        <p:txBody>
          <a:bodyPr>
            <a:noAutofit/>
          </a:bodyPr>
          <a:lstStyle/>
          <a:p>
            <a:pPr marL="0" indent="0" algn="just">
              <a:buNone/>
            </a:pPr>
            <a:r>
              <a:rPr lang="pt-BR" sz="2700" b="1" dirty="0" smtClean="0">
                <a:solidFill>
                  <a:srgbClr val="FF0000"/>
                </a:solidFill>
              </a:rPr>
              <a:t>Financiamento: 200.000 </a:t>
            </a:r>
            <a:r>
              <a:rPr lang="pt-BR" sz="2700" b="1" dirty="0" smtClean="0">
                <a:solidFill>
                  <a:srgbClr val="FF0000"/>
                </a:solidFill>
                <a:sym typeface="Symbol" panose="05050102010706020507" pitchFamily="18" charset="2"/>
              </a:rPr>
              <a:t> (1,005)</a:t>
            </a:r>
            <a:r>
              <a:rPr lang="pt-BR" sz="2700" b="1" baseline="30000" dirty="0" smtClean="0">
                <a:solidFill>
                  <a:srgbClr val="FF0000"/>
                </a:solidFill>
                <a:sym typeface="Symbol" panose="05050102010706020507" pitchFamily="18" charset="2"/>
              </a:rPr>
              <a:t>10</a:t>
            </a:r>
            <a:r>
              <a:rPr lang="pt-BR" sz="2700" b="1" dirty="0" smtClean="0">
                <a:solidFill>
                  <a:srgbClr val="FF0000"/>
                </a:solidFill>
              </a:rPr>
              <a:t> = 210.228,03</a:t>
            </a:r>
          </a:p>
          <a:p>
            <a:pPr marL="0" indent="0" algn="just">
              <a:buNone/>
            </a:pPr>
            <a:r>
              <a:rPr lang="pt-BR" sz="2700" dirty="0" err="1" smtClean="0"/>
              <a:t>Barter</a:t>
            </a:r>
            <a:r>
              <a:rPr lang="pt-BR" sz="2700" dirty="0" smtClean="0"/>
              <a:t>: 500 </a:t>
            </a:r>
            <a:r>
              <a:rPr lang="pt-BR" sz="2700" dirty="0" smtClean="0">
                <a:sym typeface="Symbol" panose="05050102010706020507" pitchFamily="18" charset="2"/>
              </a:rPr>
              <a:t> 460 = 230.000,00</a:t>
            </a:r>
            <a:endParaRPr lang="pt-BR" sz="2700" dirty="0"/>
          </a:p>
        </p:txBody>
      </p:sp>
      <p:pic>
        <p:nvPicPr>
          <p:cNvPr id="5" name="Imagem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99592" y="676762"/>
            <a:ext cx="7327044" cy="5089055"/>
          </a:xfrm>
          <a:prstGeom prst="rect">
            <a:avLst/>
          </a:prstGeom>
        </p:spPr>
      </p:pic>
      <p:sp>
        <p:nvSpPr>
          <p:cNvPr id="6" name="Chave direita 5"/>
          <p:cNvSpPr/>
          <p:nvPr/>
        </p:nvSpPr>
        <p:spPr>
          <a:xfrm>
            <a:off x="6876256" y="5765817"/>
            <a:ext cx="288032" cy="831535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7" name="Espaço Reservado para Conteúdo 2"/>
          <p:cNvSpPr txBox="1">
            <a:spLocks/>
          </p:cNvSpPr>
          <p:nvPr/>
        </p:nvSpPr>
        <p:spPr>
          <a:xfrm>
            <a:off x="7226993" y="5951917"/>
            <a:ext cx="1908212" cy="432048"/>
          </a:xfrm>
          <a:prstGeom prst="rect">
            <a:avLst/>
          </a:prstGeom>
        </p:spPr>
        <p:txBody>
          <a:bodyPr vert="horz">
            <a:noAutofit/>
          </a:bodyPr>
          <a:lstStyle>
            <a:lvl1pPr marL="274320" indent="-274320" algn="l" rtl="0" eaLnBrk="1" latinLnBrk="0" hangingPunct="1">
              <a:spcBef>
                <a:spcPts val="580"/>
              </a:spcBef>
              <a:buClr>
                <a:schemeClr val="accent1"/>
              </a:buClr>
              <a:buSzPct val="85000"/>
              <a:buFont typeface="Wingdings 2"/>
              <a:buChar char=""/>
              <a:defRPr kumimoji="0"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48640" indent="-228600" algn="l" rtl="0" eaLnBrk="1" latinLnBrk="0" hangingPunct="1">
              <a:spcBef>
                <a:spcPts val="370"/>
              </a:spcBef>
              <a:buClr>
                <a:schemeClr val="accent2"/>
              </a:buClr>
              <a:buSzPct val="85000"/>
              <a:buFont typeface="Wingdings 2"/>
              <a:buChar char=""/>
              <a:defRPr kumimoji="0"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22960" indent="-228600" algn="l" rtl="0" eaLnBrk="1" latinLnBrk="0" hangingPunct="1">
              <a:spcBef>
                <a:spcPts val="370"/>
              </a:spcBef>
              <a:buClr>
                <a:schemeClr val="accent1">
                  <a:tint val="60000"/>
                </a:schemeClr>
              </a:buClr>
              <a:buSzPct val="85000"/>
              <a:buFont typeface="Wingdings 2"/>
              <a:buChar char=""/>
              <a:defRPr kumimoji="0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97280" indent="-228600" algn="l" rtl="0" eaLnBrk="1" latinLnBrk="0" hangingPunct="1">
              <a:spcBef>
                <a:spcPts val="370"/>
              </a:spcBef>
              <a:buClr>
                <a:schemeClr val="accent3"/>
              </a:buClr>
              <a:buSzPct val="80000"/>
              <a:buFont typeface="Wingdings 2"/>
              <a:buChar char=""/>
              <a:defRPr kumimoji="0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indent="-228600" algn="l" rtl="0" eaLnBrk="1" latinLnBrk="0" hangingPunct="1">
              <a:spcBef>
                <a:spcPts val="370"/>
              </a:spcBef>
              <a:buClr>
                <a:schemeClr val="accent3"/>
              </a:buClr>
              <a:buFontTx/>
              <a:buChar char="o"/>
              <a:defRPr kumimoji="0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645920" indent="-228600" algn="l" rtl="0" eaLnBrk="1" latinLnBrk="0" hangingPunct="1">
              <a:spcBef>
                <a:spcPts val="370"/>
              </a:spcBef>
              <a:buClr>
                <a:schemeClr val="accent3"/>
              </a:buClr>
              <a:buChar char="•"/>
              <a:defRPr kumimoji="0"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920240" indent="-228600" algn="l" rtl="0" eaLnBrk="1" latinLnBrk="0" hangingPunct="1">
              <a:spcBef>
                <a:spcPts val="370"/>
              </a:spcBef>
              <a:buClr>
                <a:schemeClr val="accent2"/>
              </a:buClr>
              <a:buChar char="•"/>
              <a:defRPr kumimoji="0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94560" indent="-228600" algn="l" rtl="0" eaLnBrk="1" latinLnBrk="0" hangingPunct="1">
              <a:spcBef>
                <a:spcPts val="370"/>
              </a:spcBef>
              <a:buClr>
                <a:schemeClr val="accent1">
                  <a:tint val="60000"/>
                </a:schemeClr>
              </a:buClr>
              <a:buChar char="•"/>
              <a:defRPr kumimoji="0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68880" indent="-228600" algn="l" rtl="0" eaLnBrk="1" latinLnBrk="0" hangingPunct="1">
              <a:spcBef>
                <a:spcPts val="370"/>
              </a:spcBef>
              <a:buClr>
                <a:schemeClr val="accent2">
                  <a:tint val="60000"/>
                </a:schemeClr>
              </a:buClr>
              <a:buChar char="•"/>
              <a:defRPr kumimoji="0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>
              <a:buFont typeface="Wingdings 2"/>
              <a:buNone/>
            </a:pPr>
            <a:r>
              <a:rPr lang="pt-BR" sz="2700" b="1" dirty="0" smtClean="0">
                <a:solidFill>
                  <a:srgbClr val="FF0000"/>
                </a:solidFill>
              </a:rPr>
              <a:t>19.771,97</a:t>
            </a:r>
            <a:r>
              <a:rPr lang="pt-BR" sz="2700" b="1" dirty="0" smtClean="0">
                <a:solidFill>
                  <a:srgbClr val="FF0000"/>
                </a:solidFill>
                <a:sym typeface="Symbol" panose="05050102010706020507" pitchFamily="18" charset="2"/>
              </a:rPr>
              <a:t>,00</a:t>
            </a:r>
            <a:endParaRPr lang="pt-BR" sz="2700" b="1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95307137"/>
      </p:ext>
    </p:extLst>
  </p:cSld>
  <p:clrMapOvr>
    <a:masterClrMapping/>
  </p:clrMapOvr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7314" name="Text Box 2"/>
          <p:cNvSpPr txBox="1">
            <a:spLocks noChangeArrowheads="1"/>
          </p:cNvSpPr>
          <p:nvPr/>
        </p:nvSpPr>
        <p:spPr bwMode="auto">
          <a:xfrm>
            <a:off x="1211264" y="2590801"/>
            <a:ext cx="6673851" cy="60016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 algn="ctr">
              <a:lnSpc>
                <a:spcPct val="110000"/>
              </a:lnSpc>
              <a:spcBef>
                <a:spcPct val="20000"/>
              </a:spcBef>
              <a:defRPr/>
            </a:pPr>
            <a:r>
              <a:rPr lang="pt-BR" sz="3000" b="1" dirty="0">
                <a:effectLst>
                  <a:outerShdw blurRad="38100" dist="38100" dir="2700000" algn="tl">
                    <a:srgbClr val="C0C0C0"/>
                  </a:outerShdw>
                </a:effectLst>
                <a:latin typeface="Lucida Sans Unicode" pitchFamily="34" charset="0"/>
              </a:rPr>
              <a:t>Crédito Rural</a:t>
            </a:r>
          </a:p>
        </p:txBody>
      </p:sp>
    </p:spTree>
    <p:extLst>
      <p:ext uri="{BB962C8B-B14F-4D97-AF65-F5344CB8AC3E}">
        <p14:creationId xmlns:p14="http://schemas.microsoft.com/office/powerpoint/2010/main" val="36105510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73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7" dur="500"/>
                                        <p:tgtEl>
                                          <p:spTgt spid="10373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37314" grpId="0" autoUpdateAnimBg="0"/>
    </p:bldLst>
  </p:timing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tângulo 2"/>
          <p:cNvSpPr/>
          <p:nvPr/>
        </p:nvSpPr>
        <p:spPr>
          <a:xfrm>
            <a:off x="169069" y="1754983"/>
            <a:ext cx="8974931" cy="4245767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BR" sz="1350"/>
          </a:p>
        </p:txBody>
      </p:sp>
      <p:sp>
        <p:nvSpPr>
          <p:cNvPr id="220162" name="Rectangle 2"/>
          <p:cNvSpPr>
            <a:spLocks noChangeArrowheads="1"/>
          </p:cNvSpPr>
          <p:nvPr/>
        </p:nvSpPr>
        <p:spPr bwMode="auto">
          <a:xfrm>
            <a:off x="0" y="857253"/>
            <a:ext cx="9144000" cy="897731"/>
          </a:xfrm>
          <a:prstGeom prst="rect">
            <a:avLst/>
          </a:prstGeom>
          <a:noFill/>
          <a:ln>
            <a:noFill/>
          </a:ln>
          <a:extLst/>
        </p:spPr>
        <p:txBody>
          <a:bodyPr wrap="none" anchor="ctr"/>
          <a:lstStyle/>
          <a:p>
            <a:endParaRPr lang="pt-BR" sz="1350"/>
          </a:p>
        </p:txBody>
      </p:sp>
      <p:sp>
        <p:nvSpPr>
          <p:cNvPr id="220163" name="Rectangle 3"/>
          <p:cNvSpPr>
            <a:spLocks noChangeArrowheads="1"/>
          </p:cNvSpPr>
          <p:nvPr/>
        </p:nvSpPr>
        <p:spPr bwMode="auto">
          <a:xfrm>
            <a:off x="844552" y="-2503908"/>
            <a:ext cx="184731" cy="30008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>
            <a:spAutoFit/>
          </a:bodyPr>
          <a:lstStyle/>
          <a:p>
            <a:endParaRPr lang="pt-BR" sz="1350"/>
          </a:p>
        </p:txBody>
      </p:sp>
      <p:sp>
        <p:nvSpPr>
          <p:cNvPr id="948333" name="Freeform 109"/>
          <p:cNvSpPr>
            <a:spLocks/>
          </p:cNvSpPr>
          <p:nvPr/>
        </p:nvSpPr>
        <p:spPr bwMode="auto">
          <a:xfrm rot="-5400000">
            <a:off x="4564065" y="-1889522"/>
            <a:ext cx="233363" cy="8643939"/>
          </a:xfrm>
          <a:custGeom>
            <a:avLst/>
            <a:gdLst>
              <a:gd name="T0" fmla="*/ 2147483647 w 227"/>
              <a:gd name="T1" fmla="*/ 0 h 4048"/>
              <a:gd name="T2" fmla="*/ 2147483647 w 227"/>
              <a:gd name="T3" fmla="*/ 2147483647 h 4048"/>
              <a:gd name="T4" fmla="*/ 2147483647 w 227"/>
              <a:gd name="T5" fmla="*/ 2147483647 h 4048"/>
              <a:gd name="T6" fmla="*/ 0 w 227"/>
              <a:gd name="T7" fmla="*/ 2147483647 h 4048"/>
              <a:gd name="T8" fmla="*/ 2147483647 w 227"/>
              <a:gd name="T9" fmla="*/ 2147483647 h 4048"/>
              <a:gd name="T10" fmla="*/ 2147483647 w 227"/>
              <a:gd name="T11" fmla="*/ 2147483647 h 4048"/>
              <a:gd name="T12" fmla="*/ 2147483647 w 227"/>
              <a:gd name="T13" fmla="*/ 2147483647 h 4048"/>
              <a:gd name="T14" fmla="*/ 0 w 227"/>
              <a:gd name="T15" fmla="*/ 2147483647 h 4048"/>
              <a:gd name="T16" fmla="*/ 2147483647 w 227"/>
              <a:gd name="T17" fmla="*/ 2147483647 h 4048"/>
              <a:gd name="T18" fmla="*/ 2147483647 w 227"/>
              <a:gd name="T19" fmla="*/ 2147483647 h 4048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w 227"/>
              <a:gd name="T31" fmla="*/ 0 h 4048"/>
              <a:gd name="T32" fmla="*/ 227 w 227"/>
              <a:gd name="T33" fmla="*/ 4048 h 4048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T30" t="T31" r="T32" b="T33"/>
            <a:pathLst>
              <a:path w="227" h="4048">
                <a:moveTo>
                  <a:pt x="80" y="0"/>
                </a:moveTo>
                <a:cubicBezTo>
                  <a:pt x="80" y="57"/>
                  <a:pt x="80" y="114"/>
                  <a:pt x="80" y="171"/>
                </a:cubicBezTo>
                <a:lnTo>
                  <a:pt x="227" y="192"/>
                </a:lnTo>
                <a:lnTo>
                  <a:pt x="0" y="238"/>
                </a:lnTo>
                <a:lnTo>
                  <a:pt x="90" y="283"/>
                </a:lnTo>
                <a:lnTo>
                  <a:pt x="90" y="827"/>
                </a:lnTo>
                <a:lnTo>
                  <a:pt x="227" y="873"/>
                </a:lnTo>
                <a:lnTo>
                  <a:pt x="0" y="918"/>
                </a:lnTo>
                <a:lnTo>
                  <a:pt x="90" y="963"/>
                </a:lnTo>
                <a:lnTo>
                  <a:pt x="90" y="4048"/>
                </a:lnTo>
              </a:path>
            </a:pathLst>
          </a:custGeom>
          <a:noFill/>
          <a:ln w="38100" cmpd="sng">
            <a:solidFill>
              <a:schemeClr val="tx2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/>
          <a:p>
            <a:endParaRPr lang="pt-BR" sz="1350"/>
          </a:p>
        </p:txBody>
      </p:sp>
      <p:graphicFrame>
        <p:nvGraphicFramePr>
          <p:cNvPr id="2" name="Tabela 1"/>
          <p:cNvGraphicFramePr>
            <a:graphicFrameLocks noGrp="1"/>
          </p:cNvGraphicFramePr>
          <p:nvPr/>
        </p:nvGraphicFramePr>
        <p:xfrm>
          <a:off x="275903" y="1826954"/>
          <a:ext cx="8663175" cy="722176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346527"/>
                <a:gridCol w="346527"/>
                <a:gridCol w="346527"/>
                <a:gridCol w="346527"/>
                <a:gridCol w="346527"/>
                <a:gridCol w="346527"/>
                <a:gridCol w="346527"/>
                <a:gridCol w="346527"/>
                <a:gridCol w="346527"/>
                <a:gridCol w="346527"/>
                <a:gridCol w="346527"/>
                <a:gridCol w="346527"/>
                <a:gridCol w="346527"/>
                <a:gridCol w="346527"/>
                <a:gridCol w="346527"/>
                <a:gridCol w="346527"/>
                <a:gridCol w="346527"/>
                <a:gridCol w="346527"/>
                <a:gridCol w="346527"/>
                <a:gridCol w="346527"/>
                <a:gridCol w="346527"/>
                <a:gridCol w="346527"/>
                <a:gridCol w="346527"/>
                <a:gridCol w="346527"/>
                <a:gridCol w="346527"/>
              </a:tblGrid>
              <a:tr h="722176">
                <a:tc>
                  <a:txBody>
                    <a:bodyPr/>
                    <a:lstStyle/>
                    <a:p>
                      <a:pPr algn="r" rtl="0" fontAlgn="b"/>
                      <a:r>
                        <a:rPr lang="pt-BR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931</a:t>
                      </a:r>
                    </a:p>
                  </a:txBody>
                  <a:tcPr marL="9525" marR="9525" marT="7144" marB="0" vert="vert270" anchor="b"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endParaRPr lang="pt-BR" sz="18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7144" marB="0" vert="vert270" anchor="b"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pt-BR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965</a:t>
                      </a:r>
                    </a:p>
                  </a:txBody>
                  <a:tcPr marL="9525" marR="9525" marT="7144" marB="0" vert="vert270" anchor="b"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pt-BR" sz="1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966</a:t>
                      </a:r>
                    </a:p>
                  </a:txBody>
                  <a:tcPr marL="9525" marR="9525" marT="7144" marB="0" vert="vert270" anchor="b"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pt-BR" sz="1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967</a:t>
                      </a:r>
                    </a:p>
                  </a:txBody>
                  <a:tcPr marL="9525" marR="9525" marT="7144" marB="0" vert="vert270" anchor="b"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endParaRPr lang="pt-BR" sz="18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7144" marB="0" vert="vert270" anchor="b"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pt-BR" sz="1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987</a:t>
                      </a:r>
                    </a:p>
                  </a:txBody>
                  <a:tcPr marL="9525" marR="9525" marT="7144" marB="0" vert="vert270" anchor="b"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pt-BR" sz="1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988</a:t>
                      </a:r>
                    </a:p>
                  </a:txBody>
                  <a:tcPr marL="9525" marR="9525" marT="7144" marB="0" vert="vert270" anchor="b"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pt-BR" sz="1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989</a:t>
                      </a:r>
                    </a:p>
                  </a:txBody>
                  <a:tcPr marL="9525" marR="9525" marT="7144" marB="0" vert="vert270" anchor="b"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pt-BR" sz="1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990</a:t>
                      </a:r>
                    </a:p>
                  </a:txBody>
                  <a:tcPr marL="9525" marR="9525" marT="7144" marB="0" vert="vert270" anchor="b"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pt-BR" sz="1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991</a:t>
                      </a:r>
                    </a:p>
                  </a:txBody>
                  <a:tcPr marL="9525" marR="9525" marT="7144" marB="0" vert="vert270" anchor="b"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pt-BR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992</a:t>
                      </a:r>
                    </a:p>
                  </a:txBody>
                  <a:tcPr marL="9525" marR="9525" marT="7144" marB="0" vert="vert270" anchor="b"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pt-BR" sz="1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993</a:t>
                      </a:r>
                    </a:p>
                  </a:txBody>
                  <a:tcPr marL="9525" marR="9525" marT="7144" marB="0" vert="vert270" anchor="b"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pt-BR" sz="1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994</a:t>
                      </a:r>
                    </a:p>
                  </a:txBody>
                  <a:tcPr marL="9525" marR="9525" marT="7144" marB="0" vert="vert270" anchor="b"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pt-BR" sz="1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995</a:t>
                      </a:r>
                    </a:p>
                  </a:txBody>
                  <a:tcPr marL="9525" marR="9525" marT="7144" marB="0" vert="vert270" anchor="b"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pt-BR" sz="1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996</a:t>
                      </a:r>
                    </a:p>
                  </a:txBody>
                  <a:tcPr marL="9525" marR="9525" marT="7144" marB="0" vert="vert270" anchor="b"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pt-BR" sz="1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997</a:t>
                      </a:r>
                    </a:p>
                  </a:txBody>
                  <a:tcPr marL="9525" marR="9525" marT="7144" marB="0" vert="vert270" anchor="b"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pt-BR" sz="1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998</a:t>
                      </a:r>
                    </a:p>
                  </a:txBody>
                  <a:tcPr marL="9525" marR="9525" marT="7144" marB="0" vert="vert270" anchor="b"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pt-BR" sz="1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999</a:t>
                      </a:r>
                    </a:p>
                  </a:txBody>
                  <a:tcPr marL="9525" marR="9525" marT="7144" marB="0" vert="vert270" anchor="b"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pt-BR" sz="1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2000</a:t>
                      </a:r>
                    </a:p>
                  </a:txBody>
                  <a:tcPr marL="9525" marR="9525" marT="7144" marB="0" vert="vert270" anchor="b"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pt-BR" sz="1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2001</a:t>
                      </a:r>
                    </a:p>
                  </a:txBody>
                  <a:tcPr marL="9525" marR="9525" marT="7144" marB="0" vert="vert270" anchor="b"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pt-BR" sz="1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2002</a:t>
                      </a:r>
                    </a:p>
                  </a:txBody>
                  <a:tcPr marL="9525" marR="9525" marT="7144" marB="0" vert="vert270" anchor="b"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pt-BR" sz="1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2003</a:t>
                      </a:r>
                    </a:p>
                  </a:txBody>
                  <a:tcPr marL="9525" marR="9525" marT="7144" marB="0" vert="vert270" anchor="b"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pt-BR" sz="1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2004</a:t>
                      </a:r>
                    </a:p>
                  </a:txBody>
                  <a:tcPr marL="9525" marR="9525" marT="7144" marB="0" vert="vert270" anchor="b"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pt-BR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2005</a:t>
                      </a:r>
                    </a:p>
                  </a:txBody>
                  <a:tcPr marL="9525" marR="9525" marT="7144" marB="0" vert="vert270" anchor="b">
                    <a:noFill/>
                  </a:tcPr>
                </a:tc>
              </a:tr>
            </a:tbl>
          </a:graphicData>
        </a:graphic>
      </p:graphicFrame>
      <p:graphicFrame>
        <p:nvGraphicFramePr>
          <p:cNvPr id="10" name="Tabela 9"/>
          <p:cNvGraphicFramePr>
            <a:graphicFrameLocks noGrp="1"/>
          </p:cNvGraphicFramePr>
          <p:nvPr>
            <p:extLst/>
          </p:nvPr>
        </p:nvGraphicFramePr>
        <p:xfrm>
          <a:off x="78826" y="2549130"/>
          <a:ext cx="8891768" cy="335702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46391"/>
                <a:gridCol w="210015"/>
                <a:gridCol w="357545"/>
                <a:gridCol w="208731"/>
                <a:gridCol w="421887"/>
                <a:gridCol w="289453"/>
                <a:gridCol w="514588"/>
                <a:gridCol w="362607"/>
                <a:gridCol w="189815"/>
                <a:gridCol w="355671"/>
                <a:gridCol w="355671"/>
                <a:gridCol w="355671"/>
                <a:gridCol w="355671"/>
                <a:gridCol w="355671"/>
                <a:gridCol w="355671"/>
                <a:gridCol w="355671"/>
                <a:gridCol w="355671"/>
                <a:gridCol w="355671"/>
                <a:gridCol w="355671"/>
                <a:gridCol w="355671"/>
                <a:gridCol w="355671"/>
                <a:gridCol w="355671"/>
                <a:gridCol w="355671"/>
                <a:gridCol w="355671"/>
                <a:gridCol w="355671"/>
              </a:tblGrid>
              <a:tr h="3357029">
                <a:tc>
                  <a:txBody>
                    <a:bodyPr/>
                    <a:lstStyle/>
                    <a:p>
                      <a:pPr algn="r" rtl="0" fontAlgn="b"/>
                      <a:r>
                        <a:rPr lang="pt-BR" sz="15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Comissão Nacional do Café / Comissão de Defesa da </a:t>
                      </a:r>
                      <a:r>
                        <a:rPr lang="pt-BR" sz="15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Prod.  </a:t>
                      </a:r>
                      <a:r>
                        <a:rPr lang="pt-BR" sz="15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Açúcar</a:t>
                      </a:r>
                    </a:p>
                  </a:txBody>
                  <a:tcPr marL="9525" marR="9525" marT="7144" marB="0" vert="vert27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endParaRPr lang="pt-BR" sz="1500" b="0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525" marR="9525" marT="7144" marB="0" vert="vert27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pt-BR" sz="15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Sistema Nacional de Crédito </a:t>
                      </a:r>
                      <a:r>
                        <a:rPr lang="pt-BR" sz="15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Rural </a:t>
                      </a:r>
                      <a:endParaRPr lang="pt-BR" sz="1500" b="0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525" marR="9525" marT="7144" marB="0" vert="vert27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endParaRPr lang="pt-BR" sz="1500" b="0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525" marR="9525" marT="7144" marB="0" vert="vert27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pt-BR" sz="15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Exigibilidade bancária</a:t>
                      </a:r>
                    </a:p>
                  </a:txBody>
                  <a:tcPr marL="9525" marR="9525" marT="7144" marB="0" vert="vert27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endParaRPr lang="pt-BR" sz="1500" b="0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525" marR="9525" marT="7144" marB="0" vert="vert27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pt-BR" sz="1500" b="0" i="0" u="none" strike="noStrike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Poupança Rural</a:t>
                      </a:r>
                    </a:p>
                  </a:txBody>
                  <a:tcPr marL="9525" marR="9525" marT="7144" marB="0" vert="vert27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pt-BR" sz="15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Fundos Constitucionais</a:t>
                      </a:r>
                    </a:p>
                  </a:txBody>
                  <a:tcPr marL="9525" marR="9525" marT="7144" marB="0" vert="vert27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endParaRPr lang="pt-BR" sz="1500" b="0" i="0" u="none" strike="noStrike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525" marR="9525" marT="7144" marB="0" vert="vert27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endParaRPr lang="pt-BR" sz="1500" b="0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525" marR="9525" marT="7144" marB="0" vert="vert27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pt-BR" sz="1500" b="0" i="0" u="none" strike="noStrike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Lei Agrícola</a:t>
                      </a:r>
                    </a:p>
                  </a:txBody>
                  <a:tcPr marL="9525" marR="9525" marT="7144" marB="0" vert="vert27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endParaRPr lang="pt-BR" sz="1500" b="0" i="0" u="none" strike="noStrike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525" marR="9525" marT="7144" marB="0" vert="vert27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endParaRPr lang="pt-BR" sz="1500" b="0" i="0" u="none" strike="noStrike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525" marR="9525" marT="7144" marB="0" vert="vert27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pt-BR" sz="15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Cédula de Produto Rural – CPR</a:t>
                      </a:r>
                    </a:p>
                  </a:txBody>
                  <a:tcPr marL="9525" marR="9525" marT="7144" marB="0" vert="vert27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pt-BR" sz="1500" b="0" i="0" u="none" strike="noStrike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Securitização de dívida rural</a:t>
                      </a:r>
                    </a:p>
                  </a:txBody>
                  <a:tcPr marL="9525" marR="9525" marT="7144" marB="0" vert="vert27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pt-BR" sz="1500" b="0" i="0" u="none" strike="noStrike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PRONAF / Finame Agrícola Especial</a:t>
                      </a:r>
                    </a:p>
                  </a:txBody>
                  <a:tcPr marL="9525" marR="9525" marT="7144" marB="0" vert="vert27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endParaRPr lang="pt-BR" sz="1500" b="0" i="0" u="none" strike="noStrike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525" marR="9525" marT="7144" marB="0" vert="vert27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pt-BR" sz="1500" b="0" i="0" u="none" strike="noStrike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PESA / Prosolo</a:t>
                      </a:r>
                    </a:p>
                  </a:txBody>
                  <a:tcPr marL="9525" marR="9525" marT="7144" marB="0" vert="vert27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pt-BR" sz="1500" b="0" i="0" u="none" strike="noStrike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RECOOP / Proleite</a:t>
                      </a:r>
                    </a:p>
                  </a:txBody>
                  <a:tcPr marL="9525" marR="9525" marT="7144" marB="0" vert="vert27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pt-BR" sz="1500" b="0" i="0" u="none" strike="noStrike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CPR Financeira / Moderfrota</a:t>
                      </a:r>
                    </a:p>
                  </a:txBody>
                  <a:tcPr marL="9525" marR="9525" marT="7144" marB="0" vert="vert27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endParaRPr lang="pt-BR" sz="1500" b="0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525" marR="9525" marT="7144" marB="0" vert="vert27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endParaRPr lang="pt-BR" sz="1500" b="0" i="0" u="none" strike="noStrike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525" marR="9525" marT="7144" marB="0" vert="vert27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pt-BR" sz="1500" b="0" i="0" u="none" strike="noStrike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Subvenção do prêmio do seguro rural</a:t>
                      </a:r>
                    </a:p>
                  </a:txBody>
                  <a:tcPr marL="9525" marR="9525" marT="7144" marB="0" vert="vert27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pt-BR" sz="12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Poup</a:t>
                      </a:r>
                      <a:r>
                        <a:rPr lang="pt-BR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. </a:t>
                      </a:r>
                      <a:r>
                        <a:rPr lang="pt-B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Rural </a:t>
                      </a:r>
                      <a:r>
                        <a:rPr lang="pt-BR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 </a:t>
                      </a:r>
                      <a:r>
                        <a:rPr lang="pt-BR" sz="12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Bco</a:t>
                      </a:r>
                      <a:r>
                        <a:rPr lang="pt-BR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 Coop. / </a:t>
                      </a:r>
                      <a:r>
                        <a:rPr lang="pt-BR" sz="15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CDCA</a:t>
                      </a:r>
                      <a:r>
                        <a:rPr lang="pt-BR" sz="15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, </a:t>
                      </a:r>
                      <a:r>
                        <a:rPr lang="pt-BR" sz="1500" b="0" i="0" u="none" strike="noStrike" dirty="0">
                          <a:solidFill>
                            <a:srgbClr val="00206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L</a:t>
                      </a:r>
                      <a:r>
                        <a:rPr lang="pt-BR" sz="15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CA, CRA</a:t>
                      </a:r>
                    </a:p>
                  </a:txBody>
                  <a:tcPr marL="9525" marR="9525" marT="7144" marB="0" vert="vert27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pt-BR" sz="15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Nota Comercial </a:t>
                      </a:r>
                      <a:r>
                        <a:rPr lang="pt-BR" sz="15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Agronegócio/</a:t>
                      </a:r>
                      <a:r>
                        <a:rPr lang="pt-BR" sz="15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Agrinote</a:t>
                      </a:r>
                      <a:endParaRPr lang="pt-BR" sz="1500" b="0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525" marR="9525" marT="7144" marB="0" vert="vert27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11" name="Rectangle 3"/>
          <p:cNvSpPr>
            <a:spLocks noChangeArrowheads="1"/>
          </p:cNvSpPr>
          <p:nvPr/>
        </p:nvSpPr>
        <p:spPr bwMode="auto">
          <a:xfrm>
            <a:off x="0" y="897733"/>
            <a:ext cx="9144000" cy="69532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anchor="ctr"/>
          <a:lstStyle/>
          <a:p>
            <a:pPr algn="ctr">
              <a:defRPr/>
            </a:pPr>
            <a:r>
              <a:rPr lang="en-US" sz="2700" b="1" dirty="0" err="1">
                <a:solidFill>
                  <a:schemeClr val="tx2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Tahoma" pitchFamily="34" charset="0"/>
              </a:rPr>
              <a:t>Crédito</a:t>
            </a:r>
            <a:r>
              <a:rPr lang="en-US" sz="2700" b="1" dirty="0">
                <a:solidFill>
                  <a:schemeClr val="tx2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Tahoma" pitchFamily="34" charset="0"/>
              </a:rPr>
              <a:t> Rural</a:t>
            </a:r>
          </a:p>
        </p:txBody>
      </p:sp>
    </p:spTree>
    <p:extLst>
      <p:ext uri="{BB962C8B-B14F-4D97-AF65-F5344CB8AC3E}">
        <p14:creationId xmlns:p14="http://schemas.microsoft.com/office/powerpoint/2010/main" val="39028308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8" presetClass="entr" presetSubtype="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483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downRight)">
                                      <p:cBhvr>
                                        <p:cTn id="7" dur="500"/>
                                        <p:tgtEl>
                                          <p:spTgt spid="9483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48333" grpId="0" animBg="1"/>
    </p:bldLst>
  </p:timing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2210" name="Título 1"/>
          <p:cNvSpPr>
            <a:spLocks noGrp="1"/>
          </p:cNvSpPr>
          <p:nvPr>
            <p:ph type="ctrTitle"/>
          </p:nvPr>
        </p:nvSpPr>
        <p:spPr>
          <a:xfrm>
            <a:off x="5440561" y="4869161"/>
            <a:ext cx="3643941" cy="576063"/>
          </a:xfrm>
        </p:spPr>
        <p:txBody>
          <a:bodyPr>
            <a:noAutofit/>
          </a:bodyPr>
          <a:lstStyle/>
          <a:p>
            <a:pPr algn="r"/>
            <a:r>
              <a:rPr lang="pt-BR" sz="1800" dirty="0">
                <a:solidFill>
                  <a:srgbClr val="FF0000"/>
                </a:solidFill>
                <a:latin typeface="Arial" pitchFamily="34" charset="0"/>
                <a:cs typeface="Arial" pitchFamily="34" charset="0"/>
              </a:rPr>
              <a:t>Total: R$ 161,89 bilhões</a:t>
            </a:r>
          </a:p>
        </p:txBody>
      </p:sp>
      <p:sp>
        <p:nvSpPr>
          <p:cNvPr id="8" name="Rectangle 3"/>
          <p:cNvSpPr>
            <a:spLocks noChangeArrowheads="1"/>
          </p:cNvSpPr>
          <p:nvPr/>
        </p:nvSpPr>
        <p:spPr bwMode="auto">
          <a:xfrm>
            <a:off x="0" y="836713"/>
            <a:ext cx="9144000" cy="479041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anchor="ctr"/>
          <a:lstStyle/>
          <a:p>
            <a:pPr algn="ctr">
              <a:defRPr/>
            </a:pPr>
            <a:r>
              <a:rPr lang="en-US" sz="2700" b="1" dirty="0" err="1">
                <a:solidFill>
                  <a:schemeClr val="tx2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Tahoma" pitchFamily="34" charset="0"/>
              </a:rPr>
              <a:t>Crédito</a:t>
            </a:r>
            <a:r>
              <a:rPr lang="en-US" sz="2700" b="1" dirty="0">
                <a:solidFill>
                  <a:schemeClr val="tx2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Tahoma" pitchFamily="34" charset="0"/>
              </a:rPr>
              <a:t> Rural - 2016</a:t>
            </a:r>
          </a:p>
        </p:txBody>
      </p:sp>
      <p:graphicFrame>
        <p:nvGraphicFramePr>
          <p:cNvPr id="2" name="Gráfico 1"/>
          <p:cNvGraphicFramePr/>
          <p:nvPr>
            <p:extLst>
              <p:ext uri="{D42A27DB-BD31-4B8C-83A1-F6EECF244321}">
                <p14:modId xmlns:p14="http://schemas.microsoft.com/office/powerpoint/2010/main" val="1499605359"/>
              </p:ext>
            </p:extLst>
          </p:nvPr>
        </p:nvGraphicFramePr>
        <p:xfrm>
          <a:off x="179512" y="1412776"/>
          <a:ext cx="8808979" cy="518457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26565426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2210" name="Título 1"/>
          <p:cNvSpPr>
            <a:spLocks noGrp="1"/>
          </p:cNvSpPr>
          <p:nvPr>
            <p:ph type="ctrTitle"/>
          </p:nvPr>
        </p:nvSpPr>
        <p:spPr>
          <a:xfrm>
            <a:off x="251520" y="1165236"/>
            <a:ext cx="7026647" cy="576063"/>
          </a:xfrm>
        </p:spPr>
        <p:txBody>
          <a:bodyPr>
            <a:noAutofit/>
          </a:bodyPr>
          <a:lstStyle/>
          <a:p>
            <a:r>
              <a:rPr lang="pt-BR" sz="2800" dirty="0" smtClean="0"/>
              <a:t>Instituições Públicas</a:t>
            </a:r>
          </a:p>
        </p:txBody>
      </p:sp>
      <p:pic>
        <p:nvPicPr>
          <p:cNvPr id="222211" name="Picture 4" descr="http://1.bp.blogspot.com/-0QbMbFWU09s/T81b_MfiAfI/AAAAAAAAAJM/lzgs1ILtjZw/s1600/logo_do_bnb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51454" y="4815154"/>
            <a:ext cx="2290837" cy="6485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22212" name="Picture 6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68977" y="1880829"/>
            <a:ext cx="1574852" cy="8177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22213" name="Picture 8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21946" y="4815154"/>
            <a:ext cx="1951158" cy="70207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22214" name="Picture 2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43829" y="2499780"/>
            <a:ext cx="4416425" cy="23574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22215" name="Picture 2" descr="Logo BNDES colorido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54883" y="2080867"/>
            <a:ext cx="2593581" cy="41203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Rectangle 3"/>
          <p:cNvSpPr>
            <a:spLocks noChangeArrowheads="1"/>
          </p:cNvSpPr>
          <p:nvPr/>
        </p:nvSpPr>
        <p:spPr bwMode="auto">
          <a:xfrm>
            <a:off x="0" y="836713"/>
            <a:ext cx="9144000" cy="479041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anchor="ctr"/>
          <a:lstStyle/>
          <a:p>
            <a:pPr algn="ctr">
              <a:defRPr/>
            </a:pPr>
            <a:r>
              <a:rPr lang="en-US" sz="2700" b="1" dirty="0" err="1">
                <a:solidFill>
                  <a:schemeClr val="tx2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Tahoma" pitchFamily="34" charset="0"/>
              </a:rPr>
              <a:t>Crédito</a:t>
            </a:r>
            <a:r>
              <a:rPr lang="en-US" sz="2700" b="1" dirty="0">
                <a:solidFill>
                  <a:schemeClr val="tx2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Tahoma" pitchFamily="34" charset="0"/>
              </a:rPr>
              <a:t> Rural</a:t>
            </a:r>
          </a:p>
        </p:txBody>
      </p:sp>
    </p:spTree>
    <p:extLst>
      <p:ext uri="{BB962C8B-B14F-4D97-AF65-F5344CB8AC3E}">
        <p14:creationId xmlns:p14="http://schemas.microsoft.com/office/powerpoint/2010/main" val="9740049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3"/>
          <p:cNvSpPr>
            <a:spLocks noChangeArrowheads="1"/>
          </p:cNvSpPr>
          <p:nvPr/>
        </p:nvSpPr>
        <p:spPr bwMode="auto">
          <a:xfrm>
            <a:off x="0" y="836713"/>
            <a:ext cx="9144000" cy="479041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anchor="ctr"/>
          <a:lstStyle/>
          <a:p>
            <a:pPr algn="ctr">
              <a:defRPr/>
            </a:pPr>
            <a:r>
              <a:rPr lang="en-US" sz="2700" b="1" dirty="0" err="1">
                <a:solidFill>
                  <a:schemeClr val="tx2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Tahoma" pitchFamily="34" charset="0"/>
              </a:rPr>
              <a:t>Crédito</a:t>
            </a:r>
            <a:r>
              <a:rPr lang="en-US" sz="2700" b="1" dirty="0">
                <a:solidFill>
                  <a:schemeClr val="tx2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Tahoma" pitchFamily="34" charset="0"/>
              </a:rPr>
              <a:t> Rural - 2016</a:t>
            </a:r>
          </a:p>
        </p:txBody>
      </p:sp>
      <p:graphicFrame>
        <p:nvGraphicFramePr>
          <p:cNvPr id="2" name="Tabela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1141242"/>
              </p:ext>
            </p:extLst>
          </p:nvPr>
        </p:nvGraphicFramePr>
        <p:xfrm>
          <a:off x="827584" y="1349767"/>
          <a:ext cx="7748608" cy="510356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681451"/>
                <a:gridCol w="1614293"/>
                <a:gridCol w="1452864"/>
              </a:tblGrid>
              <a:tr h="318973">
                <a:tc>
                  <a:txBody>
                    <a:bodyPr/>
                    <a:lstStyle/>
                    <a:p>
                      <a:pPr algn="ctr" fontAlgn="t"/>
                      <a:r>
                        <a:rPr lang="pt-BR" sz="2000" b="0" i="0" u="none" strike="noStrike" dirty="0"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pt-BR" sz="20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Arial"/>
                        </a:rPr>
                        <a:t>Valor (R$ Bi)</a:t>
                      </a:r>
                      <a:endParaRPr lang="pt-BR" sz="2000" b="1" i="0" u="none" strike="noStrike" dirty="0">
                        <a:solidFill>
                          <a:srgbClr val="FFFFFF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2000" b="1" i="0" u="none" strike="noStrike" kern="1200" dirty="0">
                          <a:solidFill>
                            <a:srgbClr val="FFFFFF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% Total</a:t>
                      </a:r>
                    </a:p>
                  </a:txBody>
                  <a:tcPr marL="9525" marR="9525" marT="9525" marB="0" anchor="ctr"/>
                </a:tc>
              </a:tr>
              <a:tr h="318973">
                <a:tc>
                  <a:txBody>
                    <a:bodyPr/>
                    <a:lstStyle/>
                    <a:p>
                      <a:pPr algn="l" fontAlgn="t"/>
                      <a:r>
                        <a:rPr lang="pt-BR" sz="2000" b="0" i="0" u="none" strike="noStrike" dirty="0">
                          <a:effectLst/>
                          <a:latin typeface="Arial"/>
                        </a:rPr>
                        <a:t>BCO DO BRASIL S.A.                                          </a:t>
                      </a: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r" rtl="0" fontAlgn="t"/>
                      <a:r>
                        <a:rPr lang="pt-BR" sz="20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75,8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2000" b="0" i="0" u="none" strike="noStrike" dirty="0">
                          <a:effectLst/>
                          <a:latin typeface="Arial"/>
                        </a:rPr>
                        <a:t>46,86%</a:t>
                      </a:r>
                    </a:p>
                  </a:txBody>
                  <a:tcPr marL="9525" marR="9525" marT="9525" marB="0" anchor="ctr"/>
                </a:tc>
              </a:tr>
              <a:tr h="318973">
                <a:tc>
                  <a:txBody>
                    <a:bodyPr/>
                    <a:lstStyle/>
                    <a:p>
                      <a:pPr algn="l" fontAlgn="t"/>
                      <a:r>
                        <a:rPr lang="pt-BR" sz="2000" b="0" i="0" u="none" strike="noStrike" dirty="0">
                          <a:effectLst/>
                          <a:latin typeface="Arial"/>
                        </a:rPr>
                        <a:t>ITAÚ UNIBANCO BM S.A.                                       </a:t>
                      </a: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r" rtl="0" fontAlgn="t"/>
                      <a:r>
                        <a:rPr lang="pt-BR" sz="20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1,2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2000" b="0" i="0" u="none" strike="noStrike">
                          <a:effectLst/>
                          <a:latin typeface="Arial"/>
                        </a:rPr>
                        <a:t>6,95%</a:t>
                      </a:r>
                    </a:p>
                  </a:txBody>
                  <a:tcPr marL="9525" marR="9525" marT="9525" marB="0" anchor="ctr"/>
                </a:tc>
              </a:tr>
              <a:tr h="318973">
                <a:tc>
                  <a:txBody>
                    <a:bodyPr/>
                    <a:lstStyle/>
                    <a:p>
                      <a:pPr algn="l" fontAlgn="t"/>
                      <a:r>
                        <a:rPr lang="pt-BR" sz="2000" b="0" i="0" u="none" strike="noStrike">
                          <a:effectLst/>
                          <a:latin typeface="Arial"/>
                        </a:rPr>
                        <a:t>BCO BRADESCO S.A.                                           </a:t>
                      </a: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r" rtl="0" fontAlgn="t"/>
                      <a:r>
                        <a:rPr lang="pt-BR" sz="20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0,9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2000" b="0" i="0" u="none" strike="noStrike">
                          <a:effectLst/>
                          <a:latin typeface="Arial"/>
                        </a:rPr>
                        <a:t>6,76%</a:t>
                      </a:r>
                    </a:p>
                  </a:txBody>
                  <a:tcPr marL="9525" marR="9525" marT="9525" marB="0" anchor="ctr"/>
                </a:tc>
              </a:tr>
              <a:tr h="318973">
                <a:tc>
                  <a:txBody>
                    <a:bodyPr/>
                    <a:lstStyle/>
                    <a:p>
                      <a:pPr algn="l" fontAlgn="t"/>
                      <a:r>
                        <a:rPr lang="pt-BR" sz="2000" b="0" i="0" u="none" strike="noStrike" dirty="0">
                          <a:effectLst/>
                          <a:latin typeface="Arial"/>
                        </a:rPr>
                        <a:t>BCO SANTANDER (BRASIL) S.A.                                 </a:t>
                      </a: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r" rtl="0" fontAlgn="t"/>
                      <a:r>
                        <a:rPr lang="pt-BR" sz="20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7,6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2000" b="0" i="0" u="none" strike="noStrike">
                          <a:effectLst/>
                          <a:latin typeface="Arial"/>
                        </a:rPr>
                        <a:t>4,75%</a:t>
                      </a:r>
                    </a:p>
                  </a:txBody>
                  <a:tcPr marL="9525" marR="9525" marT="9525" marB="0" anchor="ctr"/>
                </a:tc>
              </a:tr>
              <a:tr h="318973">
                <a:tc>
                  <a:txBody>
                    <a:bodyPr/>
                    <a:lstStyle/>
                    <a:p>
                      <a:pPr algn="l" fontAlgn="t"/>
                      <a:r>
                        <a:rPr lang="pt-BR" sz="2000" b="0" i="0" u="none" strike="noStrike">
                          <a:effectLst/>
                          <a:latin typeface="Arial"/>
                        </a:rPr>
                        <a:t>BCO DO NORDESTE DO BRASIL S.A.                              </a:t>
                      </a: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r" rtl="0" fontAlgn="t"/>
                      <a:r>
                        <a:rPr lang="pt-BR" sz="20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5,9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2000" b="0" i="0" u="none" strike="noStrike">
                          <a:effectLst/>
                          <a:latin typeface="Arial"/>
                        </a:rPr>
                        <a:t>3,66%</a:t>
                      </a:r>
                    </a:p>
                  </a:txBody>
                  <a:tcPr marL="9525" marR="9525" marT="9525" marB="0" anchor="ctr"/>
                </a:tc>
              </a:tr>
              <a:tr h="318973">
                <a:tc>
                  <a:txBody>
                    <a:bodyPr/>
                    <a:lstStyle/>
                    <a:p>
                      <a:pPr algn="l" fontAlgn="t"/>
                      <a:r>
                        <a:rPr lang="pt-BR" sz="2000" b="0" i="0" u="none" strike="noStrike">
                          <a:effectLst/>
                          <a:latin typeface="Arial"/>
                        </a:rPr>
                        <a:t>CAIXA ECONOMICA FEDERAL                                     </a:t>
                      </a: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r" rtl="0" fontAlgn="t"/>
                      <a:r>
                        <a:rPr lang="pt-BR" sz="20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5,4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2000" b="0" i="0" u="none" strike="noStrike">
                          <a:effectLst/>
                          <a:latin typeface="Arial"/>
                        </a:rPr>
                        <a:t>3,34%</a:t>
                      </a:r>
                    </a:p>
                  </a:txBody>
                  <a:tcPr marL="9525" marR="9525" marT="9525" marB="0" anchor="ctr"/>
                </a:tc>
              </a:tr>
              <a:tr h="318973">
                <a:tc>
                  <a:txBody>
                    <a:bodyPr/>
                    <a:lstStyle/>
                    <a:p>
                      <a:pPr algn="l" fontAlgn="t"/>
                      <a:r>
                        <a:rPr lang="pt-BR" sz="2000" b="0" i="0" u="none" strike="noStrike">
                          <a:effectLst/>
                          <a:latin typeface="Arial"/>
                        </a:rPr>
                        <a:t>BCO RABOBANK INTL BRASIL S.A.                               </a:t>
                      </a: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r" rtl="0" fontAlgn="t"/>
                      <a:r>
                        <a:rPr lang="pt-BR" sz="20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3,2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2000" b="0" i="0" u="none" strike="noStrike">
                          <a:effectLst/>
                          <a:latin typeface="Arial"/>
                        </a:rPr>
                        <a:t>2,03%</a:t>
                      </a:r>
                    </a:p>
                  </a:txBody>
                  <a:tcPr marL="9525" marR="9525" marT="9525" marB="0" anchor="ctr"/>
                </a:tc>
              </a:tr>
              <a:tr h="318973">
                <a:tc>
                  <a:txBody>
                    <a:bodyPr/>
                    <a:lstStyle/>
                    <a:p>
                      <a:pPr algn="l" fontAlgn="t"/>
                      <a:r>
                        <a:rPr lang="pt-BR" sz="2000" b="0" i="0" u="none" strike="noStrike">
                          <a:effectLst/>
                          <a:latin typeface="Arial"/>
                        </a:rPr>
                        <a:t>BCO SAFRA S.A.                                              </a:t>
                      </a: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r" rtl="0" fontAlgn="t"/>
                      <a:r>
                        <a:rPr lang="pt-BR" sz="20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2,3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2000" b="0" i="0" u="none" strike="noStrike" dirty="0">
                          <a:effectLst/>
                          <a:latin typeface="Arial"/>
                        </a:rPr>
                        <a:t>1,48%</a:t>
                      </a:r>
                    </a:p>
                  </a:txBody>
                  <a:tcPr marL="9525" marR="9525" marT="9525" marB="0" anchor="ctr"/>
                </a:tc>
              </a:tr>
              <a:tr h="318973">
                <a:tc>
                  <a:txBody>
                    <a:bodyPr/>
                    <a:lstStyle/>
                    <a:p>
                      <a:pPr algn="l" fontAlgn="t"/>
                      <a:r>
                        <a:rPr lang="pt-BR" sz="2000" b="0" i="0" u="none" strike="noStrike">
                          <a:effectLst/>
                          <a:latin typeface="Arial"/>
                        </a:rPr>
                        <a:t>HSBC BANK BRASIL SA BCO MULTIP                              </a:t>
                      </a: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r" rtl="0" fontAlgn="t"/>
                      <a:r>
                        <a:rPr lang="pt-BR" sz="20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2,1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2000" b="0" i="0" u="none" strike="noStrike" dirty="0">
                          <a:effectLst/>
                          <a:latin typeface="Arial"/>
                        </a:rPr>
                        <a:t>1,35%</a:t>
                      </a:r>
                    </a:p>
                  </a:txBody>
                  <a:tcPr marL="9525" marR="9525" marT="9525" marB="0" anchor="ctr"/>
                </a:tc>
              </a:tr>
              <a:tr h="318973">
                <a:tc>
                  <a:txBody>
                    <a:bodyPr/>
                    <a:lstStyle/>
                    <a:p>
                      <a:pPr algn="l" fontAlgn="t"/>
                      <a:r>
                        <a:rPr lang="pt-BR" sz="2000" b="0" i="0" u="none" strike="noStrike">
                          <a:effectLst/>
                          <a:latin typeface="Arial"/>
                        </a:rPr>
                        <a:t>BCO DA AMAZONIA S.A.                                        </a:t>
                      </a: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r" rtl="0" fontAlgn="t"/>
                      <a:r>
                        <a:rPr lang="pt-BR" sz="20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2,0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2000" b="0" i="0" u="none" strike="noStrike" dirty="0">
                          <a:effectLst/>
                          <a:latin typeface="Arial"/>
                        </a:rPr>
                        <a:t>1,28%</a:t>
                      </a:r>
                    </a:p>
                  </a:txBody>
                  <a:tcPr marL="9525" marR="9525" marT="9525" marB="0" anchor="ctr"/>
                </a:tc>
              </a:tr>
              <a:tr h="318973">
                <a:tc>
                  <a:txBody>
                    <a:bodyPr/>
                    <a:lstStyle/>
                    <a:p>
                      <a:pPr algn="l" fontAlgn="t"/>
                      <a:r>
                        <a:rPr lang="pt-BR" sz="2000" b="0" i="0" u="none" strike="noStrike">
                          <a:effectLst/>
                          <a:latin typeface="Arial"/>
                        </a:rPr>
                        <a:t>CC CREDICITRUS</a:t>
                      </a: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r" rtl="0" fontAlgn="t"/>
                      <a:r>
                        <a:rPr lang="pt-BR" sz="20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,9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2000" b="0" i="0" u="none" strike="noStrike" dirty="0">
                          <a:effectLst/>
                          <a:latin typeface="Arial"/>
                        </a:rPr>
                        <a:t>1,23%</a:t>
                      </a:r>
                    </a:p>
                  </a:txBody>
                  <a:tcPr marL="9525" marR="9525" marT="9525" marB="0" anchor="ctr"/>
                </a:tc>
              </a:tr>
              <a:tr h="318973">
                <a:tc>
                  <a:txBody>
                    <a:bodyPr/>
                    <a:lstStyle/>
                    <a:p>
                      <a:pPr algn="l" fontAlgn="t"/>
                      <a:r>
                        <a:rPr lang="pt-BR" sz="2000" b="0" i="0" u="none" strike="noStrike">
                          <a:effectLst/>
                          <a:latin typeface="Arial"/>
                        </a:rPr>
                        <a:t>BANCO JOHN DEERE S.A.                                       </a:t>
                      </a: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r" rtl="0" fontAlgn="t"/>
                      <a:r>
                        <a:rPr lang="pt-BR" sz="20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,8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2000" b="0" i="0" u="none" strike="noStrike" dirty="0">
                          <a:effectLst/>
                          <a:latin typeface="Arial"/>
                        </a:rPr>
                        <a:t>1,17%</a:t>
                      </a:r>
                    </a:p>
                  </a:txBody>
                  <a:tcPr marL="9525" marR="9525" marT="9525" marB="0" anchor="ctr"/>
                </a:tc>
              </a:tr>
              <a:tr h="318973">
                <a:tc>
                  <a:txBody>
                    <a:bodyPr/>
                    <a:lstStyle/>
                    <a:p>
                      <a:pPr algn="l" fontAlgn="t"/>
                      <a:r>
                        <a:rPr lang="pt-BR" sz="2000" b="0" i="0" u="none" strike="noStrike">
                          <a:effectLst/>
                          <a:latin typeface="Arial"/>
                        </a:rPr>
                        <a:t>BCO CITIBANK S.A.                                           </a:t>
                      </a: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r" rtl="0" fontAlgn="t"/>
                      <a:r>
                        <a:rPr lang="pt-BR" sz="20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,8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2000" b="0" i="0" u="none" strike="noStrike" dirty="0">
                          <a:effectLst/>
                          <a:latin typeface="Arial"/>
                        </a:rPr>
                        <a:t>1,16%</a:t>
                      </a:r>
                    </a:p>
                  </a:txBody>
                  <a:tcPr marL="9525" marR="9525" marT="9525" marB="0" anchor="ctr"/>
                </a:tc>
              </a:tr>
              <a:tr h="318973">
                <a:tc>
                  <a:txBody>
                    <a:bodyPr/>
                    <a:lstStyle/>
                    <a:p>
                      <a:pPr algn="l" fontAlgn="t"/>
                      <a:r>
                        <a:rPr lang="pt-BR" sz="2000" b="0" i="0" u="none" strike="noStrike" dirty="0">
                          <a:effectLst/>
                          <a:latin typeface="Arial"/>
                        </a:rPr>
                        <a:t>OUTROS</a:t>
                      </a:r>
                    </a:p>
                  </a:txBody>
                  <a:tcPr marL="9525" marR="9525" marT="9525" marB="0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2000" b="1" i="0" u="none" strike="noStrike" dirty="0">
                          <a:effectLst/>
                          <a:latin typeface="Arial"/>
                        </a:rPr>
                        <a:t>29,13</a:t>
                      </a:r>
                    </a:p>
                  </a:txBody>
                  <a:tcPr marL="9525" marR="9525" marT="9525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2000" b="0" i="0" u="none" strike="noStrike" dirty="0">
                          <a:effectLst/>
                          <a:latin typeface="Arial"/>
                        </a:rPr>
                        <a:t>18,00%</a:t>
                      </a:r>
                    </a:p>
                  </a:txBody>
                  <a:tcPr marL="9525" marR="9525" marT="9525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18973">
                <a:tc>
                  <a:txBody>
                    <a:bodyPr/>
                    <a:lstStyle/>
                    <a:p>
                      <a:pPr algn="l" fontAlgn="t"/>
                      <a:r>
                        <a:rPr lang="pt-BR" sz="2000" b="1" i="0" u="none" strike="noStrike" dirty="0">
                          <a:effectLst/>
                          <a:latin typeface="Arial"/>
                        </a:rPr>
                        <a:t>TOTAL</a:t>
                      </a:r>
                    </a:p>
                  </a:txBody>
                  <a:tcPr marL="9525" marR="9525" marT="9525" marB="0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2000" b="1" i="0" u="none" strike="noStrike" dirty="0">
                          <a:effectLst/>
                          <a:latin typeface="Arial"/>
                        </a:rPr>
                        <a:t>161,89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2000" b="0" i="0" u="none" strike="noStrike" dirty="0">
                          <a:effectLst/>
                          <a:latin typeface="Arial"/>
                        </a:rPr>
                        <a:t>100,00%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7732384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tângulo 1"/>
          <p:cNvSpPr/>
          <p:nvPr/>
        </p:nvSpPr>
        <p:spPr>
          <a:xfrm>
            <a:off x="0" y="1403775"/>
            <a:ext cx="9144000" cy="4529757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BR" sz="1350"/>
          </a:p>
        </p:txBody>
      </p:sp>
      <p:sp>
        <p:nvSpPr>
          <p:cNvPr id="221187" name="Oval 23"/>
          <p:cNvSpPr>
            <a:spLocks noChangeArrowheads="1"/>
          </p:cNvSpPr>
          <p:nvPr/>
        </p:nvSpPr>
        <p:spPr bwMode="auto">
          <a:xfrm>
            <a:off x="3521078" y="2597401"/>
            <a:ext cx="1444625" cy="576263"/>
          </a:xfrm>
          <a:prstGeom prst="ellipse">
            <a:avLst/>
          </a:prstGeom>
          <a:solidFill>
            <a:srgbClr val="FFFFCC"/>
          </a:solidFill>
          <a:ln w="38100">
            <a:solidFill>
              <a:srgbClr val="FFFF00"/>
            </a:solidFill>
            <a:round/>
            <a:headEnd/>
            <a:tailEnd/>
          </a:ln>
        </p:spPr>
        <p:txBody>
          <a:bodyPr wrap="none" anchor="ctr"/>
          <a:lstStyle/>
          <a:p>
            <a:endParaRPr lang="pt-BR" sz="1500"/>
          </a:p>
        </p:txBody>
      </p:sp>
      <p:sp>
        <p:nvSpPr>
          <p:cNvPr id="983043" name="Rectangle 3"/>
          <p:cNvSpPr>
            <a:spLocks noChangeArrowheads="1"/>
          </p:cNvSpPr>
          <p:nvPr/>
        </p:nvSpPr>
        <p:spPr bwMode="auto">
          <a:xfrm>
            <a:off x="0" y="897733"/>
            <a:ext cx="9144000" cy="69532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anchor="ctr"/>
          <a:lstStyle/>
          <a:p>
            <a:pPr algn="ctr">
              <a:defRPr/>
            </a:pPr>
            <a:r>
              <a:rPr lang="en-US" sz="2700" b="1" dirty="0" err="1">
                <a:solidFill>
                  <a:schemeClr val="tx2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Tahoma" pitchFamily="34" charset="0"/>
              </a:rPr>
              <a:t>Crédito</a:t>
            </a:r>
            <a:r>
              <a:rPr lang="en-US" sz="2700" b="1" dirty="0">
                <a:solidFill>
                  <a:schemeClr val="tx2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Tahoma" pitchFamily="34" charset="0"/>
              </a:rPr>
              <a:t> Rural</a:t>
            </a:r>
          </a:p>
        </p:txBody>
      </p:sp>
      <p:sp>
        <p:nvSpPr>
          <p:cNvPr id="221189" name="Rectangle 6"/>
          <p:cNvSpPr>
            <a:spLocks noChangeArrowheads="1"/>
          </p:cNvSpPr>
          <p:nvPr/>
        </p:nvSpPr>
        <p:spPr bwMode="auto">
          <a:xfrm>
            <a:off x="774701" y="1580606"/>
            <a:ext cx="1409700" cy="695325"/>
          </a:xfrm>
          <a:prstGeom prst="rect">
            <a:avLst/>
          </a:prstGeom>
          <a:solidFill>
            <a:srgbClr val="FFFFCC"/>
          </a:solidFill>
          <a:ln w="38100">
            <a:solidFill>
              <a:srgbClr val="FFFF00"/>
            </a:solidFill>
            <a:miter lim="800000"/>
            <a:headEnd/>
            <a:tailEnd/>
          </a:ln>
        </p:spPr>
        <p:txBody>
          <a:bodyPr wrap="none" anchor="ctr"/>
          <a:lstStyle/>
          <a:p>
            <a:endParaRPr lang="pt-BR" sz="1500"/>
          </a:p>
        </p:txBody>
      </p:sp>
      <p:sp>
        <p:nvSpPr>
          <p:cNvPr id="221190" name="Text Box 7"/>
          <p:cNvSpPr txBox="1">
            <a:spLocks noChangeArrowheads="1"/>
          </p:cNvSpPr>
          <p:nvPr/>
        </p:nvSpPr>
        <p:spPr bwMode="auto">
          <a:xfrm>
            <a:off x="3565526" y="2628355"/>
            <a:ext cx="1409700" cy="5539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9pPr>
          </a:lstStyle>
          <a:p>
            <a:pPr algn="ctr">
              <a:spcBef>
                <a:spcPct val="50000"/>
              </a:spcBef>
            </a:pPr>
            <a:r>
              <a:rPr lang="pt-BR" sz="1500">
                <a:solidFill>
                  <a:schemeClr val="tx2"/>
                </a:solidFill>
                <a:latin typeface="Arial" pitchFamily="34" charset="0"/>
              </a:rPr>
              <a:t>Fontes de Recursos</a:t>
            </a:r>
          </a:p>
        </p:txBody>
      </p:sp>
      <p:sp>
        <p:nvSpPr>
          <p:cNvPr id="221191" name="Text Box 8"/>
          <p:cNvSpPr txBox="1">
            <a:spLocks noChangeArrowheads="1"/>
          </p:cNvSpPr>
          <p:nvPr/>
        </p:nvSpPr>
        <p:spPr bwMode="auto">
          <a:xfrm>
            <a:off x="635563" y="1675855"/>
            <a:ext cx="1680187" cy="5539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9pPr>
          </a:lstStyle>
          <a:p>
            <a:pPr algn="ctr">
              <a:spcBef>
                <a:spcPct val="50000"/>
              </a:spcBef>
            </a:pPr>
            <a:r>
              <a:rPr lang="pt-BR" sz="1500" dirty="0">
                <a:solidFill>
                  <a:schemeClr val="tx2"/>
                </a:solidFill>
                <a:latin typeface="Arial" pitchFamily="34" charset="0"/>
              </a:rPr>
              <a:t>Recursos Controlados</a:t>
            </a:r>
          </a:p>
        </p:txBody>
      </p:sp>
      <p:sp>
        <p:nvSpPr>
          <p:cNvPr id="221192" name="Rectangle 9"/>
          <p:cNvSpPr>
            <a:spLocks noChangeArrowheads="1"/>
          </p:cNvSpPr>
          <p:nvPr/>
        </p:nvSpPr>
        <p:spPr bwMode="auto">
          <a:xfrm>
            <a:off x="2628901" y="1580606"/>
            <a:ext cx="1409700" cy="695325"/>
          </a:xfrm>
          <a:prstGeom prst="rect">
            <a:avLst/>
          </a:prstGeom>
          <a:solidFill>
            <a:srgbClr val="FFFFCC"/>
          </a:solidFill>
          <a:ln w="38100">
            <a:solidFill>
              <a:srgbClr val="FFFF00"/>
            </a:solidFill>
            <a:miter lim="800000"/>
            <a:headEnd/>
            <a:tailEnd/>
          </a:ln>
        </p:spPr>
        <p:txBody>
          <a:bodyPr wrap="none" anchor="ctr"/>
          <a:lstStyle/>
          <a:p>
            <a:endParaRPr lang="pt-BR" sz="1500"/>
          </a:p>
        </p:txBody>
      </p:sp>
      <p:sp>
        <p:nvSpPr>
          <p:cNvPr id="221193" name="Rectangle 10"/>
          <p:cNvSpPr>
            <a:spLocks noChangeArrowheads="1"/>
          </p:cNvSpPr>
          <p:nvPr/>
        </p:nvSpPr>
        <p:spPr bwMode="auto">
          <a:xfrm>
            <a:off x="4483101" y="1580606"/>
            <a:ext cx="1409700" cy="695325"/>
          </a:xfrm>
          <a:prstGeom prst="rect">
            <a:avLst/>
          </a:prstGeom>
          <a:solidFill>
            <a:srgbClr val="FFFFCC"/>
          </a:solidFill>
          <a:ln w="38100">
            <a:solidFill>
              <a:srgbClr val="FFFF00"/>
            </a:solidFill>
            <a:miter lim="800000"/>
            <a:headEnd/>
            <a:tailEnd/>
          </a:ln>
        </p:spPr>
        <p:txBody>
          <a:bodyPr wrap="none" anchor="ctr"/>
          <a:lstStyle/>
          <a:p>
            <a:endParaRPr lang="pt-BR" sz="1500"/>
          </a:p>
        </p:txBody>
      </p:sp>
      <p:sp>
        <p:nvSpPr>
          <p:cNvPr id="221194" name="Rectangle 11"/>
          <p:cNvSpPr>
            <a:spLocks noChangeArrowheads="1"/>
          </p:cNvSpPr>
          <p:nvPr/>
        </p:nvSpPr>
        <p:spPr bwMode="auto">
          <a:xfrm>
            <a:off x="3551239" y="3430837"/>
            <a:ext cx="1409700" cy="431006"/>
          </a:xfrm>
          <a:prstGeom prst="rect">
            <a:avLst/>
          </a:prstGeom>
          <a:solidFill>
            <a:srgbClr val="00FFFF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/>
            <a:r>
              <a:rPr lang="pt-BR" sz="1500">
                <a:solidFill>
                  <a:srgbClr val="002060"/>
                </a:solidFill>
              </a:rPr>
              <a:t> </a:t>
            </a:r>
          </a:p>
        </p:txBody>
      </p:sp>
      <p:sp>
        <p:nvSpPr>
          <p:cNvPr id="221195" name="Rectangle 12"/>
          <p:cNvSpPr>
            <a:spLocks noChangeArrowheads="1"/>
          </p:cNvSpPr>
          <p:nvPr/>
        </p:nvSpPr>
        <p:spPr bwMode="auto">
          <a:xfrm>
            <a:off x="6337301" y="1590131"/>
            <a:ext cx="1409700" cy="695325"/>
          </a:xfrm>
          <a:prstGeom prst="rect">
            <a:avLst/>
          </a:prstGeom>
          <a:solidFill>
            <a:srgbClr val="FFFFCC"/>
          </a:solidFill>
          <a:ln w="38100">
            <a:solidFill>
              <a:srgbClr val="FFFF00"/>
            </a:solidFill>
            <a:miter lim="800000"/>
            <a:headEnd/>
            <a:tailEnd/>
          </a:ln>
        </p:spPr>
        <p:txBody>
          <a:bodyPr wrap="none" anchor="ctr"/>
          <a:lstStyle/>
          <a:p>
            <a:endParaRPr lang="pt-BR" sz="1500">
              <a:solidFill>
                <a:schemeClr val="accent6">
                  <a:lumMod val="40000"/>
                  <a:lumOff val="60000"/>
                </a:schemeClr>
              </a:solidFill>
            </a:endParaRPr>
          </a:p>
        </p:txBody>
      </p:sp>
      <p:sp>
        <p:nvSpPr>
          <p:cNvPr id="221196" name="Text Box 13"/>
          <p:cNvSpPr txBox="1">
            <a:spLocks noChangeArrowheads="1"/>
          </p:cNvSpPr>
          <p:nvPr/>
        </p:nvSpPr>
        <p:spPr bwMode="auto">
          <a:xfrm>
            <a:off x="2541590" y="1556793"/>
            <a:ext cx="1576387" cy="78483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9pPr>
          </a:lstStyle>
          <a:p>
            <a:pPr algn="ctr">
              <a:spcBef>
                <a:spcPct val="50000"/>
              </a:spcBef>
            </a:pPr>
            <a:r>
              <a:rPr lang="pt-BR" sz="1500">
                <a:solidFill>
                  <a:schemeClr val="tx2"/>
                </a:solidFill>
                <a:latin typeface="Arial" pitchFamily="34" charset="0"/>
              </a:rPr>
              <a:t>Fundos Operações Oficiais</a:t>
            </a:r>
          </a:p>
        </p:txBody>
      </p:sp>
      <p:sp>
        <p:nvSpPr>
          <p:cNvPr id="221197" name="Text Box 14"/>
          <p:cNvSpPr txBox="1">
            <a:spLocks noChangeArrowheads="1"/>
          </p:cNvSpPr>
          <p:nvPr/>
        </p:nvSpPr>
        <p:spPr bwMode="auto">
          <a:xfrm>
            <a:off x="4546601" y="1655655"/>
            <a:ext cx="1369549" cy="5539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9pPr>
          </a:lstStyle>
          <a:p>
            <a:pPr algn="ctr">
              <a:spcBef>
                <a:spcPct val="50000"/>
              </a:spcBef>
            </a:pPr>
            <a:r>
              <a:rPr lang="pt-BR" sz="1500" dirty="0">
                <a:solidFill>
                  <a:schemeClr val="tx2"/>
                </a:solidFill>
                <a:latin typeface="Arial" pitchFamily="34" charset="0"/>
              </a:rPr>
              <a:t>Recursos Livres</a:t>
            </a:r>
          </a:p>
        </p:txBody>
      </p:sp>
      <p:sp>
        <p:nvSpPr>
          <p:cNvPr id="221198" name="Text Box 15"/>
          <p:cNvSpPr txBox="1">
            <a:spLocks noChangeArrowheads="1"/>
          </p:cNvSpPr>
          <p:nvPr/>
        </p:nvSpPr>
        <p:spPr bwMode="auto">
          <a:xfrm>
            <a:off x="6654997" y="4092190"/>
            <a:ext cx="1181100" cy="3231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9pPr>
          </a:lstStyle>
          <a:p>
            <a:pPr algn="ctr">
              <a:spcBef>
                <a:spcPct val="50000"/>
              </a:spcBef>
            </a:pPr>
            <a:r>
              <a:rPr lang="pt-BR" sz="1500">
                <a:solidFill>
                  <a:schemeClr val="tx2"/>
                </a:solidFill>
                <a:latin typeface="Arial" pitchFamily="34" charset="0"/>
              </a:rPr>
              <a:t>BNDES</a:t>
            </a:r>
          </a:p>
        </p:txBody>
      </p:sp>
      <p:sp>
        <p:nvSpPr>
          <p:cNvPr id="221199" name="Line 16"/>
          <p:cNvSpPr>
            <a:spLocks noChangeShapeType="1"/>
          </p:cNvSpPr>
          <p:nvPr/>
        </p:nvSpPr>
        <p:spPr bwMode="auto">
          <a:xfrm>
            <a:off x="1485900" y="2285455"/>
            <a:ext cx="0" cy="152400"/>
          </a:xfrm>
          <a:prstGeom prst="line">
            <a:avLst/>
          </a:prstGeom>
          <a:noFill/>
          <a:ln w="38100">
            <a:solidFill>
              <a:srgbClr val="FFFF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pt-BR" sz="1350"/>
          </a:p>
        </p:txBody>
      </p:sp>
      <p:sp>
        <p:nvSpPr>
          <p:cNvPr id="221200" name="Line 17"/>
          <p:cNvSpPr>
            <a:spLocks noChangeShapeType="1"/>
          </p:cNvSpPr>
          <p:nvPr/>
        </p:nvSpPr>
        <p:spPr bwMode="auto">
          <a:xfrm>
            <a:off x="3352800" y="2285455"/>
            <a:ext cx="0" cy="152400"/>
          </a:xfrm>
          <a:prstGeom prst="line">
            <a:avLst/>
          </a:prstGeom>
          <a:noFill/>
          <a:ln w="38100">
            <a:solidFill>
              <a:srgbClr val="FFFF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pt-BR" sz="1350"/>
          </a:p>
        </p:txBody>
      </p:sp>
      <p:sp>
        <p:nvSpPr>
          <p:cNvPr id="221201" name="Line 18"/>
          <p:cNvSpPr>
            <a:spLocks noChangeShapeType="1"/>
          </p:cNvSpPr>
          <p:nvPr/>
        </p:nvSpPr>
        <p:spPr bwMode="auto">
          <a:xfrm>
            <a:off x="5194300" y="2285455"/>
            <a:ext cx="0" cy="152400"/>
          </a:xfrm>
          <a:prstGeom prst="line">
            <a:avLst/>
          </a:prstGeom>
          <a:noFill/>
          <a:ln w="38100">
            <a:solidFill>
              <a:srgbClr val="FFFF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pt-BR" sz="1350"/>
          </a:p>
        </p:txBody>
      </p:sp>
      <p:sp>
        <p:nvSpPr>
          <p:cNvPr id="221202" name="Line 19"/>
          <p:cNvSpPr>
            <a:spLocks noChangeShapeType="1"/>
          </p:cNvSpPr>
          <p:nvPr/>
        </p:nvSpPr>
        <p:spPr bwMode="auto">
          <a:xfrm>
            <a:off x="7048500" y="2285455"/>
            <a:ext cx="0" cy="152400"/>
          </a:xfrm>
          <a:prstGeom prst="line">
            <a:avLst/>
          </a:prstGeom>
          <a:noFill/>
          <a:ln w="38100">
            <a:solidFill>
              <a:srgbClr val="FFFF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pt-BR" sz="1350"/>
          </a:p>
        </p:txBody>
      </p:sp>
      <p:sp>
        <p:nvSpPr>
          <p:cNvPr id="221204" name="Line 22"/>
          <p:cNvSpPr>
            <a:spLocks noChangeShapeType="1"/>
          </p:cNvSpPr>
          <p:nvPr/>
        </p:nvSpPr>
        <p:spPr bwMode="auto">
          <a:xfrm flipV="1">
            <a:off x="4260851" y="2442618"/>
            <a:ext cx="0" cy="166688"/>
          </a:xfrm>
          <a:prstGeom prst="line">
            <a:avLst/>
          </a:prstGeom>
          <a:noFill/>
          <a:ln w="38100">
            <a:solidFill>
              <a:srgbClr val="FFFF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pt-BR" sz="1350"/>
          </a:p>
        </p:txBody>
      </p:sp>
      <p:sp>
        <p:nvSpPr>
          <p:cNvPr id="221203" name="Line 20"/>
          <p:cNvSpPr>
            <a:spLocks noChangeShapeType="1"/>
          </p:cNvSpPr>
          <p:nvPr/>
        </p:nvSpPr>
        <p:spPr bwMode="auto">
          <a:xfrm flipV="1">
            <a:off x="1473201" y="2437855"/>
            <a:ext cx="5588000" cy="0"/>
          </a:xfrm>
          <a:prstGeom prst="line">
            <a:avLst/>
          </a:prstGeom>
          <a:noFill/>
          <a:ln w="38100">
            <a:solidFill>
              <a:srgbClr val="FFFF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pt-BR" sz="1350"/>
          </a:p>
        </p:txBody>
      </p:sp>
      <p:sp>
        <p:nvSpPr>
          <p:cNvPr id="221205" name="Text Box 25"/>
          <p:cNvSpPr txBox="1">
            <a:spLocks noChangeArrowheads="1"/>
          </p:cNvSpPr>
          <p:nvPr/>
        </p:nvSpPr>
        <p:spPr bwMode="auto">
          <a:xfrm>
            <a:off x="3549651" y="3502275"/>
            <a:ext cx="1409700" cy="3231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9pPr>
          </a:lstStyle>
          <a:p>
            <a:pPr algn="ctr">
              <a:spcBef>
                <a:spcPct val="50000"/>
              </a:spcBef>
            </a:pPr>
            <a:r>
              <a:rPr lang="pt-BR" sz="1500" b="1" dirty="0">
                <a:solidFill>
                  <a:srgbClr val="002060"/>
                </a:solidFill>
                <a:latin typeface="Arial" pitchFamily="34" charset="0"/>
              </a:rPr>
              <a:t>Banco</a:t>
            </a:r>
          </a:p>
        </p:txBody>
      </p:sp>
      <p:graphicFrame>
        <p:nvGraphicFramePr>
          <p:cNvPr id="983429" name="Group 389"/>
          <p:cNvGraphicFramePr>
            <a:graphicFrameLocks noGrp="1"/>
          </p:cNvGraphicFramePr>
          <p:nvPr>
            <p:ph sz="quarter" idx="13"/>
            <p:extLst/>
          </p:nvPr>
        </p:nvGraphicFramePr>
        <p:xfrm>
          <a:off x="827285" y="4060042"/>
          <a:ext cx="7777167" cy="435864"/>
        </p:xfrm>
        <a:graphic>
          <a:graphicData uri="http://schemas.openxmlformats.org/drawingml/2006/table">
            <a:tbl>
              <a:tblPr/>
              <a:tblGrid>
                <a:gridCol w="1296195"/>
                <a:gridCol w="1296195"/>
                <a:gridCol w="1296195"/>
                <a:gridCol w="1115108"/>
                <a:gridCol w="1076985"/>
                <a:gridCol w="1696489"/>
              </a:tblGrid>
              <a:tr h="435864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Projeto Orçamento</a:t>
                      </a:r>
                    </a:p>
                  </a:txBody>
                  <a:tcPr marL="90055" marR="90055" marT="35052" marB="35052" anchor="ctr" horzOverflow="overflow">
                    <a:lnL w="12700" cap="flat" cmpd="sng" algn="ctr">
                      <a:solidFill>
                        <a:srgbClr val="FF99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99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99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99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6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Análise e Deferimento</a:t>
                      </a:r>
                    </a:p>
                  </a:txBody>
                  <a:tcPr marL="90055" marR="90055" marT="35052" marB="35052" anchor="ctr" horzOverflow="overflow">
                    <a:lnL w="12700" cap="flat" cmpd="sng" algn="ctr">
                      <a:solidFill>
                        <a:srgbClr val="FF99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99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99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99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6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Liberação do Crédito</a:t>
                      </a:r>
                    </a:p>
                  </a:txBody>
                  <a:tcPr marL="90055" marR="90055" marT="35052" marB="35052" anchor="ctr" horzOverflow="overflow">
                    <a:lnL w="12700" cap="flat" cmpd="sng" algn="ctr">
                      <a:solidFill>
                        <a:srgbClr val="FF99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99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99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99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6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Plantio</a:t>
                      </a:r>
                    </a:p>
                  </a:txBody>
                  <a:tcPr marL="90055" marR="90055" marT="35052" marB="35052" anchor="ctr" horzOverflow="overflow">
                    <a:lnL w="12700" cap="flat" cmpd="sng" algn="ctr">
                      <a:solidFill>
                        <a:srgbClr val="FF99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99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99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99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6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Colheita</a:t>
                      </a:r>
                    </a:p>
                  </a:txBody>
                  <a:tcPr marL="90055" marR="90055" marT="35052" marB="35052" anchor="ctr" horzOverflow="overflow">
                    <a:lnL w="12700" cap="flat" cmpd="sng" algn="ctr">
                      <a:solidFill>
                        <a:srgbClr val="FF99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99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99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99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6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Comercialização</a:t>
                      </a:r>
                    </a:p>
                  </a:txBody>
                  <a:tcPr marL="90055" marR="90055" marT="35052" marB="35052" anchor="ctr" horzOverflow="overflow">
                    <a:lnL w="12700" cap="flat" cmpd="sng" algn="ctr">
                      <a:solidFill>
                        <a:srgbClr val="FF99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99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99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99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66"/>
                    </a:solidFill>
                  </a:tcPr>
                </a:tc>
              </a:tr>
            </a:tbl>
          </a:graphicData>
        </a:graphic>
      </p:graphicFrame>
      <p:sp>
        <p:nvSpPr>
          <p:cNvPr id="221222" name="Text Box 112"/>
          <p:cNvSpPr txBox="1">
            <a:spLocks noChangeArrowheads="1"/>
          </p:cNvSpPr>
          <p:nvPr/>
        </p:nvSpPr>
        <p:spPr bwMode="auto">
          <a:xfrm rot="-5400000">
            <a:off x="-87784" y="4037959"/>
            <a:ext cx="788344" cy="30008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9pPr>
          </a:lstStyle>
          <a:p>
            <a:pPr algn="ctr">
              <a:spcBef>
                <a:spcPct val="50000"/>
              </a:spcBef>
            </a:pPr>
            <a:r>
              <a:rPr lang="pt-BR" sz="1350" dirty="0">
                <a:solidFill>
                  <a:srgbClr val="FFFF00"/>
                </a:solidFill>
                <a:latin typeface="Arial" pitchFamily="34" charset="0"/>
              </a:rPr>
              <a:t>Custeio</a:t>
            </a:r>
          </a:p>
        </p:txBody>
      </p:sp>
      <p:graphicFrame>
        <p:nvGraphicFramePr>
          <p:cNvPr id="983407" name="Group 367"/>
          <p:cNvGraphicFramePr>
            <a:graphicFrameLocks noGrp="1"/>
          </p:cNvGraphicFramePr>
          <p:nvPr>
            <p:extLst/>
          </p:nvPr>
        </p:nvGraphicFramePr>
        <p:xfrm>
          <a:off x="854076" y="4566695"/>
          <a:ext cx="7772402" cy="619125"/>
        </p:xfrm>
        <a:graphic>
          <a:graphicData uri="http://schemas.openxmlformats.org/drawingml/2006/table">
            <a:tbl>
              <a:tblPr/>
              <a:tblGrid>
                <a:gridCol w="898525"/>
                <a:gridCol w="1323975"/>
                <a:gridCol w="1143000"/>
                <a:gridCol w="1771651"/>
                <a:gridCol w="1009651"/>
                <a:gridCol w="1625600"/>
              </a:tblGrid>
              <a:tr h="619125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Projeto Técnico</a:t>
                      </a:r>
                    </a:p>
                  </a:txBody>
                  <a:tcPr marL="54000" marR="54000" marT="35117" marB="35117" anchor="ctr" horzOverflow="overflow">
                    <a:lnL w="12700" cap="flat" cmpd="sng" algn="ctr">
                      <a:solidFill>
                        <a:srgbClr val="FF99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99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99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99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6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Análise e Deferimento</a:t>
                      </a:r>
                    </a:p>
                  </a:txBody>
                  <a:tcPr marL="54000" marR="54000" marT="35117" marB="35117" anchor="ctr" horzOverflow="overflow">
                    <a:lnL w="12700" cap="flat" cmpd="sng" algn="ctr">
                      <a:solidFill>
                        <a:srgbClr val="FF99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99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99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99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6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Liberação do Crédito</a:t>
                      </a:r>
                    </a:p>
                  </a:txBody>
                  <a:tcPr marL="54000" marR="54000" marT="35117" marB="35117" anchor="ctr" horzOverflow="overflow">
                    <a:lnL w="12700" cap="flat" cmpd="sng" algn="ctr">
                      <a:solidFill>
                        <a:srgbClr val="FF99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99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99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99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6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Implantação do Projeto ou Aquisição do Bem</a:t>
                      </a:r>
                    </a:p>
                  </a:txBody>
                  <a:tcPr marL="54000" marR="54000" marT="35117" marB="35117" anchor="ctr" horzOverflow="overflow">
                    <a:lnL w="12700" cap="flat" cmpd="sng" algn="ctr">
                      <a:solidFill>
                        <a:srgbClr val="FF99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99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99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99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6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Produção</a:t>
                      </a:r>
                    </a:p>
                  </a:txBody>
                  <a:tcPr marL="54000" marR="54000" marT="35117" marB="35117" anchor="ctr" horzOverflow="overflow">
                    <a:lnL w="12700" cap="flat" cmpd="sng" algn="ctr">
                      <a:solidFill>
                        <a:srgbClr val="FF99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99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99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99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6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Comercialização</a:t>
                      </a:r>
                    </a:p>
                  </a:txBody>
                  <a:tcPr marL="54000" marR="54000" marT="35117" marB="35117" anchor="ctr" horzOverflow="overflow">
                    <a:lnL w="12700" cap="flat" cmpd="sng" algn="ctr">
                      <a:solidFill>
                        <a:srgbClr val="FF99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99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99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99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66"/>
                    </a:solidFill>
                  </a:tcPr>
                </a:tc>
              </a:tr>
            </a:tbl>
          </a:graphicData>
        </a:graphic>
      </p:graphicFrame>
      <p:sp>
        <p:nvSpPr>
          <p:cNvPr id="221239" name="Text Box 129"/>
          <p:cNvSpPr txBox="1">
            <a:spLocks noChangeArrowheads="1"/>
          </p:cNvSpPr>
          <p:nvPr/>
        </p:nvSpPr>
        <p:spPr bwMode="auto">
          <a:xfrm rot="-5400000">
            <a:off x="-46234" y="4597933"/>
            <a:ext cx="660797" cy="5078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40500" rIns="40500">
            <a:spAutoFit/>
          </a:bodyPr>
          <a:lstStyle>
            <a:lvl1pPr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9pPr>
          </a:lstStyle>
          <a:p>
            <a:pPr algn="ctr">
              <a:spcBef>
                <a:spcPct val="50000"/>
              </a:spcBef>
            </a:pPr>
            <a:r>
              <a:rPr lang="pt-BR" sz="1350" dirty="0" err="1">
                <a:solidFill>
                  <a:srgbClr val="FFFF00"/>
                </a:solidFill>
                <a:latin typeface="Arial" pitchFamily="34" charset="0"/>
              </a:rPr>
              <a:t>Investi-mento</a:t>
            </a:r>
            <a:endParaRPr lang="pt-BR" sz="1350" dirty="0">
              <a:solidFill>
                <a:srgbClr val="FFFF00"/>
              </a:solidFill>
              <a:latin typeface="Arial" pitchFamily="34" charset="0"/>
            </a:endParaRPr>
          </a:p>
        </p:txBody>
      </p:sp>
      <p:graphicFrame>
        <p:nvGraphicFramePr>
          <p:cNvPr id="983418" name="Group 378"/>
          <p:cNvGraphicFramePr>
            <a:graphicFrameLocks noGrp="1"/>
          </p:cNvGraphicFramePr>
          <p:nvPr>
            <p:extLst/>
          </p:nvPr>
        </p:nvGraphicFramePr>
        <p:xfrm>
          <a:off x="860425" y="5292974"/>
          <a:ext cx="7772400" cy="435864"/>
        </p:xfrm>
        <a:graphic>
          <a:graphicData uri="http://schemas.openxmlformats.org/drawingml/2006/table">
            <a:tbl>
              <a:tblPr/>
              <a:tblGrid>
                <a:gridCol w="898525"/>
                <a:gridCol w="1146175"/>
                <a:gridCol w="1038225"/>
                <a:gridCol w="1247775"/>
                <a:gridCol w="1819275"/>
                <a:gridCol w="1622425"/>
              </a:tblGrid>
              <a:tr h="435864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Colheita</a:t>
                      </a:r>
                    </a:p>
                  </a:txBody>
                  <a:tcPr marL="54000" marR="54000" marT="35052" marB="35052" anchor="ctr" horzOverflow="overflow">
                    <a:lnL w="12700" cap="flat" cmpd="sng" algn="ctr">
                      <a:solidFill>
                        <a:srgbClr val="FF99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99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99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99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6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Depósito do Produto</a:t>
                      </a:r>
                    </a:p>
                  </a:txBody>
                  <a:tcPr marL="54000" marR="54000" marT="35052" marB="35052" anchor="ctr" horzOverflow="overflow">
                    <a:lnL w="12700" cap="flat" cmpd="sng" algn="ctr">
                      <a:solidFill>
                        <a:srgbClr val="FF99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99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99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99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6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Proposta ao Banco</a:t>
                      </a:r>
                    </a:p>
                  </a:txBody>
                  <a:tcPr marL="54000" marR="54000" marT="35052" marB="35052" anchor="ctr" horzOverflow="overflow">
                    <a:lnL w="12700" cap="flat" cmpd="sng" algn="ctr">
                      <a:solidFill>
                        <a:srgbClr val="FF99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99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99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99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6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Liberação do Crédito</a:t>
                      </a:r>
                    </a:p>
                  </a:txBody>
                  <a:tcPr marL="54000" marR="54000" marT="35052" marB="35052" anchor="ctr" horzOverflow="overflow">
                    <a:lnL w="12700" cap="flat" cmpd="sng" algn="ctr">
                      <a:solidFill>
                        <a:srgbClr val="FF99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99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99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99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6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Liquidação do Crédito de Custeio</a:t>
                      </a:r>
                    </a:p>
                  </a:txBody>
                  <a:tcPr marL="54000" marR="54000" marT="35052" marB="35052" anchor="ctr" horzOverflow="overflow">
                    <a:lnL w="12700" cap="flat" cmpd="sng" algn="ctr">
                      <a:solidFill>
                        <a:srgbClr val="FF99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99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99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99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6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Venda do Produto</a:t>
                      </a:r>
                    </a:p>
                  </a:txBody>
                  <a:tcPr marL="54000" marR="54000" marT="35052" marB="35052" anchor="ctr" horzOverflow="overflow">
                    <a:lnL w="12700" cap="flat" cmpd="sng" algn="ctr">
                      <a:solidFill>
                        <a:srgbClr val="FF99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99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99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99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66"/>
                    </a:solidFill>
                  </a:tcPr>
                </a:tc>
              </a:tr>
            </a:tbl>
          </a:graphicData>
        </a:graphic>
      </p:graphicFrame>
      <p:sp>
        <p:nvSpPr>
          <p:cNvPr id="221257" name="Line 204"/>
          <p:cNvSpPr>
            <a:spLocks noChangeShapeType="1"/>
          </p:cNvSpPr>
          <p:nvPr/>
        </p:nvSpPr>
        <p:spPr bwMode="auto">
          <a:xfrm flipV="1">
            <a:off x="4257675" y="3183189"/>
            <a:ext cx="0" cy="245269"/>
          </a:xfrm>
          <a:prstGeom prst="line">
            <a:avLst/>
          </a:prstGeom>
          <a:noFill/>
          <a:ln w="38100">
            <a:solidFill>
              <a:srgbClr val="FFFF00"/>
            </a:solidFill>
            <a:round/>
            <a:headEnd type="triangle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pt-BR" sz="1350">
              <a:solidFill>
                <a:schemeClr val="accent1">
                  <a:lumMod val="20000"/>
                  <a:lumOff val="80000"/>
                </a:schemeClr>
              </a:solidFill>
            </a:endParaRPr>
          </a:p>
        </p:txBody>
      </p:sp>
      <p:sp>
        <p:nvSpPr>
          <p:cNvPr id="221256" name="Text Box 183"/>
          <p:cNvSpPr txBox="1">
            <a:spLocks noChangeArrowheads="1"/>
          </p:cNvSpPr>
          <p:nvPr/>
        </p:nvSpPr>
        <p:spPr bwMode="auto">
          <a:xfrm rot="-5400000">
            <a:off x="-113505" y="5288727"/>
            <a:ext cx="804863" cy="48474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40500" rIns="40500">
            <a:spAutoFit/>
          </a:bodyPr>
          <a:lstStyle>
            <a:lvl1pPr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9pPr>
          </a:lstStyle>
          <a:p>
            <a:pPr algn="ctr">
              <a:spcBef>
                <a:spcPct val="50000"/>
              </a:spcBef>
            </a:pPr>
            <a:r>
              <a:rPr lang="pt-BR" sz="1275">
                <a:solidFill>
                  <a:srgbClr val="FFFF00"/>
                </a:solidFill>
                <a:latin typeface="Arial" pitchFamily="34" charset="0"/>
              </a:rPr>
              <a:t>Comer-cialização</a:t>
            </a:r>
          </a:p>
        </p:txBody>
      </p:sp>
      <p:sp>
        <p:nvSpPr>
          <p:cNvPr id="221258" name="Rectangle 270"/>
          <p:cNvSpPr>
            <a:spLocks noChangeArrowheads="1"/>
          </p:cNvSpPr>
          <p:nvPr/>
        </p:nvSpPr>
        <p:spPr bwMode="auto">
          <a:xfrm>
            <a:off x="6376989" y="3428457"/>
            <a:ext cx="1409700" cy="431006"/>
          </a:xfrm>
          <a:prstGeom prst="rect">
            <a:avLst/>
          </a:prstGeom>
          <a:solidFill>
            <a:srgbClr val="00FFFF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/>
            <a:r>
              <a:rPr lang="pt-BR" sz="1500">
                <a:solidFill>
                  <a:schemeClr val="accent1">
                    <a:lumMod val="20000"/>
                    <a:lumOff val="80000"/>
                  </a:schemeClr>
                </a:solidFill>
              </a:rPr>
              <a:t> </a:t>
            </a:r>
          </a:p>
        </p:txBody>
      </p:sp>
      <p:sp>
        <p:nvSpPr>
          <p:cNvPr id="221259" name="Text Box 26"/>
          <p:cNvSpPr txBox="1">
            <a:spLocks noChangeArrowheads="1"/>
          </p:cNvSpPr>
          <p:nvPr/>
        </p:nvSpPr>
        <p:spPr bwMode="auto">
          <a:xfrm>
            <a:off x="6248402" y="3496323"/>
            <a:ext cx="1697039" cy="3231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9pPr>
          </a:lstStyle>
          <a:p>
            <a:pPr algn="ctr">
              <a:spcBef>
                <a:spcPct val="50000"/>
              </a:spcBef>
            </a:pPr>
            <a:r>
              <a:rPr lang="pt-BR" sz="1500" b="1" dirty="0">
                <a:solidFill>
                  <a:srgbClr val="002060"/>
                </a:solidFill>
                <a:latin typeface="Arial" pitchFamily="34" charset="0"/>
              </a:rPr>
              <a:t>Pagamento</a:t>
            </a:r>
          </a:p>
        </p:txBody>
      </p:sp>
      <p:sp>
        <p:nvSpPr>
          <p:cNvPr id="221260" name="Rectangle 271"/>
          <p:cNvSpPr>
            <a:spLocks noChangeArrowheads="1"/>
          </p:cNvSpPr>
          <p:nvPr/>
        </p:nvSpPr>
        <p:spPr bwMode="auto">
          <a:xfrm>
            <a:off x="752475" y="3429648"/>
            <a:ext cx="1409700" cy="431006"/>
          </a:xfrm>
          <a:prstGeom prst="rect">
            <a:avLst/>
          </a:prstGeom>
          <a:solidFill>
            <a:schemeClr val="hlink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/>
            <a:r>
              <a:rPr lang="pt-BR" sz="1500">
                <a:solidFill>
                  <a:schemeClr val="accent1">
                    <a:lumMod val="20000"/>
                    <a:lumOff val="80000"/>
                  </a:schemeClr>
                </a:solidFill>
              </a:rPr>
              <a:t> </a:t>
            </a:r>
          </a:p>
        </p:txBody>
      </p:sp>
      <p:sp>
        <p:nvSpPr>
          <p:cNvPr id="221261" name="Text Box 24"/>
          <p:cNvSpPr txBox="1">
            <a:spLocks noChangeArrowheads="1"/>
          </p:cNvSpPr>
          <p:nvPr/>
        </p:nvSpPr>
        <p:spPr bwMode="auto">
          <a:xfrm>
            <a:off x="762001" y="3393927"/>
            <a:ext cx="1409700" cy="553998"/>
          </a:xfrm>
          <a:prstGeom prst="rect">
            <a:avLst/>
          </a:prstGeom>
          <a:solidFill>
            <a:srgbClr val="00FFFF"/>
          </a:solidFill>
          <a:ln>
            <a:noFill/>
          </a:ln>
          <a:extLst/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9pPr>
          </a:lstStyle>
          <a:p>
            <a:pPr algn="ctr">
              <a:spcBef>
                <a:spcPct val="50000"/>
              </a:spcBef>
            </a:pPr>
            <a:r>
              <a:rPr lang="pt-BR" sz="1500" b="1">
                <a:solidFill>
                  <a:srgbClr val="002060"/>
                </a:solidFill>
                <a:latin typeface="Arial" pitchFamily="34" charset="0"/>
              </a:rPr>
              <a:t>Cliente/ Produtor</a:t>
            </a:r>
          </a:p>
        </p:txBody>
      </p:sp>
      <p:sp>
        <p:nvSpPr>
          <p:cNvPr id="221262" name="Line 272"/>
          <p:cNvSpPr>
            <a:spLocks noChangeShapeType="1"/>
          </p:cNvSpPr>
          <p:nvPr/>
        </p:nvSpPr>
        <p:spPr bwMode="auto">
          <a:xfrm flipH="1">
            <a:off x="2162176" y="3667771"/>
            <a:ext cx="1390651" cy="0"/>
          </a:xfrm>
          <a:prstGeom prst="line">
            <a:avLst/>
          </a:prstGeom>
          <a:noFill/>
          <a:ln w="38100">
            <a:solidFill>
              <a:srgbClr val="FFFF00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pt-BR" sz="1350">
              <a:solidFill>
                <a:schemeClr val="accent1">
                  <a:lumMod val="20000"/>
                  <a:lumOff val="80000"/>
                </a:schemeClr>
              </a:solidFill>
            </a:endParaRPr>
          </a:p>
        </p:txBody>
      </p:sp>
      <p:sp>
        <p:nvSpPr>
          <p:cNvPr id="221263" name="Line 273"/>
          <p:cNvSpPr>
            <a:spLocks noChangeShapeType="1"/>
          </p:cNvSpPr>
          <p:nvPr/>
        </p:nvSpPr>
        <p:spPr bwMode="auto">
          <a:xfrm flipH="1">
            <a:off x="4968876" y="3659436"/>
            <a:ext cx="1390651" cy="0"/>
          </a:xfrm>
          <a:prstGeom prst="line">
            <a:avLst/>
          </a:prstGeom>
          <a:noFill/>
          <a:ln w="38100">
            <a:solidFill>
              <a:srgbClr val="FFFF00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pt-BR" sz="1350">
              <a:solidFill>
                <a:schemeClr val="accent1">
                  <a:lumMod val="20000"/>
                  <a:lumOff val="80000"/>
                </a:schemeClr>
              </a:solidFill>
            </a:endParaRPr>
          </a:p>
        </p:txBody>
      </p:sp>
      <p:sp>
        <p:nvSpPr>
          <p:cNvPr id="221264" name="Line 274"/>
          <p:cNvSpPr>
            <a:spLocks noChangeShapeType="1"/>
          </p:cNvSpPr>
          <p:nvPr/>
        </p:nvSpPr>
        <p:spPr bwMode="auto">
          <a:xfrm flipV="1">
            <a:off x="548553" y="3672534"/>
            <a:ext cx="0" cy="1837134"/>
          </a:xfrm>
          <a:prstGeom prst="line">
            <a:avLst/>
          </a:prstGeom>
          <a:noFill/>
          <a:ln w="38100">
            <a:solidFill>
              <a:srgbClr val="FFFF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pt-BR" sz="1350">
              <a:solidFill>
                <a:srgbClr val="FFFF00"/>
              </a:solidFill>
            </a:endParaRPr>
          </a:p>
        </p:txBody>
      </p:sp>
      <p:sp>
        <p:nvSpPr>
          <p:cNvPr id="221265" name="Line 275"/>
          <p:cNvSpPr>
            <a:spLocks noChangeShapeType="1"/>
          </p:cNvSpPr>
          <p:nvPr/>
        </p:nvSpPr>
        <p:spPr bwMode="auto">
          <a:xfrm>
            <a:off x="542926" y="5495383"/>
            <a:ext cx="323851" cy="2381"/>
          </a:xfrm>
          <a:prstGeom prst="line">
            <a:avLst/>
          </a:prstGeom>
          <a:noFill/>
          <a:ln w="38100">
            <a:solidFill>
              <a:srgbClr val="FFFF00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pt-BR" sz="1350">
              <a:solidFill>
                <a:srgbClr val="FFFF00"/>
              </a:solidFill>
            </a:endParaRPr>
          </a:p>
        </p:txBody>
      </p:sp>
      <p:sp>
        <p:nvSpPr>
          <p:cNvPr id="221266" name="Line 276"/>
          <p:cNvSpPr>
            <a:spLocks noChangeShapeType="1"/>
          </p:cNvSpPr>
          <p:nvPr/>
        </p:nvSpPr>
        <p:spPr bwMode="auto">
          <a:xfrm flipV="1">
            <a:off x="8975725" y="3667771"/>
            <a:ext cx="0" cy="1837134"/>
          </a:xfrm>
          <a:prstGeom prst="line">
            <a:avLst/>
          </a:prstGeom>
          <a:noFill/>
          <a:ln w="38100">
            <a:solidFill>
              <a:srgbClr val="FFFF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pt-BR" sz="1350"/>
          </a:p>
        </p:txBody>
      </p:sp>
      <p:sp>
        <p:nvSpPr>
          <p:cNvPr id="221267" name="Line 277"/>
          <p:cNvSpPr>
            <a:spLocks noChangeShapeType="1"/>
          </p:cNvSpPr>
          <p:nvPr/>
        </p:nvSpPr>
        <p:spPr bwMode="auto">
          <a:xfrm flipH="1">
            <a:off x="546101" y="3667771"/>
            <a:ext cx="203200" cy="0"/>
          </a:xfrm>
          <a:prstGeom prst="line">
            <a:avLst/>
          </a:prstGeom>
          <a:noFill/>
          <a:ln w="38100">
            <a:solidFill>
              <a:srgbClr val="FFFF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pt-BR" sz="1350">
              <a:solidFill>
                <a:srgbClr val="FFFF00"/>
              </a:solidFill>
            </a:endParaRPr>
          </a:p>
        </p:txBody>
      </p:sp>
      <p:sp>
        <p:nvSpPr>
          <p:cNvPr id="221268" name="Line 278"/>
          <p:cNvSpPr>
            <a:spLocks noChangeShapeType="1"/>
          </p:cNvSpPr>
          <p:nvPr/>
        </p:nvSpPr>
        <p:spPr bwMode="auto">
          <a:xfrm>
            <a:off x="542926" y="4261895"/>
            <a:ext cx="323851" cy="2381"/>
          </a:xfrm>
          <a:prstGeom prst="line">
            <a:avLst/>
          </a:prstGeom>
          <a:noFill/>
          <a:ln w="38100">
            <a:solidFill>
              <a:srgbClr val="FFFF00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pt-BR" sz="1350">
              <a:solidFill>
                <a:srgbClr val="FFFF00"/>
              </a:solidFill>
            </a:endParaRPr>
          </a:p>
        </p:txBody>
      </p:sp>
      <p:sp>
        <p:nvSpPr>
          <p:cNvPr id="221269" name="Line 279"/>
          <p:cNvSpPr>
            <a:spLocks noChangeShapeType="1"/>
          </p:cNvSpPr>
          <p:nvPr/>
        </p:nvSpPr>
        <p:spPr bwMode="auto">
          <a:xfrm>
            <a:off x="542926" y="4871495"/>
            <a:ext cx="323851" cy="2381"/>
          </a:xfrm>
          <a:prstGeom prst="line">
            <a:avLst/>
          </a:prstGeom>
          <a:noFill/>
          <a:ln w="38100">
            <a:solidFill>
              <a:srgbClr val="FFFF00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pt-BR" sz="1350">
              <a:solidFill>
                <a:srgbClr val="FFFF00"/>
              </a:solidFill>
            </a:endParaRPr>
          </a:p>
        </p:txBody>
      </p:sp>
      <p:sp>
        <p:nvSpPr>
          <p:cNvPr id="221270" name="Line 280"/>
          <p:cNvSpPr>
            <a:spLocks noChangeShapeType="1"/>
          </p:cNvSpPr>
          <p:nvPr/>
        </p:nvSpPr>
        <p:spPr bwMode="auto">
          <a:xfrm>
            <a:off x="8629651" y="5504905"/>
            <a:ext cx="361951" cy="0"/>
          </a:xfrm>
          <a:prstGeom prst="line">
            <a:avLst/>
          </a:prstGeom>
          <a:noFill/>
          <a:ln w="38100">
            <a:solidFill>
              <a:srgbClr val="FFFF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pt-BR" sz="1350"/>
          </a:p>
        </p:txBody>
      </p:sp>
      <p:sp>
        <p:nvSpPr>
          <p:cNvPr id="221271" name="Line 281"/>
          <p:cNvSpPr>
            <a:spLocks noChangeShapeType="1"/>
          </p:cNvSpPr>
          <p:nvPr/>
        </p:nvSpPr>
        <p:spPr bwMode="auto">
          <a:xfrm>
            <a:off x="8629651" y="4261893"/>
            <a:ext cx="361951" cy="0"/>
          </a:xfrm>
          <a:prstGeom prst="line">
            <a:avLst/>
          </a:prstGeom>
          <a:noFill/>
          <a:ln w="38100">
            <a:solidFill>
              <a:srgbClr val="FFFF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pt-BR" sz="1350"/>
          </a:p>
        </p:txBody>
      </p:sp>
      <p:sp>
        <p:nvSpPr>
          <p:cNvPr id="221272" name="Line 282"/>
          <p:cNvSpPr>
            <a:spLocks noChangeShapeType="1"/>
          </p:cNvSpPr>
          <p:nvPr/>
        </p:nvSpPr>
        <p:spPr bwMode="auto">
          <a:xfrm>
            <a:off x="8623302" y="4890543"/>
            <a:ext cx="361951" cy="0"/>
          </a:xfrm>
          <a:prstGeom prst="line">
            <a:avLst/>
          </a:prstGeom>
          <a:noFill/>
          <a:ln w="38100">
            <a:solidFill>
              <a:srgbClr val="FFFF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pt-BR" sz="1350"/>
          </a:p>
        </p:txBody>
      </p:sp>
      <p:sp>
        <p:nvSpPr>
          <p:cNvPr id="221273" name="Line 283"/>
          <p:cNvSpPr>
            <a:spLocks noChangeShapeType="1"/>
          </p:cNvSpPr>
          <p:nvPr/>
        </p:nvSpPr>
        <p:spPr bwMode="auto">
          <a:xfrm>
            <a:off x="7772400" y="3667771"/>
            <a:ext cx="1219200" cy="0"/>
          </a:xfrm>
          <a:prstGeom prst="line">
            <a:avLst/>
          </a:prstGeom>
          <a:noFill/>
          <a:ln w="38100">
            <a:solidFill>
              <a:srgbClr val="FFFF00"/>
            </a:solidFill>
            <a:round/>
            <a:headEnd type="triangle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pt-BR" sz="1350"/>
          </a:p>
        </p:txBody>
      </p:sp>
      <p:sp>
        <p:nvSpPr>
          <p:cNvPr id="46" name="Text Box 14"/>
          <p:cNvSpPr txBox="1">
            <a:spLocks noChangeArrowheads="1"/>
          </p:cNvSpPr>
          <p:nvPr/>
        </p:nvSpPr>
        <p:spPr bwMode="auto">
          <a:xfrm>
            <a:off x="6372200" y="1795608"/>
            <a:ext cx="1295400" cy="3231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9pPr>
          </a:lstStyle>
          <a:p>
            <a:pPr algn="ctr">
              <a:spcBef>
                <a:spcPct val="50000"/>
              </a:spcBef>
            </a:pPr>
            <a:r>
              <a:rPr lang="pt-BR" sz="1500" dirty="0">
                <a:solidFill>
                  <a:schemeClr val="tx2"/>
                </a:solidFill>
                <a:latin typeface="Arial" pitchFamily="34" charset="0"/>
              </a:rPr>
              <a:t>BNDES</a:t>
            </a:r>
          </a:p>
        </p:txBody>
      </p:sp>
    </p:spTree>
    <p:extLst>
      <p:ext uri="{BB962C8B-B14F-4D97-AF65-F5344CB8AC3E}">
        <p14:creationId xmlns:p14="http://schemas.microsoft.com/office/powerpoint/2010/main" val="2408968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in)">
                                      <p:cBhvr>
                                        <p:cTn id="7" dur="2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4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11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in)">
                                      <p:cBhvr>
                                        <p:cTn id="10" dur="2000"/>
                                        <p:tgtEl>
                                          <p:spTgt spid="22118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4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118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in)">
                                      <p:cBhvr>
                                        <p:cTn id="13" dur="2000"/>
                                        <p:tgtEl>
                                          <p:spTgt spid="22118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4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11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in)">
                                      <p:cBhvr>
                                        <p:cTn id="16" dur="2000"/>
                                        <p:tgtEl>
                                          <p:spTgt spid="22119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4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119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in)">
                                      <p:cBhvr>
                                        <p:cTn id="19" dur="2000"/>
                                        <p:tgtEl>
                                          <p:spTgt spid="22119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4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11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in)">
                                      <p:cBhvr>
                                        <p:cTn id="22" dur="2000"/>
                                        <p:tgtEl>
                                          <p:spTgt spid="22119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4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119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in)">
                                      <p:cBhvr>
                                        <p:cTn id="25" dur="2000"/>
                                        <p:tgtEl>
                                          <p:spTgt spid="22119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4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11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in)">
                                      <p:cBhvr>
                                        <p:cTn id="28" dur="2000"/>
                                        <p:tgtEl>
                                          <p:spTgt spid="22119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4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119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in)">
                                      <p:cBhvr>
                                        <p:cTn id="31" dur="2000"/>
                                        <p:tgtEl>
                                          <p:spTgt spid="22119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4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119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in)">
                                      <p:cBhvr>
                                        <p:cTn id="34" dur="2000"/>
                                        <p:tgtEl>
                                          <p:spTgt spid="22119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4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119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in)">
                                      <p:cBhvr>
                                        <p:cTn id="37" dur="2000"/>
                                        <p:tgtEl>
                                          <p:spTgt spid="22119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4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119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in)">
                                      <p:cBhvr>
                                        <p:cTn id="40" dur="2000"/>
                                        <p:tgtEl>
                                          <p:spTgt spid="22119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" presetID="4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119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in)">
                                      <p:cBhvr>
                                        <p:cTn id="43" dur="2000"/>
                                        <p:tgtEl>
                                          <p:spTgt spid="22119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4" presetID="4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120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in)">
                                      <p:cBhvr>
                                        <p:cTn id="46" dur="2000"/>
                                        <p:tgtEl>
                                          <p:spTgt spid="22120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7" presetID="4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120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in)">
                                      <p:cBhvr>
                                        <p:cTn id="49" dur="2000"/>
                                        <p:tgtEl>
                                          <p:spTgt spid="22120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0" presetID="4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120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in)">
                                      <p:cBhvr>
                                        <p:cTn id="52" dur="2000"/>
                                        <p:tgtEl>
                                          <p:spTgt spid="22120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3" presetID="4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120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in)">
                                      <p:cBhvr>
                                        <p:cTn id="55" dur="2000"/>
                                        <p:tgtEl>
                                          <p:spTgt spid="22120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6" presetID="4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120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in)">
                                      <p:cBhvr>
                                        <p:cTn id="58" dur="2000"/>
                                        <p:tgtEl>
                                          <p:spTgt spid="22120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9" presetID="4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120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in)">
                                      <p:cBhvr>
                                        <p:cTn id="61" dur="2000"/>
                                        <p:tgtEl>
                                          <p:spTgt spid="22120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2" presetID="4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834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in)">
                                      <p:cBhvr>
                                        <p:cTn id="64" dur="2000"/>
                                        <p:tgtEl>
                                          <p:spTgt spid="9834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5" presetID="4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12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in)">
                                      <p:cBhvr>
                                        <p:cTn id="67" dur="2000"/>
                                        <p:tgtEl>
                                          <p:spTgt spid="2212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8" presetID="4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8340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in)">
                                      <p:cBhvr>
                                        <p:cTn id="70" dur="2000"/>
                                        <p:tgtEl>
                                          <p:spTgt spid="98340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1" presetID="4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12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in)">
                                      <p:cBhvr>
                                        <p:cTn id="73" dur="2000"/>
                                        <p:tgtEl>
                                          <p:spTgt spid="2212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4" presetID="4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834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in)">
                                      <p:cBhvr>
                                        <p:cTn id="76" dur="2000"/>
                                        <p:tgtEl>
                                          <p:spTgt spid="9834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7" presetID="4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12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in)">
                                      <p:cBhvr>
                                        <p:cTn id="79" dur="2000"/>
                                        <p:tgtEl>
                                          <p:spTgt spid="22125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0" presetID="4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12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in)">
                                      <p:cBhvr>
                                        <p:cTn id="82" dur="2000"/>
                                        <p:tgtEl>
                                          <p:spTgt spid="22125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3" presetID="4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12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in)">
                                      <p:cBhvr>
                                        <p:cTn id="85" dur="2000"/>
                                        <p:tgtEl>
                                          <p:spTgt spid="22125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6" presetID="4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12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in)">
                                      <p:cBhvr>
                                        <p:cTn id="88" dur="2000"/>
                                        <p:tgtEl>
                                          <p:spTgt spid="22125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9" presetID="4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12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in)">
                                      <p:cBhvr>
                                        <p:cTn id="91" dur="2000"/>
                                        <p:tgtEl>
                                          <p:spTgt spid="22126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2" presetID="4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12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in)">
                                      <p:cBhvr>
                                        <p:cTn id="94" dur="2000"/>
                                        <p:tgtEl>
                                          <p:spTgt spid="22126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5" presetID="4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12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in)">
                                      <p:cBhvr>
                                        <p:cTn id="97" dur="2000"/>
                                        <p:tgtEl>
                                          <p:spTgt spid="22126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8" presetID="4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12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in)">
                                      <p:cBhvr>
                                        <p:cTn id="100" dur="2000"/>
                                        <p:tgtEl>
                                          <p:spTgt spid="22126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1" presetID="4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12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in)">
                                      <p:cBhvr>
                                        <p:cTn id="103" dur="2000"/>
                                        <p:tgtEl>
                                          <p:spTgt spid="22126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4" presetID="4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12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in)">
                                      <p:cBhvr>
                                        <p:cTn id="106" dur="2000"/>
                                        <p:tgtEl>
                                          <p:spTgt spid="22126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7" presetID="4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12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in)">
                                      <p:cBhvr>
                                        <p:cTn id="109" dur="2000"/>
                                        <p:tgtEl>
                                          <p:spTgt spid="22126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0" presetID="4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12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in)">
                                      <p:cBhvr>
                                        <p:cTn id="112" dur="2000"/>
                                        <p:tgtEl>
                                          <p:spTgt spid="22126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3" presetID="4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12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in)">
                                      <p:cBhvr>
                                        <p:cTn id="115" dur="2000"/>
                                        <p:tgtEl>
                                          <p:spTgt spid="22126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6" presetID="4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12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in)">
                                      <p:cBhvr>
                                        <p:cTn id="118" dur="2000"/>
                                        <p:tgtEl>
                                          <p:spTgt spid="22126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9" presetID="4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12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in)">
                                      <p:cBhvr>
                                        <p:cTn id="121" dur="2000"/>
                                        <p:tgtEl>
                                          <p:spTgt spid="22127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2" presetID="4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12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in)">
                                      <p:cBhvr>
                                        <p:cTn id="124" dur="2000"/>
                                        <p:tgtEl>
                                          <p:spTgt spid="22127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5" presetID="4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12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in)">
                                      <p:cBhvr>
                                        <p:cTn id="127" dur="2000"/>
                                        <p:tgtEl>
                                          <p:spTgt spid="22127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8" presetID="4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12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in)">
                                      <p:cBhvr>
                                        <p:cTn id="130" dur="2000"/>
                                        <p:tgtEl>
                                          <p:spTgt spid="22127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1" presetID="4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in)">
                                      <p:cBhvr>
                                        <p:cTn id="133" dur="20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nimBg="1"/>
      <p:bldP spid="221187" grpId="0" animBg="1"/>
      <p:bldP spid="221189" grpId="0" animBg="1"/>
      <p:bldP spid="221190" grpId="0"/>
      <p:bldP spid="221191" grpId="0"/>
      <p:bldP spid="221192" grpId="0" animBg="1"/>
      <p:bldP spid="221193" grpId="0" animBg="1"/>
      <p:bldP spid="221194" grpId="0" animBg="1"/>
      <p:bldP spid="221195" grpId="0" animBg="1"/>
      <p:bldP spid="221196" grpId="0"/>
      <p:bldP spid="221197" grpId="0"/>
      <p:bldP spid="221198" grpId="0"/>
      <p:bldP spid="221199" grpId="0" animBg="1"/>
      <p:bldP spid="221200" grpId="0" animBg="1"/>
      <p:bldP spid="221201" grpId="0" animBg="1"/>
      <p:bldP spid="221202" grpId="0" animBg="1"/>
      <p:bldP spid="221204" grpId="0" animBg="1"/>
      <p:bldP spid="221203" grpId="0" animBg="1"/>
      <p:bldP spid="221205" grpId="0"/>
      <p:bldP spid="221222" grpId="0"/>
      <p:bldP spid="221239" grpId="0"/>
      <p:bldP spid="221257" grpId="0" animBg="1"/>
      <p:bldP spid="221256" grpId="0"/>
      <p:bldP spid="221258" grpId="0" animBg="1"/>
      <p:bldP spid="221259" grpId="0"/>
      <p:bldP spid="221260" grpId="0" animBg="1"/>
      <p:bldP spid="221261" grpId="0" animBg="1"/>
      <p:bldP spid="221262" grpId="0" animBg="1"/>
      <p:bldP spid="221263" grpId="0" animBg="1"/>
      <p:bldP spid="221264" grpId="0" animBg="1"/>
      <p:bldP spid="221265" grpId="0" animBg="1"/>
      <p:bldP spid="221266" grpId="0" animBg="1"/>
      <p:bldP spid="221267" grpId="0" animBg="1"/>
      <p:bldP spid="221268" grpId="0" animBg="1"/>
      <p:bldP spid="221269" grpId="0" animBg="1"/>
      <p:bldP spid="221270" grpId="0" animBg="1"/>
      <p:bldP spid="221271" grpId="0" animBg="1"/>
      <p:bldP spid="221272" grpId="0" animBg="1"/>
      <p:bldP spid="221273" grpId="0" animBg="1"/>
      <p:bldP spid="46" grpId="0"/>
    </p:bldLst>
  </p:timing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83043" name="Rectangle 3"/>
          <p:cNvSpPr>
            <a:spLocks noChangeArrowheads="1"/>
          </p:cNvSpPr>
          <p:nvPr/>
        </p:nvSpPr>
        <p:spPr bwMode="auto">
          <a:xfrm>
            <a:off x="0" y="897733"/>
            <a:ext cx="9144000" cy="69532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anchor="ctr"/>
          <a:lstStyle/>
          <a:p>
            <a:pPr algn="ctr">
              <a:defRPr/>
            </a:pPr>
            <a:r>
              <a:rPr lang="en-US" sz="2700" b="1" dirty="0" err="1">
                <a:solidFill>
                  <a:schemeClr val="tx2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Tahoma" pitchFamily="34" charset="0"/>
              </a:rPr>
              <a:t>Crédito</a:t>
            </a:r>
            <a:r>
              <a:rPr lang="en-US" sz="2700" b="1" dirty="0">
                <a:solidFill>
                  <a:schemeClr val="tx2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Tahoma" pitchFamily="34" charset="0"/>
              </a:rPr>
              <a:t> Rural – 2016 – R$ </a:t>
            </a:r>
            <a:r>
              <a:rPr lang="en-US" sz="2700" b="1" dirty="0" err="1">
                <a:solidFill>
                  <a:schemeClr val="tx2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Tahoma" pitchFamily="34" charset="0"/>
              </a:rPr>
              <a:t>bilhões</a:t>
            </a:r>
            <a:endParaRPr lang="en-US" sz="2700" b="1" dirty="0">
              <a:solidFill>
                <a:schemeClr val="tx2"/>
              </a:solidFill>
              <a:effectLst>
                <a:outerShdw blurRad="38100" dist="38100" dir="2700000" algn="tl">
                  <a:srgbClr val="C0C0C0"/>
                </a:outerShdw>
              </a:effectLst>
              <a:latin typeface="Tahoma" pitchFamily="34" charset="0"/>
            </a:endParaRPr>
          </a:p>
        </p:txBody>
      </p:sp>
      <p:graphicFrame>
        <p:nvGraphicFramePr>
          <p:cNvPr id="2" name="Tabela 1"/>
          <p:cNvGraphicFramePr>
            <a:graphicFrameLocks noGrp="1"/>
          </p:cNvGraphicFramePr>
          <p:nvPr>
            <p:extLst/>
          </p:nvPr>
        </p:nvGraphicFramePr>
        <p:xfrm>
          <a:off x="251520" y="1556792"/>
          <a:ext cx="8568954" cy="418528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464496"/>
                <a:gridCol w="864096"/>
                <a:gridCol w="792088"/>
                <a:gridCol w="720080"/>
                <a:gridCol w="936104"/>
                <a:gridCol w="792090"/>
              </a:tblGrid>
              <a:tr h="192405">
                <a:tc>
                  <a:txBody>
                    <a:bodyPr/>
                    <a:lstStyle/>
                    <a:p>
                      <a:pPr algn="l" rtl="0" fontAlgn="b"/>
                      <a:r>
                        <a:rPr lang="pt-BR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Fonte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pt-BR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 Custeio 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pt-BR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 </a:t>
                      </a:r>
                      <a:r>
                        <a:rPr lang="pt-BR" sz="12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Invest. </a:t>
                      </a:r>
                      <a:endParaRPr lang="pt-BR" sz="1200" b="1" i="0" u="none" strike="noStrike" dirty="0">
                        <a:solidFill>
                          <a:schemeClr val="bg1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pt-BR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 </a:t>
                      </a:r>
                      <a:r>
                        <a:rPr lang="pt-BR" sz="12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Comerc.</a:t>
                      </a:r>
                      <a:endParaRPr lang="pt-BR" sz="1200" b="1" i="0" u="none" strike="noStrike" dirty="0">
                        <a:solidFill>
                          <a:schemeClr val="bg1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pt-BR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 Industrial 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pt-BR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 Total </a:t>
                      </a:r>
                    </a:p>
                  </a:txBody>
                  <a:tcPr marL="9525" marR="9525" marT="9525" marB="0" anchor="b"/>
                </a:tc>
              </a:tr>
              <a:tr h="375285">
                <a:tc>
                  <a:txBody>
                    <a:bodyPr/>
                    <a:lstStyle/>
                    <a:p>
                      <a:pPr algn="l" rtl="0" fontAlgn="b"/>
                      <a:r>
                        <a:rPr lang="pt-B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POUPANÇA RURAL - CONTROLADOS - SUBVENÇÃO ECONÔMICA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pt-BR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    39,36 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pt-BR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      8,31 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pt-BR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      3,01 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pt-BR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          -   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pt-B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    50,69 </a:t>
                      </a:r>
                    </a:p>
                  </a:txBody>
                  <a:tcPr marL="9525" marR="9525" marT="9525" marB="0" anchor="b"/>
                </a:tc>
              </a:tr>
              <a:tr h="192405">
                <a:tc>
                  <a:txBody>
                    <a:bodyPr/>
                    <a:lstStyle/>
                    <a:p>
                      <a:pPr algn="l" rtl="0" fontAlgn="b"/>
                      <a:r>
                        <a:rPr lang="pt-BR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OBRIGATÓRIOS - MCR 6.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pt-BR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    32,95 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pt-BR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      1,20 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pt-BR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    10,15 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pt-BR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      3,45 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pt-BR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    47,75 </a:t>
                      </a:r>
                    </a:p>
                  </a:txBody>
                  <a:tcPr marL="9525" marR="9525" marT="9525" marB="0" anchor="b"/>
                </a:tc>
              </a:tr>
              <a:tr h="192405">
                <a:tc>
                  <a:txBody>
                    <a:bodyPr/>
                    <a:lstStyle/>
                    <a:p>
                      <a:pPr algn="l" rtl="0" fontAlgn="b"/>
                      <a:r>
                        <a:rPr lang="pt-BR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BNDES/FINAME - EQUALIZÁVEL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pt-BR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      0,58 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pt-BR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    16,34 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pt-BR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           -    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pt-BR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           -    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pt-BR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    16,93 </a:t>
                      </a:r>
                    </a:p>
                  </a:txBody>
                  <a:tcPr marL="9525" marR="9525" marT="9525" marB="0" anchor="b"/>
                </a:tc>
              </a:tr>
              <a:tr h="192405">
                <a:tc>
                  <a:txBody>
                    <a:bodyPr/>
                    <a:lstStyle/>
                    <a:p>
                      <a:pPr algn="l" rtl="0" fontAlgn="b"/>
                      <a:r>
                        <a:rPr lang="pt-B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LETRA DE CRÉDITO DO AGRONEGÓCIO (LCA) - TAXA LIVRE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pt-BR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      4,19 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pt-BR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      0,54 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pt-BR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      7,99 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pt-BR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      0,25 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pt-BR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    12,97 </a:t>
                      </a:r>
                    </a:p>
                  </a:txBody>
                  <a:tcPr marL="9525" marR="9525" marT="9525" marB="0" anchor="b"/>
                </a:tc>
              </a:tr>
              <a:tr h="375285">
                <a:tc>
                  <a:txBody>
                    <a:bodyPr/>
                    <a:lstStyle/>
                    <a:p>
                      <a:pPr algn="l" rtl="0" fontAlgn="b"/>
                      <a:r>
                        <a:rPr lang="pt-BR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FUNDO CONSTITUCIONAL DE FINANCIAMENTO DO NORDESTE (FNE)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pt-BR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      2,19 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pt-BR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      3,61 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pt-BR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      0,08 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pt-BR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           -    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pt-BR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      5,88 </a:t>
                      </a:r>
                    </a:p>
                  </a:txBody>
                  <a:tcPr marL="9525" marR="9525" marT="9525" marB="0" anchor="b"/>
                </a:tc>
              </a:tr>
              <a:tr h="192405">
                <a:tc>
                  <a:txBody>
                    <a:bodyPr/>
                    <a:lstStyle/>
                    <a:p>
                      <a:pPr algn="l" rtl="0" fontAlgn="b"/>
                      <a:r>
                        <a:rPr lang="pt-BR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RECURSOS LIVRES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pt-BR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      2,26 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pt-BR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      1,31 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pt-BR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      1,57 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pt-BR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      0,03 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pt-BR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      5,17 </a:t>
                      </a:r>
                    </a:p>
                  </a:txBody>
                  <a:tcPr marL="9525" marR="9525" marT="9525" marB="0" anchor="b"/>
                </a:tc>
              </a:tr>
              <a:tr h="375285">
                <a:tc>
                  <a:txBody>
                    <a:bodyPr/>
                    <a:lstStyle/>
                    <a:p>
                      <a:pPr algn="l" rtl="0" fontAlgn="b"/>
                      <a:r>
                        <a:rPr lang="pt-BR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LETRA DE CRÉDITO DO AGRONEGÓCIO (LCA) - TAXA FAVORECIDA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pt-BR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      5,01 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pt-BR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           -    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pt-BR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           -    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pt-BR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      0,15 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pt-BR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      5,16 </a:t>
                      </a:r>
                    </a:p>
                  </a:txBody>
                  <a:tcPr marL="9525" marR="9525" marT="9525" marB="0" anchor="b"/>
                </a:tc>
              </a:tr>
              <a:tr h="375285">
                <a:tc>
                  <a:txBody>
                    <a:bodyPr/>
                    <a:lstStyle/>
                    <a:p>
                      <a:pPr algn="l" rtl="0" fontAlgn="b"/>
                      <a:r>
                        <a:rPr lang="pt-BR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FUNDO CONSTITUCIONAL DE FINANCIAMENTO DO CENTRO-OESTE (FCO)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pt-BR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      0,12 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pt-BR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      3,89 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pt-BR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           -    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pt-BR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           -    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pt-BR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      4,00 </a:t>
                      </a:r>
                    </a:p>
                  </a:txBody>
                  <a:tcPr marL="9525" marR="9525" marT="9525" marB="0" anchor="b"/>
                </a:tc>
              </a:tr>
              <a:tr h="192405">
                <a:tc>
                  <a:txBody>
                    <a:bodyPr/>
                    <a:lstStyle/>
                    <a:p>
                      <a:pPr algn="l" rtl="0" fontAlgn="b"/>
                      <a:r>
                        <a:rPr lang="pt-BR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FUNCAFE-FUNDO DE DEFESA DA ECONOMIA CAFEEIRA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pt-BR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      0,58 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pt-BR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      0,05 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pt-BR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      2,32 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pt-BR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           -    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pt-BR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      2,95 </a:t>
                      </a:r>
                    </a:p>
                  </a:txBody>
                  <a:tcPr marL="9525" marR="9525" marT="9525" marB="0" anchor="b"/>
                </a:tc>
              </a:tr>
              <a:tr h="192405">
                <a:tc>
                  <a:txBody>
                    <a:bodyPr/>
                    <a:lstStyle/>
                    <a:p>
                      <a:pPr algn="l" rtl="0" fontAlgn="b"/>
                      <a:r>
                        <a:rPr lang="pt-BR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RECURSOS LIVRES EQUALIZÁVEIS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pt-BR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      1,83 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pt-BR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      0,55 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pt-BR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      0,04 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pt-BR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           -    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pt-BR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      2,42 </a:t>
                      </a:r>
                    </a:p>
                  </a:txBody>
                  <a:tcPr marL="9525" marR="9525" marT="9525" marB="0" anchor="b"/>
                </a:tc>
              </a:tr>
              <a:tr h="192405">
                <a:tc>
                  <a:txBody>
                    <a:bodyPr/>
                    <a:lstStyle/>
                    <a:p>
                      <a:pPr algn="l" rtl="0" fontAlgn="b"/>
                      <a:r>
                        <a:rPr lang="pt-BR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POUPANÇA RURAL - LIVRE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pt-BR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      1,08 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pt-BR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      0,28 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pt-BR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      0,79 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pt-BR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           -    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pt-BR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      2,15 </a:t>
                      </a:r>
                    </a:p>
                  </a:txBody>
                  <a:tcPr marL="9525" marR="9525" marT="9525" marB="0" anchor="b"/>
                </a:tc>
              </a:tr>
              <a:tr h="192405">
                <a:tc>
                  <a:txBody>
                    <a:bodyPr/>
                    <a:lstStyle/>
                    <a:p>
                      <a:pPr algn="l" rtl="0" fontAlgn="b"/>
                      <a:r>
                        <a:rPr lang="pt-BR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CAPTAÇÃO EXTERNA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pt-BR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      1,77 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pt-BR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      0,22 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pt-BR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      0,03 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pt-BR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           -    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pt-BR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      2,02 </a:t>
                      </a:r>
                    </a:p>
                  </a:txBody>
                  <a:tcPr marL="9525" marR="9525" marT="9525" marB="0" anchor="b"/>
                </a:tc>
              </a:tr>
              <a:tr h="375285">
                <a:tc>
                  <a:txBody>
                    <a:bodyPr/>
                    <a:lstStyle/>
                    <a:p>
                      <a:pPr algn="l" rtl="0" fontAlgn="b"/>
                      <a:r>
                        <a:rPr lang="pt-BR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FUNDO CONSTITUCIONAL DE FINANCIAMENTO DO NORTE (FNO)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pt-BR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      0,56 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pt-BR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      1,12 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pt-BR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           -    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pt-BR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      0,02 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pt-BR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      1,70 </a:t>
                      </a:r>
                    </a:p>
                  </a:txBody>
                  <a:tcPr marL="9525" marR="9525" marT="9525" marB="0" anchor="b"/>
                </a:tc>
              </a:tr>
              <a:tr h="192405">
                <a:tc>
                  <a:txBody>
                    <a:bodyPr/>
                    <a:lstStyle/>
                    <a:p>
                      <a:pPr algn="l" rtl="0" fontAlgn="b"/>
                      <a:r>
                        <a:rPr lang="pt-BR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POUPANÇA RURAL - CONTROLADOS - CONDIÇÕES MCR 6.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pt-BR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      1,69 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pt-BR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          -   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pt-BR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           -    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pt-BR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           -    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pt-BR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      1,69 </a:t>
                      </a:r>
                    </a:p>
                  </a:txBody>
                  <a:tcPr marL="9525" marR="9525" marT="9525" marB="0" anchor="b"/>
                </a:tc>
              </a:tr>
              <a:tr h="192405">
                <a:tc>
                  <a:txBody>
                    <a:bodyPr/>
                    <a:lstStyle/>
                    <a:p>
                      <a:pPr algn="l" rtl="0" fontAlgn="b"/>
                      <a:r>
                        <a:rPr lang="pt-B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OUTRAS</a:t>
                      </a:r>
                    </a:p>
                  </a:txBody>
                  <a:tcPr marL="9525" marR="9525" marT="9525" marB="0" anchor="b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pt-B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      0,14 </a:t>
                      </a:r>
                    </a:p>
                  </a:txBody>
                  <a:tcPr marL="9525" marR="9525" marT="9525" marB="0" anchor="b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pt-B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      0,27 </a:t>
                      </a:r>
                    </a:p>
                  </a:txBody>
                  <a:tcPr marL="9525" marR="9525" marT="9525" marB="0" anchor="b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pt-B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          -   </a:t>
                      </a:r>
                    </a:p>
                  </a:txBody>
                  <a:tcPr marL="9525" marR="9525" marT="9525" marB="0" anchor="b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pt-B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          -   </a:t>
                      </a:r>
                    </a:p>
                  </a:txBody>
                  <a:tcPr marL="9525" marR="9525" marT="9525" marB="0" anchor="b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pt-B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      0,41 </a:t>
                      </a:r>
                    </a:p>
                  </a:txBody>
                  <a:tcPr marL="9525" marR="9525" marT="9525" marB="0" anchor="b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92405">
                <a:tc>
                  <a:txBody>
                    <a:bodyPr/>
                    <a:lstStyle/>
                    <a:p>
                      <a:pPr algn="l" rtl="0" fontAlgn="t"/>
                      <a:r>
                        <a:rPr lang="pt-BR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TOTAL</a:t>
                      </a:r>
                      <a:endParaRPr lang="pt-BR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525" marR="9525" marT="9525" marB="0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pt-BR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    94,30 </a:t>
                      </a:r>
                    </a:p>
                  </a:txBody>
                  <a:tcPr marL="9525" marR="9525" marT="9525" marB="0" anchor="b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pt-BR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    37,72 </a:t>
                      </a:r>
                    </a:p>
                  </a:txBody>
                  <a:tcPr marL="9525" marR="9525" marT="9525" marB="0" anchor="b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pt-BR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    25,98 </a:t>
                      </a:r>
                    </a:p>
                  </a:txBody>
                  <a:tcPr marL="9525" marR="9525" marT="9525" marB="0" anchor="b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pt-BR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      3,89 </a:t>
                      </a:r>
                    </a:p>
                  </a:txBody>
                  <a:tcPr marL="9525" marR="9525" marT="9525" marB="0" anchor="b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pt-B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  161,89 </a:t>
                      </a:r>
                    </a:p>
                  </a:txBody>
                  <a:tcPr marL="9525" marR="9525" marT="9525" marB="0" anchor="b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2500068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83043" name="Rectangle 3"/>
          <p:cNvSpPr>
            <a:spLocks noChangeArrowheads="1"/>
          </p:cNvSpPr>
          <p:nvPr/>
        </p:nvSpPr>
        <p:spPr bwMode="auto">
          <a:xfrm>
            <a:off x="0" y="897733"/>
            <a:ext cx="9144000" cy="69532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anchor="ctr"/>
          <a:lstStyle/>
          <a:p>
            <a:pPr algn="ctr">
              <a:defRPr/>
            </a:pPr>
            <a:r>
              <a:rPr lang="en-US" sz="2700" b="1" dirty="0" err="1">
                <a:solidFill>
                  <a:schemeClr val="tx2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Tahoma" pitchFamily="34" charset="0"/>
              </a:rPr>
              <a:t>Crédito</a:t>
            </a:r>
            <a:r>
              <a:rPr lang="en-US" sz="2700" b="1" dirty="0">
                <a:solidFill>
                  <a:schemeClr val="tx2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Tahoma" pitchFamily="34" charset="0"/>
              </a:rPr>
              <a:t> Rural</a:t>
            </a:r>
          </a:p>
        </p:txBody>
      </p:sp>
      <p:graphicFrame>
        <p:nvGraphicFramePr>
          <p:cNvPr id="3" name="Espaço Reservado para Conteúdo 2"/>
          <p:cNvGraphicFramePr>
            <a:graphicFrameLocks noGrp="1"/>
          </p:cNvGraphicFramePr>
          <p:nvPr>
            <p:ph sz="quarter" idx="13"/>
            <p:extLst>
              <p:ext uri="{D42A27DB-BD31-4B8C-83A1-F6EECF244321}">
                <p14:modId xmlns:p14="http://schemas.microsoft.com/office/powerpoint/2010/main" val="113530364"/>
              </p:ext>
            </p:extLst>
          </p:nvPr>
        </p:nvGraphicFramePr>
        <p:xfrm>
          <a:off x="503605" y="2348880"/>
          <a:ext cx="8136790" cy="41044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575253"/>
                <a:gridCol w="2561537"/>
              </a:tblGrid>
              <a:tr h="554656">
                <a:tc>
                  <a:txBody>
                    <a:bodyPr/>
                    <a:lstStyle/>
                    <a:p>
                      <a:r>
                        <a:rPr lang="pt-BR" sz="2800" dirty="0" smtClean="0">
                          <a:latin typeface="Arial" pitchFamily="34" charset="0"/>
                          <a:cs typeface="Arial" pitchFamily="34" charset="0"/>
                        </a:rPr>
                        <a:t>Finalidade</a:t>
                      </a:r>
                      <a:endParaRPr lang="pt-BR" sz="28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121920" marR="121920"/>
                </a:tc>
                <a:tc>
                  <a:txBody>
                    <a:bodyPr/>
                    <a:lstStyle/>
                    <a:p>
                      <a:r>
                        <a:rPr lang="pt-BR" sz="2800" dirty="0" smtClean="0">
                          <a:latin typeface="Arial" pitchFamily="34" charset="0"/>
                          <a:cs typeface="Arial" pitchFamily="34" charset="0"/>
                        </a:rPr>
                        <a:t>R$ Bilhões</a:t>
                      </a:r>
                      <a:endParaRPr lang="pt-BR" sz="28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121920" marR="121920"/>
                </a:tc>
              </a:tr>
              <a:tr h="998381">
                <a:tc>
                  <a:txBody>
                    <a:bodyPr/>
                    <a:lstStyle/>
                    <a:p>
                      <a:r>
                        <a:rPr lang="pt-BR" sz="2800" dirty="0" smtClean="0">
                          <a:latin typeface="Arial" pitchFamily="34" charset="0"/>
                          <a:cs typeface="Arial" pitchFamily="34" charset="0"/>
                        </a:rPr>
                        <a:t>Custeio e Comercialização (Recursos Controlados)</a:t>
                      </a:r>
                      <a:endParaRPr lang="pt-BR" sz="28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121920" marR="121920"/>
                </a:tc>
                <a:tc>
                  <a:txBody>
                    <a:bodyPr/>
                    <a:lstStyle/>
                    <a:p>
                      <a:r>
                        <a:rPr lang="pt-BR" sz="2800" dirty="0" smtClean="0">
                          <a:latin typeface="Arial" pitchFamily="34" charset="0"/>
                          <a:cs typeface="Arial" pitchFamily="34" charset="0"/>
                        </a:rPr>
                        <a:t>      115,8</a:t>
                      </a:r>
                      <a:endParaRPr lang="pt-BR" sz="28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121920" marR="121920" anchor="ctr"/>
                </a:tc>
              </a:tr>
              <a:tr h="998381">
                <a:tc>
                  <a:txBody>
                    <a:bodyPr/>
                    <a:lstStyle/>
                    <a:p>
                      <a:r>
                        <a:rPr lang="pt-BR" sz="2800" dirty="0" smtClean="0">
                          <a:latin typeface="Arial" pitchFamily="34" charset="0"/>
                          <a:cs typeface="Arial" pitchFamily="34" charset="0"/>
                        </a:rPr>
                        <a:t>Custeio e Comercialização (recursos Livres)</a:t>
                      </a:r>
                      <a:endParaRPr lang="pt-BR" sz="28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121920" marR="121920"/>
                </a:tc>
                <a:tc>
                  <a:txBody>
                    <a:bodyPr/>
                    <a:lstStyle/>
                    <a:p>
                      <a:r>
                        <a:rPr lang="pt-BR" sz="2800" dirty="0" smtClean="0">
                          <a:latin typeface="Arial" pitchFamily="34" charset="0"/>
                          <a:cs typeface="Arial" pitchFamily="34" charset="0"/>
                        </a:rPr>
                        <a:t>        53,0</a:t>
                      </a:r>
                      <a:endParaRPr lang="pt-BR" sz="28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121920" marR="121920" anchor="ctr"/>
                </a:tc>
              </a:tr>
              <a:tr h="998381">
                <a:tc>
                  <a:txBody>
                    <a:bodyPr/>
                    <a:lstStyle/>
                    <a:p>
                      <a:r>
                        <a:rPr lang="pt-BR" sz="2800" dirty="0" smtClean="0">
                          <a:latin typeface="Arial" pitchFamily="34" charset="0"/>
                          <a:cs typeface="Arial" pitchFamily="34" charset="0"/>
                        </a:rPr>
                        <a:t>Investimentos (Recursos Controlados</a:t>
                      </a:r>
                      <a:r>
                        <a:rPr lang="pt-BR" sz="2800" baseline="0" dirty="0" smtClean="0">
                          <a:latin typeface="Arial" pitchFamily="34" charset="0"/>
                          <a:cs typeface="Arial" pitchFamily="34" charset="0"/>
                        </a:rPr>
                        <a:t> e Livres)</a:t>
                      </a:r>
                      <a:endParaRPr lang="pt-BR" sz="28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121920" marR="121920"/>
                </a:tc>
                <a:tc>
                  <a:txBody>
                    <a:bodyPr/>
                    <a:lstStyle/>
                    <a:p>
                      <a:r>
                        <a:rPr lang="pt-BR" sz="2800" dirty="0" smtClean="0">
                          <a:latin typeface="Arial" pitchFamily="34" charset="0"/>
                          <a:cs typeface="Arial" pitchFamily="34" charset="0"/>
                        </a:rPr>
                        <a:t>        34,0</a:t>
                      </a:r>
                      <a:endParaRPr lang="pt-BR" sz="28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121920" marR="121920" anchor="ctr"/>
                </a:tc>
              </a:tr>
              <a:tr h="554656">
                <a:tc>
                  <a:txBody>
                    <a:bodyPr/>
                    <a:lstStyle/>
                    <a:p>
                      <a:r>
                        <a:rPr lang="pt-BR" sz="2800" b="1" dirty="0" smtClean="0">
                          <a:latin typeface="Arial" pitchFamily="34" charset="0"/>
                          <a:cs typeface="Arial" pitchFamily="34" charset="0"/>
                        </a:rPr>
                        <a:t>Total de Recursos</a:t>
                      </a:r>
                      <a:endParaRPr lang="pt-BR" sz="2800" b="1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121920" marR="121920"/>
                </a:tc>
                <a:tc>
                  <a:txBody>
                    <a:bodyPr/>
                    <a:lstStyle/>
                    <a:p>
                      <a:r>
                        <a:rPr lang="pt-BR" sz="2800" b="1" dirty="0" smtClean="0">
                          <a:latin typeface="Arial" pitchFamily="34" charset="0"/>
                          <a:cs typeface="Arial" pitchFamily="34" charset="0"/>
                        </a:rPr>
                        <a:t>      202,8</a:t>
                      </a:r>
                      <a:endParaRPr lang="pt-BR" sz="2800" b="1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121920" marR="121920" anchor="ctr"/>
                </a:tc>
              </a:tr>
            </a:tbl>
          </a:graphicData>
        </a:graphic>
      </p:graphicFrame>
      <p:sp>
        <p:nvSpPr>
          <p:cNvPr id="4" name="CaixaDeTexto 3"/>
          <p:cNvSpPr txBox="1"/>
          <p:nvPr/>
        </p:nvSpPr>
        <p:spPr>
          <a:xfrm>
            <a:off x="635563" y="1599185"/>
            <a:ext cx="777686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2400" dirty="0">
                <a:latin typeface="Arial" pitchFamily="34" charset="0"/>
                <a:cs typeface="Arial" pitchFamily="34" charset="0"/>
              </a:rPr>
              <a:t>Plano Agrícola e Pecuário 2016/2017</a:t>
            </a:r>
          </a:p>
        </p:txBody>
      </p:sp>
    </p:spTree>
    <p:extLst>
      <p:ext uri="{BB962C8B-B14F-4D97-AF65-F5344CB8AC3E}">
        <p14:creationId xmlns:p14="http://schemas.microsoft.com/office/powerpoint/2010/main" val="13581037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098932389"/>
              </p:ext>
            </p:extLst>
          </p:nvPr>
        </p:nvGraphicFramePr>
        <p:xfrm>
          <a:off x="179512" y="260648"/>
          <a:ext cx="5981700" cy="631666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133" name="Imagem de Bitmap" r:id="rId3" imgW="5981760" imgH="6316920" progId="Paint.Picture">
                  <p:embed/>
                </p:oleObj>
              </mc:Choice>
              <mc:Fallback>
                <p:oleObj name="Imagem de Bitmap" r:id="rId3" imgW="5981760" imgH="6316920" progId="Paint.Picture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79512" y="260648"/>
                        <a:ext cx="5981700" cy="631666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aixaDeTexto 2"/>
          <p:cNvSpPr txBox="1"/>
          <p:nvPr/>
        </p:nvSpPr>
        <p:spPr>
          <a:xfrm>
            <a:off x="6372200" y="1124744"/>
            <a:ext cx="2376264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400" dirty="0" smtClean="0"/>
              <a:t>Por quê?</a:t>
            </a:r>
            <a:endParaRPr lang="pt-BR" sz="4400" dirty="0"/>
          </a:p>
        </p:txBody>
      </p:sp>
    </p:spTree>
    <p:extLst>
      <p:ext uri="{BB962C8B-B14F-4D97-AF65-F5344CB8AC3E}">
        <p14:creationId xmlns:p14="http://schemas.microsoft.com/office/powerpoint/2010/main" val="340622875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</p:bldLst>
  </p:timing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2210" name="Título 1"/>
          <p:cNvSpPr>
            <a:spLocks noGrp="1"/>
          </p:cNvSpPr>
          <p:nvPr>
            <p:ph type="ctrTitle"/>
          </p:nvPr>
        </p:nvSpPr>
        <p:spPr>
          <a:xfrm>
            <a:off x="5220072" y="5733256"/>
            <a:ext cx="3643941" cy="576063"/>
          </a:xfrm>
        </p:spPr>
        <p:txBody>
          <a:bodyPr>
            <a:noAutofit/>
          </a:bodyPr>
          <a:lstStyle/>
          <a:p>
            <a:pPr algn="r"/>
            <a:r>
              <a:rPr lang="pt-BR" sz="1800" dirty="0">
                <a:latin typeface="Arial" pitchFamily="34" charset="0"/>
                <a:cs typeface="Arial" pitchFamily="34" charset="0"/>
              </a:rPr>
              <a:t>Total: R$ 161,81 bilhões</a:t>
            </a:r>
          </a:p>
        </p:txBody>
      </p:sp>
      <p:sp>
        <p:nvSpPr>
          <p:cNvPr id="8" name="Rectangle 3"/>
          <p:cNvSpPr>
            <a:spLocks noChangeArrowheads="1"/>
          </p:cNvSpPr>
          <p:nvPr/>
        </p:nvSpPr>
        <p:spPr bwMode="auto">
          <a:xfrm>
            <a:off x="0" y="836713"/>
            <a:ext cx="9144000" cy="479041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anchor="ctr"/>
          <a:lstStyle/>
          <a:p>
            <a:pPr algn="ctr">
              <a:defRPr/>
            </a:pPr>
            <a:r>
              <a:rPr lang="en-US" sz="2700" b="1" dirty="0" err="1">
                <a:solidFill>
                  <a:schemeClr val="tx2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Tahoma" pitchFamily="34" charset="0"/>
              </a:rPr>
              <a:t>Crédito</a:t>
            </a:r>
            <a:r>
              <a:rPr lang="en-US" sz="2700" b="1" dirty="0">
                <a:solidFill>
                  <a:schemeClr val="tx2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Tahoma" pitchFamily="34" charset="0"/>
              </a:rPr>
              <a:t> Rural</a:t>
            </a:r>
          </a:p>
        </p:txBody>
      </p:sp>
      <p:graphicFrame>
        <p:nvGraphicFramePr>
          <p:cNvPr id="2" name="Gráfico 1"/>
          <p:cNvGraphicFramePr/>
          <p:nvPr>
            <p:extLst>
              <p:ext uri="{D42A27DB-BD31-4B8C-83A1-F6EECF244321}">
                <p14:modId xmlns:p14="http://schemas.microsoft.com/office/powerpoint/2010/main" val="3056741100"/>
              </p:ext>
            </p:extLst>
          </p:nvPr>
        </p:nvGraphicFramePr>
        <p:xfrm>
          <a:off x="179512" y="1556792"/>
          <a:ext cx="8808979" cy="504056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1674392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2210" name="Título 1"/>
          <p:cNvSpPr>
            <a:spLocks noGrp="1"/>
          </p:cNvSpPr>
          <p:nvPr>
            <p:ph type="ctrTitle"/>
          </p:nvPr>
        </p:nvSpPr>
        <p:spPr>
          <a:xfrm>
            <a:off x="5076056" y="5733257"/>
            <a:ext cx="3643941" cy="576063"/>
          </a:xfrm>
        </p:spPr>
        <p:txBody>
          <a:bodyPr>
            <a:noAutofit/>
          </a:bodyPr>
          <a:lstStyle/>
          <a:p>
            <a:pPr algn="r"/>
            <a:r>
              <a:rPr lang="pt-BR" sz="2000" dirty="0">
                <a:latin typeface="Arial" pitchFamily="34" charset="0"/>
                <a:cs typeface="Arial" pitchFamily="34" charset="0"/>
              </a:rPr>
              <a:t>Total: R$ 161,81 bilhões</a:t>
            </a:r>
          </a:p>
        </p:txBody>
      </p:sp>
      <p:sp>
        <p:nvSpPr>
          <p:cNvPr id="8" name="Rectangle 3"/>
          <p:cNvSpPr>
            <a:spLocks noChangeArrowheads="1"/>
          </p:cNvSpPr>
          <p:nvPr/>
        </p:nvSpPr>
        <p:spPr bwMode="auto">
          <a:xfrm>
            <a:off x="0" y="836713"/>
            <a:ext cx="9144000" cy="479041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anchor="ctr"/>
          <a:lstStyle/>
          <a:p>
            <a:pPr algn="ctr">
              <a:defRPr/>
            </a:pPr>
            <a:r>
              <a:rPr lang="en-US" sz="2700" b="1" dirty="0" err="1">
                <a:solidFill>
                  <a:schemeClr val="tx2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Tahoma" pitchFamily="34" charset="0"/>
              </a:rPr>
              <a:t>Crédito</a:t>
            </a:r>
            <a:r>
              <a:rPr lang="en-US" sz="2700" b="1" dirty="0">
                <a:solidFill>
                  <a:schemeClr val="tx2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Tahoma" pitchFamily="34" charset="0"/>
              </a:rPr>
              <a:t> Rural</a:t>
            </a:r>
          </a:p>
        </p:txBody>
      </p:sp>
      <p:graphicFrame>
        <p:nvGraphicFramePr>
          <p:cNvPr id="2" name="Gráfico 1"/>
          <p:cNvGraphicFramePr/>
          <p:nvPr>
            <p:extLst>
              <p:ext uri="{D42A27DB-BD31-4B8C-83A1-F6EECF244321}">
                <p14:modId xmlns:p14="http://schemas.microsoft.com/office/powerpoint/2010/main" val="2283961281"/>
              </p:ext>
            </p:extLst>
          </p:nvPr>
        </p:nvGraphicFramePr>
        <p:xfrm>
          <a:off x="179512" y="1556792"/>
          <a:ext cx="8808979" cy="496855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26691086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3"/>
          <p:cNvSpPr>
            <a:spLocks noChangeArrowheads="1"/>
          </p:cNvSpPr>
          <p:nvPr/>
        </p:nvSpPr>
        <p:spPr bwMode="auto">
          <a:xfrm>
            <a:off x="0" y="836713"/>
            <a:ext cx="9144000" cy="479041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anchor="ctr"/>
          <a:lstStyle/>
          <a:p>
            <a:pPr algn="ctr">
              <a:defRPr/>
            </a:pPr>
            <a:r>
              <a:rPr lang="en-US" sz="2700" b="1" dirty="0" err="1">
                <a:solidFill>
                  <a:schemeClr val="tx2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Tahoma" pitchFamily="34" charset="0"/>
              </a:rPr>
              <a:t>Crédito</a:t>
            </a:r>
            <a:r>
              <a:rPr lang="en-US" sz="2700" b="1" dirty="0">
                <a:solidFill>
                  <a:schemeClr val="tx2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Tahoma" pitchFamily="34" charset="0"/>
              </a:rPr>
              <a:t> Rural</a:t>
            </a:r>
          </a:p>
        </p:txBody>
      </p:sp>
      <p:graphicFrame>
        <p:nvGraphicFramePr>
          <p:cNvPr id="2" name="Gráfico 1"/>
          <p:cNvGraphicFramePr/>
          <p:nvPr>
            <p:extLst>
              <p:ext uri="{D42A27DB-BD31-4B8C-83A1-F6EECF244321}">
                <p14:modId xmlns:p14="http://schemas.microsoft.com/office/powerpoint/2010/main" val="2373225623"/>
              </p:ext>
            </p:extLst>
          </p:nvPr>
        </p:nvGraphicFramePr>
        <p:xfrm>
          <a:off x="179512" y="1484784"/>
          <a:ext cx="8794229" cy="511256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25382770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3"/>
          <p:cNvSpPr>
            <a:spLocks noChangeArrowheads="1"/>
          </p:cNvSpPr>
          <p:nvPr/>
        </p:nvSpPr>
        <p:spPr bwMode="auto">
          <a:xfrm>
            <a:off x="0" y="836713"/>
            <a:ext cx="9144000" cy="479041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anchor="ctr"/>
          <a:lstStyle/>
          <a:p>
            <a:pPr algn="ctr">
              <a:defRPr/>
            </a:pPr>
            <a:r>
              <a:rPr lang="en-US" sz="2700" b="1" dirty="0" err="1">
                <a:solidFill>
                  <a:schemeClr val="tx2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Tahoma" pitchFamily="34" charset="0"/>
              </a:rPr>
              <a:t>Crédito</a:t>
            </a:r>
            <a:r>
              <a:rPr lang="en-US" sz="2700" b="1" dirty="0">
                <a:solidFill>
                  <a:schemeClr val="tx2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Tahoma" pitchFamily="34" charset="0"/>
              </a:rPr>
              <a:t> Rural</a:t>
            </a:r>
          </a:p>
        </p:txBody>
      </p:sp>
      <p:graphicFrame>
        <p:nvGraphicFramePr>
          <p:cNvPr id="2" name="Gráfico 1"/>
          <p:cNvGraphicFramePr/>
          <p:nvPr>
            <p:extLst>
              <p:ext uri="{D42A27DB-BD31-4B8C-83A1-F6EECF244321}">
                <p14:modId xmlns:p14="http://schemas.microsoft.com/office/powerpoint/2010/main" val="1179134511"/>
              </p:ext>
            </p:extLst>
          </p:nvPr>
        </p:nvGraphicFramePr>
        <p:xfrm>
          <a:off x="179512" y="1315754"/>
          <a:ext cx="8794229" cy="554224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6" name="Título 1"/>
          <p:cNvSpPr txBox="1">
            <a:spLocks/>
          </p:cNvSpPr>
          <p:nvPr/>
        </p:nvSpPr>
        <p:spPr>
          <a:xfrm>
            <a:off x="5220072" y="5949280"/>
            <a:ext cx="3643941" cy="576063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3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r"/>
            <a:r>
              <a:rPr lang="pt-BR" sz="1800" dirty="0">
                <a:latin typeface="Arial" pitchFamily="34" charset="0"/>
                <a:cs typeface="Arial" pitchFamily="34" charset="0"/>
              </a:rPr>
              <a:t>Total: R$ 161,81 bilhões</a:t>
            </a:r>
          </a:p>
        </p:txBody>
      </p:sp>
    </p:spTree>
    <p:extLst>
      <p:ext uri="{BB962C8B-B14F-4D97-AF65-F5344CB8AC3E}">
        <p14:creationId xmlns:p14="http://schemas.microsoft.com/office/powerpoint/2010/main" val="41431390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83043" name="Rectangle 3"/>
          <p:cNvSpPr>
            <a:spLocks noChangeArrowheads="1"/>
          </p:cNvSpPr>
          <p:nvPr/>
        </p:nvSpPr>
        <p:spPr bwMode="auto">
          <a:xfrm>
            <a:off x="22974" y="188640"/>
            <a:ext cx="9144000" cy="69532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anchor="ctr"/>
          <a:lstStyle/>
          <a:p>
            <a:pPr algn="ctr">
              <a:defRPr/>
            </a:pPr>
            <a:r>
              <a:rPr lang="en-US" sz="2700" b="1" dirty="0" err="1">
                <a:solidFill>
                  <a:schemeClr val="tx2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Tahoma" pitchFamily="34" charset="0"/>
              </a:rPr>
              <a:t>Crédito</a:t>
            </a:r>
            <a:r>
              <a:rPr lang="en-US" sz="2700" b="1" dirty="0">
                <a:solidFill>
                  <a:schemeClr val="tx2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Tahoma" pitchFamily="34" charset="0"/>
              </a:rPr>
              <a:t> Rural</a:t>
            </a:r>
          </a:p>
        </p:txBody>
      </p:sp>
      <p:pic>
        <p:nvPicPr>
          <p:cNvPr id="5122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5924" y="1196975"/>
            <a:ext cx="8895164" cy="55330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2007853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49252" name="Text Box 4"/>
          <p:cNvSpPr txBox="1">
            <a:spLocks noChangeArrowheads="1"/>
          </p:cNvSpPr>
          <p:nvPr/>
        </p:nvSpPr>
        <p:spPr bwMode="auto">
          <a:xfrm>
            <a:off x="1211264" y="2590801"/>
            <a:ext cx="6673851" cy="600164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>
            <a:spAutoFit/>
          </a:bodyPr>
          <a:lstStyle/>
          <a:p>
            <a:pPr algn="ctr">
              <a:lnSpc>
                <a:spcPct val="110000"/>
              </a:lnSpc>
              <a:spcBef>
                <a:spcPct val="20000"/>
              </a:spcBef>
              <a:defRPr/>
            </a:pPr>
            <a:r>
              <a:rPr lang="pt-BR" sz="3000" b="1" dirty="0">
                <a:effectLst>
                  <a:outerShdw blurRad="38100" dist="38100" dir="2700000" algn="tl">
                    <a:srgbClr val="C0C0C0"/>
                  </a:outerShdw>
                </a:effectLst>
                <a:latin typeface="Lucida Sans Unicode" pitchFamily="34" charset="0"/>
              </a:rPr>
              <a:t>Finanças Estruturadas</a:t>
            </a:r>
          </a:p>
        </p:txBody>
      </p:sp>
    </p:spTree>
    <p:extLst>
      <p:ext uri="{BB962C8B-B14F-4D97-AF65-F5344CB8AC3E}">
        <p14:creationId xmlns:p14="http://schemas.microsoft.com/office/powerpoint/2010/main" val="38438956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492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7" dur="500"/>
                                        <p:tgtEl>
                                          <p:spTgt spid="9492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49252" grpId="0" autoUpdateAnimBg="0"/>
    </p:bldLst>
  </p:timing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Conteúdo 1"/>
          <p:cNvSpPr>
            <a:spLocks noGrp="1"/>
          </p:cNvSpPr>
          <p:nvPr>
            <p:ph sz="quarter" idx="13"/>
          </p:nvPr>
        </p:nvSpPr>
        <p:spPr>
          <a:xfrm>
            <a:off x="1385646" y="1194766"/>
            <a:ext cx="405045" cy="4475483"/>
          </a:xfrm>
        </p:spPr>
        <p:txBody>
          <a:bodyPr vert="vert270">
            <a:noAutofit/>
          </a:bodyPr>
          <a:lstStyle/>
          <a:p>
            <a:pPr algn="ctr">
              <a:buNone/>
            </a:pPr>
            <a:r>
              <a:rPr lang="pt-BR" sz="1950" b="1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Mercado de Finanças Estruturadas</a:t>
            </a:r>
          </a:p>
          <a:p>
            <a:pPr>
              <a:buNone/>
            </a:pPr>
            <a:endParaRPr lang="pt-BR" sz="1950" b="1" dirty="0">
              <a:solidFill>
                <a:srgbClr val="00206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" name="Espaço Reservado para Conteúdo 1"/>
          <p:cNvSpPr txBox="1">
            <a:spLocks/>
          </p:cNvSpPr>
          <p:nvPr/>
        </p:nvSpPr>
        <p:spPr bwMode="auto">
          <a:xfrm>
            <a:off x="2243950" y="1673554"/>
            <a:ext cx="6108521" cy="858104"/>
          </a:xfrm>
          <a:prstGeom prst="rect">
            <a:avLst/>
          </a:prstGeom>
          <a:solidFill>
            <a:srgbClr val="0000FF"/>
          </a:solidFill>
          <a:ln>
            <a:noFill/>
          </a:ln>
          <a:extLst/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marL="257168" indent="-257168" algn="ctr" defTabSz="685783" eaLnBrk="0" fontAlgn="base" hangingPunct="0">
              <a:spcBef>
                <a:spcPct val="20000"/>
              </a:spcBef>
              <a:spcAft>
                <a:spcPct val="0"/>
              </a:spcAft>
              <a:defRPr/>
            </a:pPr>
            <a:r>
              <a:rPr lang="pt-BR" sz="2250" b="1" kern="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Fundos de Investimento em Direito Creditórios (FIDC)</a:t>
            </a:r>
          </a:p>
          <a:p>
            <a:pPr marL="257168" indent="-257168" algn="ctr" defTabSz="685783" eaLnBrk="0" fontAlgn="base" hangingPunct="0">
              <a:spcBef>
                <a:spcPct val="20000"/>
              </a:spcBef>
              <a:spcAft>
                <a:spcPct val="0"/>
              </a:spcAft>
              <a:defRPr/>
            </a:pPr>
            <a:endParaRPr lang="pt-BR" sz="2250" b="1" kern="0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Espaço Reservado para Conteúdo 1"/>
          <p:cNvSpPr txBox="1">
            <a:spLocks/>
          </p:cNvSpPr>
          <p:nvPr/>
        </p:nvSpPr>
        <p:spPr bwMode="auto">
          <a:xfrm>
            <a:off x="2243950" y="3012768"/>
            <a:ext cx="6108521" cy="788159"/>
          </a:xfrm>
          <a:prstGeom prst="rect">
            <a:avLst/>
          </a:prstGeom>
          <a:solidFill>
            <a:srgbClr val="006699"/>
          </a:solidFill>
          <a:ln>
            <a:noFill/>
          </a:ln>
          <a:extLst/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marL="257168" indent="-257168" algn="ctr" defTabSz="685783" eaLnBrk="0" fontAlgn="base" hangingPunct="0">
              <a:spcBef>
                <a:spcPct val="20000"/>
              </a:spcBef>
              <a:spcAft>
                <a:spcPct val="0"/>
              </a:spcAft>
              <a:defRPr/>
            </a:pPr>
            <a:r>
              <a:rPr lang="pt-BR" sz="2250" b="1" kern="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ertificados de </a:t>
            </a:r>
            <a:r>
              <a:rPr lang="pt-BR" sz="2250" b="1" kern="0" dirty="0">
                <a:solidFill>
                  <a:schemeClr val="bg1"/>
                </a:solidFill>
                <a:latin typeface="Arial" pitchFamily="34" charset="0"/>
              </a:rPr>
              <a:t>Recebíveis Imobiliários</a:t>
            </a:r>
            <a:r>
              <a:rPr lang="pt-BR" sz="2250" b="1" kern="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(CRI)</a:t>
            </a:r>
          </a:p>
          <a:p>
            <a:pPr marL="257168" indent="-257168" algn="ctr" defTabSz="685783" eaLnBrk="0" fontAlgn="base" hangingPunct="0">
              <a:spcBef>
                <a:spcPct val="20000"/>
              </a:spcBef>
              <a:spcAft>
                <a:spcPct val="0"/>
              </a:spcAft>
              <a:defRPr/>
            </a:pPr>
            <a:endParaRPr lang="pt-BR" sz="2250" b="1" kern="0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6" name="Espaço Reservado para Conteúdo 1"/>
          <p:cNvSpPr txBox="1">
            <a:spLocks/>
          </p:cNvSpPr>
          <p:nvPr/>
        </p:nvSpPr>
        <p:spPr bwMode="auto">
          <a:xfrm>
            <a:off x="2246222" y="4316146"/>
            <a:ext cx="6108521" cy="858104"/>
          </a:xfrm>
          <a:prstGeom prst="rect">
            <a:avLst/>
          </a:prstGeom>
          <a:solidFill>
            <a:schemeClr val="tx2">
              <a:lumMod val="90000"/>
              <a:lumOff val="10000"/>
            </a:schemeClr>
          </a:solidFill>
          <a:ln>
            <a:noFill/>
          </a:ln>
          <a:extLst/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marL="257168" indent="-257168" algn="ctr" defTabSz="685783" eaLnBrk="0" fontAlgn="base" hangingPunct="0">
              <a:spcBef>
                <a:spcPct val="20000"/>
              </a:spcBef>
              <a:spcAft>
                <a:spcPct val="0"/>
              </a:spcAft>
              <a:defRPr/>
            </a:pPr>
            <a:r>
              <a:rPr lang="pt-BR" sz="2250" b="1" kern="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ertificados de </a:t>
            </a:r>
            <a:r>
              <a:rPr lang="pt-BR" sz="2250" b="1" kern="0" dirty="0">
                <a:solidFill>
                  <a:schemeClr val="bg1"/>
                </a:solidFill>
                <a:latin typeface="Arial" pitchFamily="34" charset="0"/>
              </a:rPr>
              <a:t>Recebíveis do Agronegócios</a:t>
            </a:r>
            <a:r>
              <a:rPr lang="pt-BR" sz="2250" b="1" kern="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(CRA)</a:t>
            </a:r>
          </a:p>
          <a:p>
            <a:pPr marL="257168" indent="-257168" algn="ctr" defTabSz="685783" eaLnBrk="0" fontAlgn="base" hangingPunct="0">
              <a:spcBef>
                <a:spcPct val="20000"/>
              </a:spcBef>
              <a:spcAft>
                <a:spcPct val="0"/>
              </a:spcAft>
              <a:defRPr/>
            </a:pPr>
            <a:endParaRPr lang="pt-BR" sz="2250" b="1" kern="0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9" name="Chave esquerda 8"/>
          <p:cNvSpPr/>
          <p:nvPr/>
        </p:nvSpPr>
        <p:spPr>
          <a:xfrm>
            <a:off x="1826169" y="1565793"/>
            <a:ext cx="369568" cy="3725839"/>
          </a:xfrm>
          <a:prstGeom prst="leftBrace">
            <a:avLst/>
          </a:prstGeom>
          <a:ln w="28575">
            <a:solidFill>
              <a:schemeClr val="tx2">
                <a:lumMod val="90000"/>
                <a:lumOff val="10000"/>
              </a:schemeClr>
            </a:solidFill>
          </a:ln>
          <a:scene3d>
            <a:camera prst="orthographicFront"/>
            <a:lightRig rig="threePt" dir="t">
              <a:rot lat="0" lon="0" rev="1800000"/>
            </a:lightRig>
          </a:scene3d>
          <a:sp3d extrusionH="120650">
            <a:bevelT w="152400" prst="coolSlant"/>
            <a:extrusionClr>
              <a:schemeClr val="tx1">
                <a:lumMod val="75000"/>
              </a:schemeClr>
            </a:extrusionClr>
          </a:sp3d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pt-BR" sz="1350"/>
          </a:p>
        </p:txBody>
      </p:sp>
      <p:sp>
        <p:nvSpPr>
          <p:cNvPr id="10" name="Rectangle 3"/>
          <p:cNvSpPr>
            <a:spLocks noChangeArrowheads="1"/>
          </p:cNvSpPr>
          <p:nvPr/>
        </p:nvSpPr>
        <p:spPr bwMode="auto">
          <a:xfrm>
            <a:off x="0" y="897733"/>
            <a:ext cx="9144000" cy="69532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anchor="ctr"/>
          <a:lstStyle/>
          <a:p>
            <a:pPr algn="ctr">
              <a:defRPr/>
            </a:pPr>
            <a:r>
              <a:rPr lang="en-US" sz="2700" b="1" dirty="0" err="1">
                <a:solidFill>
                  <a:schemeClr val="tx2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Tahoma" pitchFamily="34" charset="0"/>
              </a:rPr>
              <a:t>Finanças</a:t>
            </a:r>
            <a:r>
              <a:rPr lang="en-US" sz="2700" b="1" dirty="0">
                <a:solidFill>
                  <a:schemeClr val="tx2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Tahoma" pitchFamily="34" charset="0"/>
              </a:rPr>
              <a:t> </a:t>
            </a:r>
            <a:r>
              <a:rPr lang="en-US" sz="2700" b="1" dirty="0" err="1">
                <a:solidFill>
                  <a:schemeClr val="tx2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Tahoma" pitchFamily="34" charset="0"/>
              </a:rPr>
              <a:t>Estruturadas</a:t>
            </a:r>
            <a:endParaRPr lang="en-US" sz="2700" b="1" dirty="0">
              <a:solidFill>
                <a:schemeClr val="tx2"/>
              </a:solidFill>
              <a:effectLst>
                <a:outerShdw blurRad="38100" dist="38100" dir="2700000" algn="tl">
                  <a:srgbClr val="C0C0C0"/>
                </a:outerShdw>
              </a:effectLst>
              <a:latin typeface="Tahom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310978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in)">
                                      <p:cBhvr>
                                        <p:cTn id="7" dur="500"/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4" presetClass="entr" presetSubtype="3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out)">
                                      <p:cBhvr>
                                        <p:cTn id="11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4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in)">
                                      <p:cBhvr>
                                        <p:cTn id="16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4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in)">
                                      <p:cBhvr>
                                        <p:cTn id="21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2" fill="hold">
                      <p:stCondLst>
                        <p:cond delay="indefinite"/>
                      </p:stCondLst>
                      <p:childTnLst>
                        <p:par>
                          <p:cTn id="23" fill="hold">
                            <p:stCondLst>
                              <p:cond delay="0"/>
                            </p:stCondLst>
                            <p:childTnLst>
                              <p:par>
                                <p:cTn id="24" presetID="4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in)">
                                      <p:cBhvr>
                                        <p:cTn id="26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build="p"/>
      <p:bldP spid="4" grpId="0" animBg="1"/>
      <p:bldP spid="5" grpId="0" animBg="1"/>
      <p:bldP spid="6" grpId="0" animBg="1"/>
      <p:bldP spid="9" grpId="0" animBg="1"/>
    </p:bldLst>
  </p:timing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ctrTitle"/>
          </p:nvPr>
        </p:nvSpPr>
        <p:spPr>
          <a:xfrm>
            <a:off x="1357312" y="890718"/>
            <a:ext cx="7026647" cy="405045"/>
          </a:xfrm>
        </p:spPr>
        <p:txBody>
          <a:bodyPr>
            <a:noAutofit/>
          </a:bodyPr>
          <a:lstStyle/>
          <a:p>
            <a:pPr>
              <a:defRPr/>
            </a:pPr>
            <a:r>
              <a:rPr lang="pt-BR" sz="2700" dirty="0">
                <a:effectLst>
                  <a:outerShdw blurRad="38100" dist="38100" dir="2700000" algn="tl">
                    <a:srgbClr val="C0C0C0"/>
                  </a:outerShdw>
                </a:effectLst>
                <a:latin typeface="Tahoma" pitchFamily="34" charset="0"/>
                <a:ea typeface="+mn-ea"/>
              </a:rPr>
              <a:t>Mecanismo de funcionamento do FIDC</a:t>
            </a:r>
          </a:p>
        </p:txBody>
      </p:sp>
      <p:pic>
        <p:nvPicPr>
          <p:cNvPr id="235523" name="Picture 3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93072" y="1403776"/>
            <a:ext cx="7518400" cy="416837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1351553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/>
          </p:cNvSpPr>
          <p:nvPr/>
        </p:nvSpPr>
        <p:spPr bwMode="auto">
          <a:xfrm>
            <a:off x="0" y="873919"/>
            <a:ext cx="9144000" cy="6917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/>
          <a:p>
            <a:pPr algn="ctr" eaLnBrk="0" hangingPunct="0"/>
            <a:r>
              <a:rPr lang="pt-BR" sz="2700" b="1">
                <a:solidFill>
                  <a:schemeClr val="tx2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Tahoma" pitchFamily="34" charset="0"/>
              </a:rPr>
              <a:t>FIDC</a:t>
            </a:r>
          </a:p>
        </p:txBody>
      </p:sp>
      <p:sp>
        <p:nvSpPr>
          <p:cNvPr id="7" name="CaixaDeTexto 6"/>
          <p:cNvSpPr txBox="1"/>
          <p:nvPr/>
        </p:nvSpPr>
        <p:spPr>
          <a:xfrm>
            <a:off x="1357312" y="5427223"/>
            <a:ext cx="1918544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050" dirty="0">
                <a:solidFill>
                  <a:schemeClr val="bg1">
                    <a:lumMod val="50000"/>
                  </a:schemeClr>
                </a:solidFill>
              </a:rPr>
              <a:t>Fonte: AMBIMA (2017)</a:t>
            </a:r>
          </a:p>
        </p:txBody>
      </p:sp>
      <p:sp>
        <p:nvSpPr>
          <p:cNvPr id="3" name="Retângulo 2"/>
          <p:cNvSpPr/>
          <p:nvPr/>
        </p:nvSpPr>
        <p:spPr>
          <a:xfrm>
            <a:off x="1357313" y="1412776"/>
            <a:ext cx="7732936" cy="4154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defRPr sz="2400" b="0" i="0" u="none" strike="noStrike" kern="1200" spc="0" baseline="0">
                <a:solidFill>
                  <a:prstClr val="black">
                    <a:lumMod val="65000"/>
                    <a:lumOff val="35000"/>
                  </a:prstClr>
                </a:solidFill>
                <a:latin typeface="+mn-lt"/>
                <a:ea typeface="+mn-ea"/>
                <a:cs typeface="+mn-cs"/>
              </a:defRPr>
            </a:pPr>
            <a:r>
              <a:rPr lang="pt-BR" sz="2100" dirty="0"/>
              <a:t>Patrimônio Líquido no mês de dezembro, em R$ Bilhões</a:t>
            </a:r>
          </a:p>
        </p:txBody>
      </p:sp>
      <p:graphicFrame>
        <p:nvGraphicFramePr>
          <p:cNvPr id="8" name="Gráfico 7"/>
          <p:cNvGraphicFramePr/>
          <p:nvPr>
            <p:extLst/>
          </p:nvPr>
        </p:nvGraphicFramePr>
        <p:xfrm>
          <a:off x="1357312" y="1700808"/>
          <a:ext cx="7535168" cy="376019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13159204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/>
          </p:cNvSpPr>
          <p:nvPr/>
        </p:nvSpPr>
        <p:spPr bwMode="auto">
          <a:xfrm>
            <a:off x="0" y="260648"/>
            <a:ext cx="9144000" cy="6917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/>
          <a:p>
            <a:pPr algn="ctr" eaLnBrk="0" hangingPunct="0"/>
            <a:r>
              <a:rPr lang="pt-BR" sz="2700" b="1">
                <a:solidFill>
                  <a:schemeClr val="tx2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Tahoma" pitchFamily="34" charset="0"/>
              </a:rPr>
              <a:t>FIDC</a:t>
            </a:r>
          </a:p>
        </p:txBody>
      </p:sp>
      <p:graphicFrame>
        <p:nvGraphicFramePr>
          <p:cNvPr id="6" name="Gráfico 5"/>
          <p:cNvGraphicFramePr/>
          <p:nvPr>
            <p:extLst>
              <p:ext uri="{D42A27DB-BD31-4B8C-83A1-F6EECF244321}">
                <p14:modId xmlns:p14="http://schemas.microsoft.com/office/powerpoint/2010/main" val="3607225055"/>
              </p:ext>
            </p:extLst>
          </p:nvPr>
        </p:nvGraphicFramePr>
        <p:xfrm>
          <a:off x="323528" y="1196976"/>
          <a:ext cx="8568952" cy="512590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7" name="CaixaDeTexto 6"/>
          <p:cNvSpPr txBox="1"/>
          <p:nvPr/>
        </p:nvSpPr>
        <p:spPr>
          <a:xfrm>
            <a:off x="1357312" y="5373217"/>
            <a:ext cx="1837535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050" dirty="0">
                <a:solidFill>
                  <a:schemeClr val="bg1">
                    <a:lumMod val="65000"/>
                  </a:schemeClr>
                </a:solidFill>
              </a:rPr>
              <a:t>Fonte: UQBAR (2016)</a:t>
            </a:r>
          </a:p>
        </p:txBody>
      </p:sp>
      <p:sp>
        <p:nvSpPr>
          <p:cNvPr id="3" name="Seta para a esquerda 2"/>
          <p:cNvSpPr/>
          <p:nvPr/>
        </p:nvSpPr>
        <p:spPr>
          <a:xfrm>
            <a:off x="3516125" y="2996952"/>
            <a:ext cx="1152128" cy="216024"/>
          </a:xfrm>
          <a:prstGeom prst="leftArrow">
            <a:avLst/>
          </a:prstGeom>
          <a:solidFill>
            <a:srgbClr val="FFFF00"/>
          </a:solidFill>
          <a:ln>
            <a:solidFill>
              <a:schemeClr val="accent3">
                <a:lumMod val="50000"/>
              </a:schemeClr>
            </a:solidFill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1350"/>
          </a:p>
        </p:txBody>
      </p:sp>
    </p:spTree>
    <p:extLst>
      <p:ext uri="{BB962C8B-B14F-4D97-AF65-F5344CB8AC3E}">
        <p14:creationId xmlns:p14="http://schemas.microsoft.com/office/powerpoint/2010/main" val="4440661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8099" name="Rectangle 3"/>
          <p:cNvSpPr>
            <a:spLocks noChangeArrowheads="1"/>
          </p:cNvSpPr>
          <p:nvPr/>
        </p:nvSpPr>
        <p:spPr bwMode="auto">
          <a:xfrm>
            <a:off x="0" y="897733"/>
            <a:ext cx="9144000" cy="69532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anchor="ctr"/>
          <a:lstStyle/>
          <a:p>
            <a:pPr algn="ctr">
              <a:defRPr/>
            </a:pPr>
            <a:r>
              <a:rPr lang="pt-BR" sz="2700" b="1">
                <a:effectLst>
                  <a:outerShdw blurRad="38100" dist="38100" dir="2700000" algn="tl">
                    <a:srgbClr val="C0C0C0"/>
                  </a:outerShdw>
                </a:effectLst>
                <a:latin typeface="Tahoma" pitchFamily="34" charset="0"/>
              </a:rPr>
              <a:t>Operações de Barter</a:t>
            </a:r>
          </a:p>
        </p:txBody>
      </p:sp>
      <p:sp>
        <p:nvSpPr>
          <p:cNvPr id="1028106" name="Freeform 10"/>
          <p:cNvSpPr>
            <a:spLocks/>
          </p:cNvSpPr>
          <p:nvPr/>
        </p:nvSpPr>
        <p:spPr bwMode="auto">
          <a:xfrm>
            <a:off x="4873625" y="2420542"/>
            <a:ext cx="2547939" cy="2509838"/>
          </a:xfrm>
          <a:custGeom>
            <a:avLst/>
            <a:gdLst>
              <a:gd name="T0" fmla="*/ 2147483647 w 2970"/>
              <a:gd name="T1" fmla="*/ 2147483647 h 2648"/>
              <a:gd name="T2" fmla="*/ 2147483647 w 2970"/>
              <a:gd name="T3" fmla="*/ 2147483647 h 2648"/>
              <a:gd name="T4" fmla="*/ 2147483647 w 2970"/>
              <a:gd name="T5" fmla="*/ 2147483647 h 2648"/>
              <a:gd name="T6" fmla="*/ 2147483647 w 2970"/>
              <a:gd name="T7" fmla="*/ 2147483647 h 2648"/>
              <a:gd name="T8" fmla="*/ 2147483647 w 2970"/>
              <a:gd name="T9" fmla="*/ 2147483647 h 2648"/>
              <a:gd name="T10" fmla="*/ 0 w 2970"/>
              <a:gd name="T11" fmla="*/ 0 h 2648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2970"/>
              <a:gd name="T19" fmla="*/ 0 h 2648"/>
              <a:gd name="T20" fmla="*/ 2970 w 2970"/>
              <a:gd name="T21" fmla="*/ 2648 h 2648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2970" h="2648">
                <a:moveTo>
                  <a:pt x="2597" y="2648"/>
                </a:moveTo>
                <a:cubicBezTo>
                  <a:pt x="2705" y="2537"/>
                  <a:pt x="2813" y="2427"/>
                  <a:pt x="2867" y="2185"/>
                </a:cubicBezTo>
                <a:cubicBezTo>
                  <a:pt x="2921" y="1943"/>
                  <a:pt x="2970" y="1437"/>
                  <a:pt x="2919" y="1195"/>
                </a:cubicBezTo>
                <a:cubicBezTo>
                  <a:pt x="2868" y="953"/>
                  <a:pt x="2818" y="898"/>
                  <a:pt x="2559" y="733"/>
                </a:cubicBezTo>
                <a:cubicBezTo>
                  <a:pt x="2300" y="568"/>
                  <a:pt x="1789" y="327"/>
                  <a:pt x="1363" y="205"/>
                </a:cubicBezTo>
                <a:cubicBezTo>
                  <a:pt x="937" y="83"/>
                  <a:pt x="468" y="41"/>
                  <a:pt x="0" y="0"/>
                </a:cubicBezTo>
              </a:path>
            </a:pathLst>
          </a:custGeom>
          <a:noFill/>
          <a:ln w="38100" cmpd="sng">
            <a:solidFill>
              <a:schemeClr val="accent2">
                <a:lumMod val="75000"/>
              </a:schemeClr>
            </a:solidFill>
            <a:round/>
            <a:headEnd type="none" w="med" len="med"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/>
          <a:p>
            <a:endParaRPr lang="pt-BR" sz="1350">
              <a:solidFill>
                <a:schemeClr val="bg1"/>
              </a:solidFill>
            </a:endParaRPr>
          </a:p>
        </p:txBody>
      </p:sp>
      <p:sp>
        <p:nvSpPr>
          <p:cNvPr id="1028107" name="Freeform 11"/>
          <p:cNvSpPr>
            <a:spLocks/>
          </p:cNvSpPr>
          <p:nvPr/>
        </p:nvSpPr>
        <p:spPr bwMode="auto">
          <a:xfrm>
            <a:off x="3848102" y="2553894"/>
            <a:ext cx="1620839" cy="2449115"/>
          </a:xfrm>
          <a:custGeom>
            <a:avLst/>
            <a:gdLst>
              <a:gd name="T0" fmla="*/ 0 w 1890"/>
              <a:gd name="T1" fmla="*/ 0 h 2584"/>
              <a:gd name="T2" fmla="*/ 2147483647 w 1890"/>
              <a:gd name="T3" fmla="*/ 2147483647 h 2584"/>
              <a:gd name="T4" fmla="*/ 2147483647 w 1890"/>
              <a:gd name="T5" fmla="*/ 2147483647 h 2584"/>
              <a:gd name="T6" fmla="*/ 2147483647 w 1890"/>
              <a:gd name="T7" fmla="*/ 2147483647 h 2584"/>
              <a:gd name="T8" fmla="*/ 2147483647 w 1890"/>
              <a:gd name="T9" fmla="*/ 2147483647 h 2584"/>
              <a:gd name="T10" fmla="*/ 2147483647 w 1890"/>
              <a:gd name="T11" fmla="*/ 2147483647 h 2584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1890"/>
              <a:gd name="T19" fmla="*/ 0 h 2584"/>
              <a:gd name="T20" fmla="*/ 1890 w 1890"/>
              <a:gd name="T21" fmla="*/ 2584 h 2584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1890" h="2584">
                <a:moveTo>
                  <a:pt x="0" y="0"/>
                </a:moveTo>
                <a:cubicBezTo>
                  <a:pt x="39" y="341"/>
                  <a:pt x="79" y="683"/>
                  <a:pt x="180" y="977"/>
                </a:cubicBezTo>
                <a:cubicBezTo>
                  <a:pt x="281" y="1271"/>
                  <a:pt x="497" y="1588"/>
                  <a:pt x="604" y="1762"/>
                </a:cubicBezTo>
                <a:cubicBezTo>
                  <a:pt x="711" y="1936"/>
                  <a:pt x="704" y="1912"/>
                  <a:pt x="822" y="2019"/>
                </a:cubicBezTo>
                <a:cubicBezTo>
                  <a:pt x="940" y="2126"/>
                  <a:pt x="1133" y="2310"/>
                  <a:pt x="1311" y="2404"/>
                </a:cubicBezTo>
                <a:cubicBezTo>
                  <a:pt x="1489" y="2498"/>
                  <a:pt x="1689" y="2541"/>
                  <a:pt x="1890" y="2584"/>
                </a:cubicBezTo>
              </a:path>
            </a:pathLst>
          </a:custGeom>
          <a:noFill/>
          <a:ln w="38100" cmpd="sng">
            <a:solidFill>
              <a:schemeClr val="accent2">
                <a:lumMod val="75000"/>
              </a:schemeClr>
            </a:solidFill>
            <a:round/>
            <a:headEnd type="none" w="med" len="med"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/>
          <a:p>
            <a:endParaRPr lang="pt-BR" sz="1350">
              <a:solidFill>
                <a:schemeClr val="bg1"/>
              </a:solidFill>
            </a:endParaRPr>
          </a:p>
        </p:txBody>
      </p:sp>
      <p:grpSp>
        <p:nvGrpSpPr>
          <p:cNvPr id="1028122" name="Group 26"/>
          <p:cNvGrpSpPr>
            <a:grpSpLocks/>
          </p:cNvGrpSpPr>
          <p:nvPr/>
        </p:nvGrpSpPr>
        <p:grpSpPr bwMode="auto">
          <a:xfrm>
            <a:off x="2905126" y="2122885"/>
            <a:ext cx="1963739" cy="547688"/>
            <a:chOff x="1830" y="1189"/>
            <a:chExt cx="1237" cy="460"/>
          </a:xfrm>
          <a:solidFill>
            <a:srgbClr val="C00000"/>
          </a:solidFill>
        </p:grpSpPr>
        <p:sp>
          <p:nvSpPr>
            <p:cNvPr id="51217" name="AutoShape 15"/>
            <p:cNvSpPr>
              <a:spLocks noChangeArrowheads="1"/>
            </p:cNvSpPr>
            <p:nvPr/>
          </p:nvSpPr>
          <p:spPr bwMode="auto">
            <a:xfrm>
              <a:off x="1830" y="1189"/>
              <a:ext cx="1237" cy="460"/>
            </a:xfrm>
            <a:prstGeom prst="bevel">
              <a:avLst>
                <a:gd name="adj" fmla="val 12500"/>
              </a:avLst>
            </a:prstGeom>
            <a:grpFill/>
            <a:ln w="952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pt-BR" sz="1350">
                <a:solidFill>
                  <a:schemeClr val="bg1"/>
                </a:solidFill>
              </a:endParaRPr>
            </a:p>
          </p:txBody>
        </p:sp>
        <p:sp>
          <p:nvSpPr>
            <p:cNvPr id="51218" name="Text Box 21"/>
            <p:cNvSpPr txBox="1">
              <a:spLocks noChangeArrowheads="1"/>
            </p:cNvSpPr>
            <p:nvPr/>
          </p:nvSpPr>
          <p:spPr bwMode="auto">
            <a:xfrm>
              <a:off x="1935" y="1318"/>
              <a:ext cx="1066" cy="226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Times New Roman" pitchFamily="18" charset="0"/>
                  <a:cs typeface="Arial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Times New Roman" pitchFamily="18" charset="0"/>
                  <a:cs typeface="Arial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Times New Roman" pitchFamily="18" charset="0"/>
                  <a:cs typeface="Arial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Times New Roman" pitchFamily="18" charset="0"/>
                  <a:cs typeface="Arial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Times New Roman" pitchFamily="18" charset="0"/>
                  <a:cs typeface="Arial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Times New Roman" pitchFamily="18" charset="0"/>
                  <a:cs typeface="Arial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Times New Roman" pitchFamily="18" charset="0"/>
                  <a:cs typeface="Arial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Times New Roman" pitchFamily="18" charset="0"/>
                  <a:cs typeface="Arial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Times New Roman" pitchFamily="18" charset="0"/>
                  <a:cs typeface="Arial" pitchFamily="34" charset="0"/>
                </a:defRPr>
              </a:lvl9pPr>
            </a:lstStyle>
            <a:p>
              <a:pPr algn="ctr"/>
              <a:r>
                <a:rPr lang="pt-BR" altLang="ko-KR" sz="1500" b="1" dirty="0">
                  <a:solidFill>
                    <a:schemeClr val="bg1"/>
                  </a:solidFill>
                  <a:latin typeface="Arial" pitchFamily="34" charset="0"/>
                  <a:ea typeface="굴림" pitchFamily="34" charset="-127"/>
                </a:rPr>
                <a:t>Fornecedor</a:t>
              </a:r>
              <a:endParaRPr lang="pt-BR" sz="1500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1028125" name="Group 29"/>
          <p:cNvGrpSpPr>
            <a:grpSpLocks/>
          </p:cNvGrpSpPr>
          <p:nvPr/>
        </p:nvGrpSpPr>
        <p:grpSpPr bwMode="auto">
          <a:xfrm>
            <a:off x="3594100" y="4027886"/>
            <a:ext cx="1995488" cy="511969"/>
            <a:chOff x="2264" y="2789"/>
            <a:chExt cx="1257" cy="430"/>
          </a:xfrm>
          <a:solidFill>
            <a:srgbClr val="FF0000"/>
          </a:solidFill>
        </p:grpSpPr>
        <p:sp>
          <p:nvSpPr>
            <p:cNvPr id="51215" name="AutoShape 17"/>
            <p:cNvSpPr>
              <a:spLocks noChangeArrowheads="1"/>
            </p:cNvSpPr>
            <p:nvPr/>
          </p:nvSpPr>
          <p:spPr bwMode="auto">
            <a:xfrm>
              <a:off x="2264" y="2789"/>
              <a:ext cx="1257" cy="430"/>
            </a:xfrm>
            <a:prstGeom prst="bevel">
              <a:avLst>
                <a:gd name="adj" fmla="val 12500"/>
              </a:avLst>
            </a:prstGeom>
            <a:grpFill/>
            <a:ln w="952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pt-BR" sz="1350">
                <a:solidFill>
                  <a:schemeClr val="bg1"/>
                </a:solidFill>
              </a:endParaRPr>
            </a:p>
          </p:txBody>
        </p:sp>
        <p:sp>
          <p:nvSpPr>
            <p:cNvPr id="51216" name="Text Box 22"/>
            <p:cNvSpPr txBox="1">
              <a:spLocks noChangeArrowheads="1"/>
            </p:cNvSpPr>
            <p:nvPr/>
          </p:nvSpPr>
          <p:spPr bwMode="auto">
            <a:xfrm>
              <a:off x="2320" y="2869"/>
              <a:ext cx="1125" cy="316"/>
            </a:xfrm>
            <a:prstGeom prst="rect">
              <a:avLst/>
            </a:prstGeom>
            <a:no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Times New Roman" pitchFamily="18" charset="0"/>
                  <a:cs typeface="Arial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Times New Roman" pitchFamily="18" charset="0"/>
                  <a:cs typeface="Arial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Times New Roman" pitchFamily="18" charset="0"/>
                  <a:cs typeface="Arial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Times New Roman" pitchFamily="18" charset="0"/>
                  <a:cs typeface="Arial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Times New Roman" pitchFamily="18" charset="0"/>
                  <a:cs typeface="Arial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Times New Roman" pitchFamily="18" charset="0"/>
                  <a:cs typeface="Arial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Times New Roman" pitchFamily="18" charset="0"/>
                  <a:cs typeface="Arial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Times New Roman" pitchFamily="18" charset="0"/>
                  <a:cs typeface="Arial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Times New Roman" pitchFamily="18" charset="0"/>
                  <a:cs typeface="Arial" pitchFamily="34" charset="0"/>
                </a:defRPr>
              </a:lvl9pPr>
            </a:lstStyle>
            <a:p>
              <a:pPr algn="ctr"/>
              <a:r>
                <a:rPr lang="pt-BR" altLang="ko-KR" sz="1500" b="1">
                  <a:solidFill>
                    <a:schemeClr val="bg1"/>
                  </a:solidFill>
                  <a:latin typeface="Arial" pitchFamily="34" charset="0"/>
                  <a:ea typeface="굴림" pitchFamily="34" charset="-127"/>
                </a:rPr>
                <a:t>Insumos</a:t>
              </a:r>
              <a:endParaRPr lang="pt-BR" sz="1500">
                <a:solidFill>
                  <a:schemeClr val="bg1"/>
                </a:solidFill>
              </a:endParaRPr>
            </a:p>
          </p:txBody>
        </p:sp>
      </p:grpSp>
      <p:grpSp>
        <p:nvGrpSpPr>
          <p:cNvPr id="1028126" name="Group 30"/>
          <p:cNvGrpSpPr>
            <a:grpSpLocks/>
          </p:cNvGrpSpPr>
          <p:nvPr/>
        </p:nvGrpSpPr>
        <p:grpSpPr bwMode="auto">
          <a:xfrm>
            <a:off x="5491160" y="4722019"/>
            <a:ext cx="1631949" cy="536972"/>
            <a:chOff x="3459" y="3372"/>
            <a:chExt cx="1028" cy="451"/>
          </a:xfrm>
          <a:solidFill>
            <a:srgbClr val="0000FF"/>
          </a:solidFill>
        </p:grpSpPr>
        <p:sp>
          <p:nvSpPr>
            <p:cNvPr id="51213" name="AutoShape 18"/>
            <p:cNvSpPr>
              <a:spLocks noChangeArrowheads="1"/>
            </p:cNvSpPr>
            <p:nvPr/>
          </p:nvSpPr>
          <p:spPr bwMode="auto">
            <a:xfrm>
              <a:off x="3459" y="3372"/>
              <a:ext cx="1028" cy="451"/>
            </a:xfrm>
            <a:prstGeom prst="bevel">
              <a:avLst>
                <a:gd name="adj" fmla="val 12500"/>
              </a:avLst>
            </a:prstGeom>
            <a:grpFill/>
            <a:ln w="952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pt-BR" sz="1350">
                <a:solidFill>
                  <a:schemeClr val="bg1"/>
                </a:solidFill>
              </a:endParaRPr>
            </a:p>
          </p:txBody>
        </p:sp>
        <p:sp>
          <p:nvSpPr>
            <p:cNvPr id="51214" name="Text Box 23"/>
            <p:cNvSpPr txBox="1">
              <a:spLocks noChangeArrowheads="1"/>
            </p:cNvSpPr>
            <p:nvPr/>
          </p:nvSpPr>
          <p:spPr bwMode="auto">
            <a:xfrm>
              <a:off x="3545" y="3496"/>
              <a:ext cx="891" cy="181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Times New Roman" pitchFamily="18" charset="0"/>
                  <a:cs typeface="Arial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Times New Roman" pitchFamily="18" charset="0"/>
                  <a:cs typeface="Arial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Times New Roman" pitchFamily="18" charset="0"/>
                  <a:cs typeface="Arial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Times New Roman" pitchFamily="18" charset="0"/>
                  <a:cs typeface="Arial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Times New Roman" pitchFamily="18" charset="0"/>
                  <a:cs typeface="Arial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Times New Roman" pitchFamily="18" charset="0"/>
                  <a:cs typeface="Arial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Times New Roman" pitchFamily="18" charset="0"/>
                  <a:cs typeface="Arial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Times New Roman" pitchFamily="18" charset="0"/>
                  <a:cs typeface="Arial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Times New Roman" pitchFamily="18" charset="0"/>
                  <a:cs typeface="Arial" pitchFamily="34" charset="0"/>
                </a:defRPr>
              </a:lvl9pPr>
            </a:lstStyle>
            <a:p>
              <a:pPr algn="ctr"/>
              <a:r>
                <a:rPr lang="pt-BR" altLang="ko-KR" sz="1500" b="1" dirty="0">
                  <a:solidFill>
                    <a:schemeClr val="bg1"/>
                  </a:solidFill>
                  <a:latin typeface="Arial" pitchFamily="34" charset="0"/>
                  <a:ea typeface="굴림" pitchFamily="34" charset="-127"/>
                </a:rPr>
                <a:t>Produtor</a:t>
              </a:r>
              <a:endParaRPr lang="pt-BR" sz="1500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1028127" name="Group 31"/>
          <p:cNvGrpSpPr>
            <a:grpSpLocks/>
          </p:cNvGrpSpPr>
          <p:nvPr/>
        </p:nvGrpSpPr>
        <p:grpSpPr bwMode="auto">
          <a:xfrm>
            <a:off x="5962651" y="3062288"/>
            <a:ext cx="2139951" cy="876300"/>
            <a:chOff x="3756" y="1978"/>
            <a:chExt cx="1348" cy="736"/>
          </a:xfrm>
          <a:solidFill>
            <a:srgbClr val="008000"/>
          </a:solidFill>
        </p:grpSpPr>
        <p:sp>
          <p:nvSpPr>
            <p:cNvPr id="51211" name="AutoShape 14"/>
            <p:cNvSpPr>
              <a:spLocks noChangeArrowheads="1"/>
            </p:cNvSpPr>
            <p:nvPr/>
          </p:nvSpPr>
          <p:spPr bwMode="auto">
            <a:xfrm>
              <a:off x="3756" y="1978"/>
              <a:ext cx="1348" cy="736"/>
            </a:xfrm>
            <a:prstGeom prst="bevel">
              <a:avLst>
                <a:gd name="adj" fmla="val 12500"/>
              </a:avLst>
            </a:prstGeom>
            <a:grpFill/>
            <a:ln w="952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pt-BR" sz="1350">
                <a:solidFill>
                  <a:schemeClr val="bg1"/>
                </a:solidFill>
              </a:endParaRPr>
            </a:p>
          </p:txBody>
        </p:sp>
        <p:sp>
          <p:nvSpPr>
            <p:cNvPr id="51212" name="Text Box 24"/>
            <p:cNvSpPr txBox="1">
              <a:spLocks noChangeArrowheads="1"/>
            </p:cNvSpPr>
            <p:nvPr/>
          </p:nvSpPr>
          <p:spPr bwMode="auto">
            <a:xfrm>
              <a:off x="3766" y="2133"/>
              <a:ext cx="1318" cy="459"/>
            </a:xfrm>
            <a:prstGeom prst="rect">
              <a:avLst/>
            </a:prstGeom>
            <a:no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Times New Roman" pitchFamily="18" charset="0"/>
                  <a:cs typeface="Arial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Times New Roman" pitchFamily="18" charset="0"/>
                  <a:cs typeface="Arial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Times New Roman" pitchFamily="18" charset="0"/>
                  <a:cs typeface="Arial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Times New Roman" pitchFamily="18" charset="0"/>
                  <a:cs typeface="Arial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Times New Roman" pitchFamily="18" charset="0"/>
                  <a:cs typeface="Arial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Times New Roman" pitchFamily="18" charset="0"/>
                  <a:cs typeface="Arial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Times New Roman" pitchFamily="18" charset="0"/>
                  <a:cs typeface="Arial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Times New Roman" pitchFamily="18" charset="0"/>
                  <a:cs typeface="Arial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Times New Roman" pitchFamily="18" charset="0"/>
                  <a:cs typeface="Arial" pitchFamily="34" charset="0"/>
                </a:defRPr>
              </a:lvl9pPr>
            </a:lstStyle>
            <a:p>
              <a:pPr algn="ctr"/>
              <a:r>
                <a:rPr lang="pt-BR" altLang="ko-KR" sz="1500" b="1" dirty="0">
                  <a:solidFill>
                    <a:schemeClr val="bg1"/>
                  </a:solidFill>
                  <a:latin typeface="Arial" pitchFamily="34" charset="0"/>
                  <a:ea typeface="굴림" pitchFamily="34" charset="-127"/>
                </a:rPr>
                <a:t>Entrega Futura do Produto</a:t>
              </a:r>
              <a:endParaRPr lang="pt-BR" sz="1500" dirty="0">
                <a:solidFill>
                  <a:schemeClr val="bg1"/>
                </a:solidFill>
              </a:endParaRPr>
            </a:p>
          </p:txBody>
        </p:sp>
      </p:grpSp>
      <p:sp>
        <p:nvSpPr>
          <p:cNvPr id="1028121" name="Text Box 25"/>
          <p:cNvSpPr txBox="1">
            <a:spLocks noChangeArrowheads="1"/>
          </p:cNvSpPr>
          <p:nvPr/>
        </p:nvSpPr>
        <p:spPr bwMode="auto">
          <a:xfrm rot="-5400000">
            <a:off x="7150300" y="3049766"/>
            <a:ext cx="3487341" cy="2954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marL="457200" indent="-457200"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9pPr>
          </a:lstStyle>
          <a:p>
            <a:pPr>
              <a:lnSpc>
                <a:spcPct val="110000"/>
              </a:lnSpc>
              <a:spcBef>
                <a:spcPct val="30000"/>
              </a:spcBef>
              <a:buFont typeface="Wingdings" pitchFamily="2" charset="2"/>
              <a:buNone/>
            </a:pPr>
            <a:r>
              <a:rPr lang="pt-BR" sz="1200" dirty="0">
                <a:latin typeface="Arial" pitchFamily="34" charset="0"/>
              </a:rPr>
              <a:t>Fonte: baseado em Azimute Agronegócios.</a:t>
            </a:r>
          </a:p>
        </p:txBody>
      </p:sp>
      <p:sp>
        <p:nvSpPr>
          <p:cNvPr id="19" name="Freeform 5"/>
          <p:cNvSpPr>
            <a:spLocks/>
          </p:cNvSpPr>
          <p:nvPr/>
        </p:nvSpPr>
        <p:spPr bwMode="auto">
          <a:xfrm>
            <a:off x="2181228" y="2670573"/>
            <a:ext cx="1666874" cy="1446611"/>
          </a:xfrm>
          <a:custGeom>
            <a:avLst/>
            <a:gdLst>
              <a:gd name="T0" fmla="*/ 2147483647 w 1954"/>
              <a:gd name="T1" fmla="*/ 0 h 2044"/>
              <a:gd name="T2" fmla="*/ 2147483647 w 1954"/>
              <a:gd name="T3" fmla="*/ 2147483647 h 2044"/>
              <a:gd name="T4" fmla="*/ 2147483647 w 1954"/>
              <a:gd name="T5" fmla="*/ 2147483647 h 2044"/>
              <a:gd name="T6" fmla="*/ 2147483647 w 1954"/>
              <a:gd name="T7" fmla="*/ 2147483647 h 2044"/>
              <a:gd name="T8" fmla="*/ 2147483647 w 1954"/>
              <a:gd name="T9" fmla="*/ 2147483647 h 2044"/>
              <a:gd name="T10" fmla="*/ 2147483647 w 1954"/>
              <a:gd name="T11" fmla="*/ 2147483647 h 2044"/>
              <a:gd name="T12" fmla="*/ 0 w 1954"/>
              <a:gd name="T13" fmla="*/ 2147483647 h 2044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1954"/>
              <a:gd name="T22" fmla="*/ 0 h 2044"/>
              <a:gd name="T23" fmla="*/ 1954 w 1954"/>
              <a:gd name="T24" fmla="*/ 2044 h 2044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1954" h="2044">
                <a:moveTo>
                  <a:pt x="1954" y="0"/>
                </a:moveTo>
                <a:cubicBezTo>
                  <a:pt x="1937" y="225"/>
                  <a:pt x="1920" y="450"/>
                  <a:pt x="1774" y="643"/>
                </a:cubicBezTo>
                <a:cubicBezTo>
                  <a:pt x="1628" y="836"/>
                  <a:pt x="1208" y="1071"/>
                  <a:pt x="1080" y="1157"/>
                </a:cubicBezTo>
                <a:cubicBezTo>
                  <a:pt x="952" y="1243"/>
                  <a:pt x="1084" y="1151"/>
                  <a:pt x="1003" y="1157"/>
                </a:cubicBezTo>
                <a:cubicBezTo>
                  <a:pt x="922" y="1163"/>
                  <a:pt x="733" y="1130"/>
                  <a:pt x="592" y="1196"/>
                </a:cubicBezTo>
                <a:cubicBezTo>
                  <a:pt x="451" y="1262"/>
                  <a:pt x="253" y="1415"/>
                  <a:pt x="154" y="1556"/>
                </a:cubicBezTo>
                <a:cubicBezTo>
                  <a:pt x="55" y="1697"/>
                  <a:pt x="27" y="1870"/>
                  <a:pt x="0" y="2044"/>
                </a:cubicBezTo>
              </a:path>
            </a:pathLst>
          </a:custGeom>
          <a:noFill/>
          <a:ln w="38100" cmpd="sng">
            <a:solidFill>
              <a:schemeClr val="tx2"/>
            </a:solidFill>
            <a:round/>
            <a:headEnd type="none" w="med" len="med"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/>
          <a:p>
            <a:endParaRPr lang="pt-BR" sz="1350">
              <a:solidFill>
                <a:schemeClr val="bg1"/>
              </a:solidFill>
            </a:endParaRPr>
          </a:p>
        </p:txBody>
      </p:sp>
      <p:grpSp>
        <p:nvGrpSpPr>
          <p:cNvPr id="20" name="Group 6"/>
          <p:cNvGrpSpPr>
            <a:grpSpLocks/>
          </p:cNvGrpSpPr>
          <p:nvPr/>
        </p:nvGrpSpPr>
        <p:grpSpPr bwMode="auto">
          <a:xfrm>
            <a:off x="1304637" y="4104075"/>
            <a:ext cx="1748187" cy="758429"/>
            <a:chOff x="644" y="3199"/>
            <a:chExt cx="1473" cy="787"/>
          </a:xfrm>
          <a:solidFill>
            <a:srgbClr val="FF9900"/>
          </a:solidFill>
        </p:grpSpPr>
        <p:sp>
          <p:nvSpPr>
            <p:cNvPr id="21" name="AutoShape 7"/>
            <p:cNvSpPr>
              <a:spLocks noChangeArrowheads="1"/>
            </p:cNvSpPr>
            <p:nvPr/>
          </p:nvSpPr>
          <p:spPr bwMode="auto">
            <a:xfrm>
              <a:off x="644" y="3199"/>
              <a:ext cx="1473" cy="787"/>
            </a:xfrm>
            <a:prstGeom prst="bevel">
              <a:avLst>
                <a:gd name="adj" fmla="val 12500"/>
              </a:avLst>
            </a:prstGeom>
            <a:grpFill/>
            <a:ln w="952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pt-BR" sz="1350"/>
            </a:p>
          </p:txBody>
        </p:sp>
        <p:sp>
          <p:nvSpPr>
            <p:cNvPr id="22" name="Text Box 8"/>
            <p:cNvSpPr txBox="1">
              <a:spLocks noChangeArrowheads="1"/>
            </p:cNvSpPr>
            <p:nvPr/>
          </p:nvSpPr>
          <p:spPr bwMode="auto">
            <a:xfrm>
              <a:off x="824" y="3373"/>
              <a:ext cx="1098" cy="422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Times New Roman" pitchFamily="18" charset="0"/>
                  <a:cs typeface="Arial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Times New Roman" pitchFamily="18" charset="0"/>
                  <a:cs typeface="Arial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Times New Roman" pitchFamily="18" charset="0"/>
                  <a:cs typeface="Arial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Times New Roman" pitchFamily="18" charset="0"/>
                  <a:cs typeface="Arial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Times New Roman" pitchFamily="18" charset="0"/>
                  <a:cs typeface="Arial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Times New Roman" pitchFamily="18" charset="0"/>
                  <a:cs typeface="Arial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Times New Roman" pitchFamily="18" charset="0"/>
                  <a:cs typeface="Arial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Times New Roman" pitchFamily="18" charset="0"/>
                  <a:cs typeface="Arial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Times New Roman" pitchFamily="18" charset="0"/>
                  <a:cs typeface="Arial" pitchFamily="34" charset="0"/>
                </a:defRPr>
              </a:lvl9pPr>
            </a:lstStyle>
            <a:p>
              <a:pPr algn="ctr"/>
              <a:r>
                <a:rPr lang="pt-BR" altLang="ko-KR" sz="1500" b="1" dirty="0">
                  <a:latin typeface="Arial" pitchFamily="34" charset="0"/>
                  <a:ea typeface="굴림" pitchFamily="34" charset="-127"/>
                </a:rPr>
                <a:t>Mercados Futuros</a:t>
              </a:r>
              <a:endParaRPr lang="pt-BR" sz="1500" dirty="0"/>
            </a:p>
          </p:txBody>
        </p:sp>
      </p:grpSp>
      <p:grpSp>
        <p:nvGrpSpPr>
          <p:cNvPr id="23" name="Group 9"/>
          <p:cNvGrpSpPr>
            <a:grpSpLocks/>
          </p:cNvGrpSpPr>
          <p:nvPr/>
        </p:nvGrpSpPr>
        <p:grpSpPr bwMode="auto">
          <a:xfrm>
            <a:off x="1654177" y="3134247"/>
            <a:ext cx="1997075" cy="510778"/>
            <a:chOff x="1042" y="2209"/>
            <a:chExt cx="1258" cy="429"/>
          </a:xfrm>
          <a:solidFill>
            <a:srgbClr val="FF9900"/>
          </a:solidFill>
        </p:grpSpPr>
        <p:sp>
          <p:nvSpPr>
            <p:cNvPr id="24" name="AutoShape 10"/>
            <p:cNvSpPr>
              <a:spLocks noChangeArrowheads="1"/>
            </p:cNvSpPr>
            <p:nvPr/>
          </p:nvSpPr>
          <p:spPr bwMode="auto">
            <a:xfrm>
              <a:off x="1042" y="2209"/>
              <a:ext cx="1258" cy="429"/>
            </a:xfrm>
            <a:prstGeom prst="bevel">
              <a:avLst>
                <a:gd name="adj" fmla="val 12500"/>
              </a:avLst>
            </a:prstGeom>
            <a:grpFill/>
            <a:ln w="952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pt-BR" sz="1350"/>
            </a:p>
          </p:txBody>
        </p:sp>
        <p:sp>
          <p:nvSpPr>
            <p:cNvPr id="25" name="Text Box 11"/>
            <p:cNvSpPr txBox="1">
              <a:spLocks noChangeArrowheads="1"/>
            </p:cNvSpPr>
            <p:nvPr/>
          </p:nvSpPr>
          <p:spPr bwMode="auto">
            <a:xfrm>
              <a:off x="1346" y="2299"/>
              <a:ext cx="653" cy="272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Times New Roman" pitchFamily="18" charset="0"/>
                  <a:cs typeface="Arial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Times New Roman" pitchFamily="18" charset="0"/>
                  <a:cs typeface="Arial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Times New Roman" pitchFamily="18" charset="0"/>
                  <a:cs typeface="Arial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Times New Roman" pitchFamily="18" charset="0"/>
                  <a:cs typeface="Arial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Times New Roman" pitchFamily="18" charset="0"/>
                  <a:cs typeface="Arial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Times New Roman" pitchFamily="18" charset="0"/>
                  <a:cs typeface="Arial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Times New Roman" pitchFamily="18" charset="0"/>
                  <a:cs typeface="Arial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Times New Roman" pitchFamily="18" charset="0"/>
                  <a:cs typeface="Arial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Times New Roman" pitchFamily="18" charset="0"/>
                  <a:cs typeface="Arial" pitchFamily="34" charset="0"/>
                </a:defRPr>
              </a:lvl9pPr>
            </a:lstStyle>
            <a:p>
              <a:pPr algn="ctr"/>
              <a:r>
                <a:rPr lang="pt-BR" altLang="ko-KR" sz="1500" b="1">
                  <a:latin typeface="Arial" pitchFamily="34" charset="0"/>
                  <a:ea typeface="굴림" pitchFamily="34" charset="-127"/>
                </a:rPr>
                <a:t>Hedge</a:t>
              </a:r>
              <a:endParaRPr lang="pt-BR" sz="1500"/>
            </a:p>
          </p:txBody>
        </p:sp>
      </p:grpSp>
      <p:sp>
        <p:nvSpPr>
          <p:cNvPr id="26" name="Text Box 25"/>
          <p:cNvSpPr txBox="1">
            <a:spLocks noChangeArrowheads="1"/>
          </p:cNvSpPr>
          <p:nvPr/>
        </p:nvSpPr>
        <p:spPr bwMode="auto">
          <a:xfrm>
            <a:off x="1213668" y="5738714"/>
            <a:ext cx="5446564" cy="4985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457200" indent="-457200"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9pPr>
          </a:lstStyle>
          <a:p>
            <a:pPr marL="134538" indent="-134538">
              <a:lnSpc>
                <a:spcPct val="110000"/>
              </a:lnSpc>
              <a:spcBef>
                <a:spcPct val="30000"/>
              </a:spcBef>
              <a:buFont typeface="Wingdings" pitchFamily="2" charset="2"/>
              <a:buChar char="§"/>
            </a:pPr>
            <a:r>
              <a:rPr lang="pt-BR" sz="2400" dirty="0">
                <a:latin typeface="Arial" pitchFamily="34" charset="0"/>
              </a:rPr>
              <a:t>Valor do insumo a ser recuperado ?</a:t>
            </a:r>
          </a:p>
        </p:txBody>
      </p:sp>
    </p:spTree>
    <p:extLst>
      <p:ext uri="{BB962C8B-B14F-4D97-AF65-F5344CB8AC3E}">
        <p14:creationId xmlns:p14="http://schemas.microsoft.com/office/powerpoint/2010/main" val="14428352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2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81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102812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102812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 nodeType="withGroup">
                            <p:stCondLst>
                              <p:cond delay="500"/>
                            </p:stCondLst>
                            <p:childTnLst>
                              <p:par>
                                <p:cTn id="10" presetID="2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81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" dur="500" fill="hold"/>
                                        <p:tgtEl>
                                          <p:spTgt spid="102812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500" fill="hold"/>
                                        <p:tgtEl>
                                          <p:spTgt spid="102812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 nodeType="withGroup">
                            <p:stCondLst>
                              <p:cond delay="1000"/>
                            </p:stCondLst>
                            <p:childTnLst>
                              <p:par>
                                <p:cTn id="15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810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7" dur="1000"/>
                                        <p:tgtEl>
                                          <p:spTgt spid="102810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2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81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0" dur="500" fill="hold"/>
                                        <p:tgtEl>
                                          <p:spTgt spid="102812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" dur="500" fill="hold"/>
                                        <p:tgtEl>
                                          <p:spTgt spid="102812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 nodeType="afterGroup">
                            <p:stCondLst>
                              <p:cond delay="2000"/>
                            </p:stCondLst>
                            <p:childTnLst>
                              <p:par>
                                <p:cTn id="23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810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5" dur="1000"/>
                                        <p:tgtEl>
                                          <p:spTgt spid="102810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2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81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8" dur="500" fill="hold"/>
                                        <p:tgtEl>
                                          <p:spTgt spid="102812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" dur="500" fill="hold"/>
                                        <p:tgtEl>
                                          <p:spTgt spid="102812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0" fill="hold" nodeType="afterGroup">
                            <p:stCondLst>
                              <p:cond delay="3000"/>
                            </p:stCondLst>
                            <p:childTnLst>
                              <p:par>
                                <p:cTn id="31" presetID="9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81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33" dur="500"/>
                                        <p:tgtEl>
                                          <p:spTgt spid="10281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4" fill="hold">
                            <p:stCondLst>
                              <p:cond delay="3500"/>
                            </p:stCondLst>
                            <p:childTnLst>
                              <p:par>
                                <p:cTn id="35" presetID="2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7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8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9" fill="hold">
                            <p:stCondLst>
                              <p:cond delay="4000"/>
                            </p:stCondLst>
                            <p:childTnLst>
                              <p:par>
                                <p:cTn id="40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42" dur="10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3" presetID="2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5" dur="5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6" dur="5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7" fill="hold">
                            <p:stCondLst>
                              <p:cond delay="5000"/>
                            </p:stCondLst>
                            <p:childTnLst>
                              <p:par>
                                <p:cTn id="48" presetID="2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0" dur="5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1" dur="5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28106" grpId="0" animBg="1"/>
      <p:bldP spid="1028107" grpId="0" animBg="1"/>
      <p:bldP spid="1028121" grpId="0" autoUpdateAnimBg="0"/>
      <p:bldP spid="19" grpId="0" animBg="1"/>
      <p:bldP spid="26" grpId="0"/>
    </p:bldLst>
  </p:timing>
</p:sld>
</file>

<file path=ppt/slides/slide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/>
          </p:cNvSpPr>
          <p:nvPr/>
        </p:nvSpPr>
        <p:spPr bwMode="auto">
          <a:xfrm>
            <a:off x="1143000" y="188640"/>
            <a:ext cx="6858000" cy="6917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/>
          <a:p>
            <a:pPr algn="ctr" eaLnBrk="0" hangingPunct="0"/>
            <a:r>
              <a:rPr lang="pt-BR" sz="2700" b="1" dirty="0">
                <a:solidFill>
                  <a:schemeClr val="tx2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Tahoma" pitchFamily="34" charset="0"/>
              </a:rPr>
              <a:t>FIDC</a:t>
            </a:r>
          </a:p>
        </p:txBody>
      </p:sp>
      <p:graphicFrame>
        <p:nvGraphicFramePr>
          <p:cNvPr id="6" name="Gráfico 5"/>
          <p:cNvGraphicFramePr/>
          <p:nvPr>
            <p:extLst>
              <p:ext uri="{D42A27DB-BD31-4B8C-83A1-F6EECF244321}">
                <p14:modId xmlns:p14="http://schemas.microsoft.com/office/powerpoint/2010/main" val="176598097"/>
              </p:ext>
            </p:extLst>
          </p:nvPr>
        </p:nvGraphicFramePr>
        <p:xfrm>
          <a:off x="179512" y="1195194"/>
          <a:ext cx="8794229" cy="53301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7" name="CaixaDeTexto 6"/>
          <p:cNvSpPr txBox="1"/>
          <p:nvPr/>
        </p:nvSpPr>
        <p:spPr>
          <a:xfrm>
            <a:off x="323528" y="6381328"/>
            <a:ext cx="1836204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050" dirty="0">
                <a:solidFill>
                  <a:schemeClr val="accent6">
                    <a:lumMod val="40000"/>
                    <a:lumOff val="60000"/>
                  </a:schemeClr>
                </a:solidFill>
              </a:rPr>
              <a:t>Fonte: UQBAR (2015)</a:t>
            </a:r>
          </a:p>
        </p:txBody>
      </p:sp>
      <p:sp>
        <p:nvSpPr>
          <p:cNvPr id="8" name="CaixaDeTexto 7"/>
          <p:cNvSpPr txBox="1"/>
          <p:nvPr/>
        </p:nvSpPr>
        <p:spPr>
          <a:xfrm>
            <a:off x="6084168" y="6309320"/>
            <a:ext cx="2754306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050" dirty="0">
                <a:solidFill>
                  <a:srgbClr val="C00000"/>
                </a:solidFill>
              </a:rPr>
              <a:t>Obs.: Sem o FIDC Sistema Petrobrás NP</a:t>
            </a:r>
          </a:p>
        </p:txBody>
      </p:sp>
      <p:sp>
        <p:nvSpPr>
          <p:cNvPr id="9" name="CaixaDeTexto 8"/>
          <p:cNvSpPr txBox="1"/>
          <p:nvPr/>
        </p:nvSpPr>
        <p:spPr>
          <a:xfrm>
            <a:off x="7092281" y="1772817"/>
            <a:ext cx="1926214" cy="323165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pt-BR" sz="1500" dirty="0">
                <a:solidFill>
                  <a:srgbClr val="C00000"/>
                </a:solidFill>
              </a:rPr>
              <a:t>PL = R$ 65,7 bilhões</a:t>
            </a:r>
          </a:p>
        </p:txBody>
      </p:sp>
    </p:spTree>
    <p:extLst>
      <p:ext uri="{BB962C8B-B14F-4D97-AF65-F5344CB8AC3E}">
        <p14:creationId xmlns:p14="http://schemas.microsoft.com/office/powerpoint/2010/main" val="25491811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49252" name="Text Box 4"/>
          <p:cNvSpPr txBox="1">
            <a:spLocks noChangeArrowheads="1"/>
          </p:cNvSpPr>
          <p:nvPr/>
        </p:nvSpPr>
        <p:spPr bwMode="auto">
          <a:xfrm>
            <a:off x="1358504" y="2014632"/>
            <a:ext cx="6526611" cy="1107996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square">
            <a:spAutoFit/>
          </a:bodyPr>
          <a:lstStyle/>
          <a:p>
            <a:pPr algn="ctr">
              <a:lnSpc>
                <a:spcPct val="110000"/>
              </a:lnSpc>
              <a:spcBef>
                <a:spcPct val="20000"/>
              </a:spcBef>
              <a:defRPr/>
            </a:pPr>
            <a:r>
              <a:rPr lang="pt-BR" sz="3000" b="1" dirty="0">
                <a:solidFill>
                  <a:schemeClr val="tx2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Lucida Sans Unicode" pitchFamily="34" charset="0"/>
              </a:rPr>
              <a:t>Novos Instrumentos de Financiamento do Agronegócio</a:t>
            </a:r>
          </a:p>
        </p:txBody>
      </p:sp>
    </p:spTree>
    <p:extLst>
      <p:ext uri="{BB962C8B-B14F-4D97-AF65-F5344CB8AC3E}">
        <p14:creationId xmlns:p14="http://schemas.microsoft.com/office/powerpoint/2010/main" val="2402558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492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7" dur="500"/>
                                        <p:tgtEl>
                                          <p:spTgt spid="9492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49252" grpId="0" autoUpdateAnimBg="0"/>
    </p:bldLst>
  </p:timing>
</p:sld>
</file>

<file path=ppt/slides/slide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Group 13"/>
          <p:cNvGraphicFramePr>
            <a:graphicFrameLocks noGrp="1"/>
          </p:cNvGraphicFramePr>
          <p:nvPr>
            <p:ph sz="quarter" idx="13"/>
            <p:extLst>
              <p:ext uri="{D42A27DB-BD31-4B8C-83A1-F6EECF244321}">
                <p14:modId xmlns:p14="http://schemas.microsoft.com/office/powerpoint/2010/main" val="3547279238"/>
              </p:ext>
            </p:extLst>
          </p:nvPr>
        </p:nvGraphicFramePr>
        <p:xfrm>
          <a:off x="89618" y="199980"/>
          <a:ext cx="8874870" cy="6469380"/>
        </p:xfrm>
        <a:graphic>
          <a:graphicData uri="http://schemas.openxmlformats.org/drawingml/2006/table">
            <a:tbl>
              <a:tblPr/>
              <a:tblGrid>
                <a:gridCol w="8874870"/>
              </a:tblGrid>
              <a:tr h="5225166">
                <a:tc>
                  <a:txBody>
                    <a:bodyPr/>
                    <a:lstStyle>
                      <a:lvl1pPr marL="342900" indent="-342900">
                        <a:spcBef>
                          <a:spcPct val="20000"/>
                        </a:spcBef>
                        <a:defRPr sz="2800">
                          <a:solidFill>
                            <a:srgbClr val="FFFF00"/>
                          </a:solidFill>
                          <a:latin typeface="Times New Roman" panose="02020603050405020304" pitchFamily="18" charset="0"/>
                          <a:cs typeface="Arial" panose="020B0604020202020204" pitchFamily="34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defRPr sz="2400">
                          <a:solidFill>
                            <a:srgbClr val="FFFF00"/>
                          </a:solidFill>
                          <a:latin typeface="Times New Roman" panose="02020603050405020304" pitchFamily="18" charset="0"/>
                          <a:cs typeface="Arial" panose="020B0604020202020204" pitchFamily="34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defRPr sz="2000">
                          <a:solidFill>
                            <a:srgbClr val="FFFF00"/>
                          </a:solidFill>
                          <a:latin typeface="Times New Roman" panose="02020603050405020304" pitchFamily="18" charset="0"/>
                          <a:cs typeface="Arial" panose="020B0604020202020204" pitchFamily="34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defRPr>
                          <a:solidFill>
                            <a:srgbClr val="FFFF00"/>
                          </a:solidFill>
                          <a:latin typeface="Times New Roman" panose="02020603050405020304" pitchFamily="18" charset="0"/>
                          <a:cs typeface="Arial" panose="020B0604020202020204" pitchFamily="34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defRPr>
                          <a:solidFill>
                            <a:srgbClr val="FFFF00"/>
                          </a:solidFill>
                          <a:latin typeface="Times New Roman" panose="02020603050405020304" pitchFamily="18" charset="0"/>
                          <a:cs typeface="Arial" panose="020B0604020202020204" pitchFamily="34" charset="0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rgbClr val="FFFF00"/>
                          </a:solidFill>
                          <a:latin typeface="Times New Roman" panose="02020603050405020304" pitchFamily="18" charset="0"/>
                          <a:cs typeface="Arial" panose="020B0604020202020204" pitchFamily="34" charset="0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rgbClr val="FFFF00"/>
                          </a:solidFill>
                          <a:latin typeface="Times New Roman" panose="02020603050405020304" pitchFamily="18" charset="0"/>
                          <a:cs typeface="Arial" panose="020B0604020202020204" pitchFamily="34" charset="0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rgbClr val="FFFF00"/>
                          </a:solidFill>
                          <a:latin typeface="Times New Roman" panose="02020603050405020304" pitchFamily="18" charset="0"/>
                          <a:cs typeface="Arial" panose="020B0604020202020204" pitchFamily="34" charset="0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rgbClr val="FFFF00"/>
                          </a:solidFill>
                          <a:latin typeface="Times New Roman" panose="02020603050405020304" pitchFamily="18" charset="0"/>
                          <a:cs typeface="Arial" panose="020B0604020202020204" pitchFamily="34" charset="0"/>
                        </a:defRPr>
                      </a:lvl9pPr>
                    </a:lstStyle>
                    <a:p>
                      <a:pPr marL="342900" marR="0" lvl="0" indent="-34290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5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altLang="pt-BR" sz="2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Times New Roman" panose="02020603050405020304" pitchFamily="18" charset="0"/>
                        </a:rPr>
                        <a:t>CDCA - Certificado de Direitos Creditórios do Agronegócio</a:t>
                      </a:r>
                    </a:p>
                    <a:p>
                      <a:pPr marL="342900" marR="0" lvl="0" indent="-3429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50000"/>
                        </a:spcAft>
                        <a:buClrTx/>
                        <a:buSzTx/>
                        <a:buFontTx/>
                        <a:buChar char="•"/>
                        <a:tabLst/>
                      </a:pPr>
                      <a:r>
                        <a:rPr kumimoji="0" lang="pt-BR" altLang="pt-BR" sz="2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Times New Roman" panose="02020603050405020304" pitchFamily="18" charset="0"/>
                        </a:rPr>
                        <a:t>Título de crédito nominativo, de livre negociação e representativo de promessa de pagamento em dinheiro, vinculado a direitos creditórios originários de negócios realizados entre produtores rurais, ou suas cooperativas, e terceiros, inclusive financiamentos ou empréstimos. </a:t>
                      </a:r>
                    </a:p>
                    <a:p>
                      <a:pPr marL="342900" marR="0" lvl="0" indent="-3429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50000"/>
                        </a:spcAft>
                        <a:buClrTx/>
                        <a:buSzTx/>
                        <a:buFontTx/>
                        <a:buChar char="•"/>
                        <a:tabLst/>
                      </a:pPr>
                      <a:r>
                        <a:rPr kumimoji="0" lang="pt-BR" altLang="pt-BR" sz="2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Times New Roman" panose="02020603050405020304" pitchFamily="18" charset="0"/>
                        </a:rPr>
                        <a:t>É de emissão exclusiva de cooperativas de produtores rurais e de outras pessoas jurídicas que exerçam a atividade de comercialização, beneficiamento ou industrialização de produtos e insumos agropecuários ou de máquinas e implementos utilizados na produção agropecuária. </a:t>
                      </a:r>
                    </a:p>
                  </a:txBody>
                  <a:tcPr marT="34290" marB="34290" anchor="ctr" horzOverflow="overflow">
                    <a:lnL cap="flat">
                      <a:noFill/>
                    </a:lnL>
                    <a:lnR cap="flat"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5061122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9267" name="Line 38"/>
          <p:cNvSpPr>
            <a:spLocks noChangeShapeType="1"/>
          </p:cNvSpPr>
          <p:nvPr/>
        </p:nvSpPr>
        <p:spPr bwMode="auto">
          <a:xfrm flipV="1">
            <a:off x="4695304" y="3286127"/>
            <a:ext cx="3111500" cy="9525"/>
          </a:xfrm>
          <a:prstGeom prst="line">
            <a:avLst/>
          </a:prstGeom>
          <a:noFill/>
          <a:ln w="57150">
            <a:solidFill>
              <a:schemeClr val="tx2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pt-BR" sz="1350"/>
          </a:p>
        </p:txBody>
      </p:sp>
      <p:sp>
        <p:nvSpPr>
          <p:cNvPr id="139268" name="AutoShape 34"/>
          <p:cNvSpPr>
            <a:spLocks noChangeArrowheads="1"/>
          </p:cNvSpPr>
          <p:nvPr/>
        </p:nvSpPr>
        <p:spPr bwMode="auto">
          <a:xfrm rot="16200000" flipH="1">
            <a:off x="3545360" y="2947791"/>
            <a:ext cx="1620441" cy="720725"/>
          </a:xfrm>
          <a:prstGeom prst="roundRect">
            <a:avLst>
              <a:gd name="adj" fmla="val 16667"/>
            </a:avLst>
          </a:prstGeom>
          <a:solidFill>
            <a:srgbClr val="FFFF00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endParaRPr lang="pt-BR" sz="1350"/>
          </a:p>
        </p:txBody>
      </p:sp>
      <p:sp>
        <p:nvSpPr>
          <p:cNvPr id="950278" name="Rectangle 6"/>
          <p:cNvSpPr>
            <a:spLocks noChangeArrowheads="1"/>
          </p:cNvSpPr>
          <p:nvPr/>
        </p:nvSpPr>
        <p:spPr bwMode="auto">
          <a:xfrm>
            <a:off x="1691753" y="4670824"/>
            <a:ext cx="6178551" cy="69532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anchor="ctr"/>
          <a:lstStyle/>
          <a:p>
            <a:pPr algn="ctr">
              <a:defRPr/>
            </a:pPr>
            <a:r>
              <a:rPr lang="en-US" sz="2100" b="1" dirty="0" err="1">
                <a:solidFill>
                  <a:schemeClr val="tx2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Tahoma" pitchFamily="34" charset="0"/>
              </a:rPr>
              <a:t>Fluxo</a:t>
            </a:r>
            <a:r>
              <a:rPr lang="en-US" sz="2100" b="1" dirty="0">
                <a:solidFill>
                  <a:schemeClr val="tx2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Tahoma" pitchFamily="34" charset="0"/>
              </a:rPr>
              <a:t> </a:t>
            </a:r>
            <a:r>
              <a:rPr lang="en-US" sz="2100" b="1" dirty="0" err="1">
                <a:solidFill>
                  <a:schemeClr val="tx2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Tahoma" pitchFamily="34" charset="0"/>
              </a:rPr>
              <a:t>Operacional</a:t>
            </a:r>
            <a:endParaRPr lang="en-US" sz="2100" b="1" dirty="0">
              <a:solidFill>
                <a:schemeClr val="tx2"/>
              </a:solidFill>
              <a:effectLst>
                <a:outerShdw blurRad="38100" dist="38100" dir="2700000" algn="tl">
                  <a:srgbClr val="C0C0C0"/>
                </a:outerShdw>
              </a:effectLst>
              <a:latin typeface="Tahoma" pitchFamily="34" charset="0"/>
            </a:endParaRPr>
          </a:p>
        </p:txBody>
      </p:sp>
      <p:sp>
        <p:nvSpPr>
          <p:cNvPr id="139285" name="AutoShape 11"/>
          <p:cNvSpPr>
            <a:spLocks noChangeArrowheads="1"/>
          </p:cNvSpPr>
          <p:nvPr/>
        </p:nvSpPr>
        <p:spPr bwMode="auto">
          <a:xfrm rot="16200000" flipH="1">
            <a:off x="3126260" y="2947791"/>
            <a:ext cx="1620441" cy="720725"/>
          </a:xfrm>
          <a:prstGeom prst="roundRect">
            <a:avLst>
              <a:gd name="adj" fmla="val 16667"/>
            </a:avLst>
          </a:prstGeom>
          <a:solidFill>
            <a:srgbClr val="0000FF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endParaRPr lang="pt-BR" sz="1350">
              <a:solidFill>
                <a:schemeClr val="bg1"/>
              </a:solidFill>
            </a:endParaRPr>
          </a:p>
        </p:txBody>
      </p:sp>
      <p:sp>
        <p:nvSpPr>
          <p:cNvPr id="139286" name="Text Box 12"/>
          <p:cNvSpPr txBox="1">
            <a:spLocks noChangeArrowheads="1"/>
          </p:cNvSpPr>
          <p:nvPr/>
        </p:nvSpPr>
        <p:spPr bwMode="auto">
          <a:xfrm rot="16200000" flipH="1">
            <a:off x="3140870" y="3028972"/>
            <a:ext cx="1626145" cy="5539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9pPr>
          </a:lstStyle>
          <a:p>
            <a:pPr algn="ctr" eaLnBrk="0" hangingPunct="0">
              <a:spcBef>
                <a:spcPct val="50000"/>
              </a:spcBef>
            </a:pPr>
            <a:r>
              <a:rPr lang="pt-BR" sz="1500" b="1" dirty="0">
                <a:solidFill>
                  <a:schemeClr val="bg1"/>
                </a:solidFill>
                <a:latin typeface="Arial" pitchFamily="34" charset="0"/>
              </a:rPr>
              <a:t>EMPRESA / COOPERATIVA</a:t>
            </a:r>
          </a:p>
        </p:txBody>
      </p:sp>
      <p:sp>
        <p:nvSpPr>
          <p:cNvPr id="139283" name="AutoShape 13"/>
          <p:cNvSpPr>
            <a:spLocks noChangeArrowheads="1"/>
          </p:cNvSpPr>
          <p:nvPr/>
        </p:nvSpPr>
        <p:spPr bwMode="auto">
          <a:xfrm rot="16200000" flipH="1">
            <a:off x="679921" y="2947791"/>
            <a:ext cx="1620441" cy="720725"/>
          </a:xfrm>
          <a:prstGeom prst="roundRect">
            <a:avLst>
              <a:gd name="adj" fmla="val 16667"/>
            </a:avLst>
          </a:prstGeom>
          <a:solidFill>
            <a:srgbClr val="0000FF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endParaRPr lang="pt-BR" sz="1350">
              <a:solidFill>
                <a:schemeClr val="bg1"/>
              </a:solidFill>
            </a:endParaRPr>
          </a:p>
        </p:txBody>
      </p:sp>
      <p:sp>
        <p:nvSpPr>
          <p:cNvPr id="950286" name="Text Box 14"/>
          <p:cNvSpPr txBox="1">
            <a:spLocks noChangeArrowheads="1"/>
          </p:cNvSpPr>
          <p:nvPr/>
        </p:nvSpPr>
        <p:spPr bwMode="auto">
          <a:xfrm rot="16200000" flipH="1">
            <a:off x="687859" y="3021629"/>
            <a:ext cx="1639491" cy="553998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>
            <a:spAutoFit/>
          </a:bodyPr>
          <a:lstStyle>
            <a:lvl1pPr>
              <a:defRPr sz="2400">
                <a:solidFill>
                  <a:schemeClr val="tx1"/>
                </a:solidFill>
                <a:latin typeface="Times New Roman" pitchFamily="18" charset="0"/>
              </a:defRPr>
            </a:lvl1pPr>
            <a:lvl2pPr marL="2343150" indent="-714375">
              <a:defRPr sz="2400">
                <a:solidFill>
                  <a:schemeClr val="tx1"/>
                </a:solidFill>
                <a:latin typeface="Times New Roman" pitchFamily="18" charset="0"/>
              </a:defRPr>
            </a:lvl2pPr>
            <a:lvl3pPr marL="4229100" indent="-828675">
              <a:defRPr sz="2400">
                <a:solidFill>
                  <a:schemeClr val="tx1"/>
                </a:solidFill>
                <a:latin typeface="Times New Roman" pitchFamily="18" charset="0"/>
              </a:defRPr>
            </a:lvl3pPr>
            <a:lvl4pPr marL="4408488">
              <a:defRPr sz="2400">
                <a:solidFill>
                  <a:schemeClr val="tx1"/>
                </a:solidFill>
                <a:latin typeface="Times New Roman" pitchFamily="18" charset="0"/>
              </a:defRPr>
            </a:lvl4pPr>
            <a:lvl5pPr marL="4587875">
              <a:defRPr sz="2400">
                <a:solidFill>
                  <a:schemeClr val="tx1"/>
                </a:solidFill>
                <a:latin typeface="Times New Roman" pitchFamily="18" charset="0"/>
              </a:defRPr>
            </a:lvl5pPr>
            <a:lvl6pPr marL="5045075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6pPr>
            <a:lvl7pPr marL="5502275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7pPr>
            <a:lvl8pPr marL="5959475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8pPr>
            <a:lvl9pPr marL="6416675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algn="ctr" eaLnBrk="0" hangingPunct="0">
              <a:spcBef>
                <a:spcPct val="50000"/>
              </a:spcBef>
              <a:defRPr/>
            </a:pPr>
            <a:r>
              <a:rPr lang="pt-BR" sz="1500" b="1" dirty="0">
                <a:solidFill>
                  <a:schemeClr val="bg1"/>
                </a:solidFill>
                <a:effectLst>
                  <a:outerShdw blurRad="38100" dist="38100" dir="2700000" algn="tl">
                    <a:srgbClr val="FFFFFF"/>
                  </a:outerShdw>
                </a:effectLst>
                <a:latin typeface="Arial" pitchFamily="34" charset="0"/>
              </a:rPr>
              <a:t>PRODUTOR / COOPERATIVA</a:t>
            </a:r>
          </a:p>
        </p:txBody>
      </p:sp>
      <p:sp>
        <p:nvSpPr>
          <p:cNvPr id="139281" name="AutoShape 15"/>
          <p:cNvSpPr>
            <a:spLocks noChangeArrowheads="1"/>
          </p:cNvSpPr>
          <p:nvPr/>
        </p:nvSpPr>
        <p:spPr bwMode="auto">
          <a:xfrm>
            <a:off x="5125517" y="3019425"/>
            <a:ext cx="2160587" cy="540544"/>
          </a:xfrm>
          <a:prstGeom prst="roundRect">
            <a:avLst>
              <a:gd name="adj" fmla="val 16667"/>
            </a:avLst>
          </a:prstGeom>
          <a:solidFill>
            <a:srgbClr val="0000FF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endParaRPr lang="pt-BR" sz="1350"/>
          </a:p>
        </p:txBody>
      </p:sp>
      <p:sp>
        <p:nvSpPr>
          <p:cNvPr id="950288" name="Text Box 16"/>
          <p:cNvSpPr txBox="1">
            <a:spLocks noChangeArrowheads="1"/>
          </p:cNvSpPr>
          <p:nvPr/>
        </p:nvSpPr>
        <p:spPr bwMode="auto">
          <a:xfrm>
            <a:off x="5269980" y="3033712"/>
            <a:ext cx="1800225" cy="553998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>
            <a:spAutoFit/>
          </a:bodyPr>
          <a:lstStyle>
            <a:lvl1pPr>
              <a:defRPr sz="2400">
                <a:solidFill>
                  <a:schemeClr val="tx1"/>
                </a:solidFill>
                <a:latin typeface="Times New Roman" pitchFamily="18" charset="0"/>
              </a:defRPr>
            </a:lvl1pPr>
            <a:lvl2pPr marL="2343150" indent="-714375">
              <a:defRPr sz="2400">
                <a:solidFill>
                  <a:schemeClr val="tx1"/>
                </a:solidFill>
                <a:latin typeface="Times New Roman" pitchFamily="18" charset="0"/>
              </a:defRPr>
            </a:lvl2pPr>
            <a:lvl3pPr marL="4229100" indent="-828675">
              <a:defRPr sz="2400">
                <a:solidFill>
                  <a:schemeClr val="tx1"/>
                </a:solidFill>
                <a:latin typeface="Times New Roman" pitchFamily="18" charset="0"/>
              </a:defRPr>
            </a:lvl3pPr>
            <a:lvl4pPr marL="4408488">
              <a:defRPr sz="2400">
                <a:solidFill>
                  <a:schemeClr val="tx1"/>
                </a:solidFill>
                <a:latin typeface="Times New Roman" pitchFamily="18" charset="0"/>
              </a:defRPr>
            </a:lvl4pPr>
            <a:lvl5pPr marL="4587875">
              <a:defRPr sz="2400">
                <a:solidFill>
                  <a:schemeClr val="tx1"/>
                </a:solidFill>
                <a:latin typeface="Times New Roman" pitchFamily="18" charset="0"/>
              </a:defRPr>
            </a:lvl5pPr>
            <a:lvl6pPr marL="5045075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6pPr>
            <a:lvl7pPr marL="5502275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7pPr>
            <a:lvl8pPr marL="5959475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8pPr>
            <a:lvl9pPr marL="6416675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algn="ctr" eaLnBrk="0" hangingPunct="0">
              <a:spcBef>
                <a:spcPct val="50000"/>
              </a:spcBef>
              <a:defRPr/>
            </a:pPr>
            <a:r>
              <a:rPr lang="pt-BR" sz="1500" dirty="0">
                <a:solidFill>
                  <a:schemeClr val="bg1"/>
                </a:solidFill>
                <a:latin typeface="Arial" pitchFamily="34" charset="0"/>
              </a:rPr>
              <a:t>EMISSÃO DO </a:t>
            </a:r>
            <a:r>
              <a:rPr lang="pt-BR" sz="1500" b="1" dirty="0">
                <a:solidFill>
                  <a:schemeClr val="bg1"/>
                </a:solidFill>
                <a:effectLst>
                  <a:outerShdw blurRad="38100" dist="38100" dir="2700000" algn="tl">
                    <a:srgbClr val="FFFFFF"/>
                  </a:outerShdw>
                </a:effectLst>
                <a:latin typeface="Arial" pitchFamily="34" charset="0"/>
              </a:rPr>
              <a:t>CDCA</a:t>
            </a:r>
          </a:p>
        </p:txBody>
      </p:sp>
      <p:sp>
        <p:nvSpPr>
          <p:cNvPr id="139279" name="AutoShape 25"/>
          <p:cNvSpPr>
            <a:spLocks noChangeArrowheads="1"/>
          </p:cNvSpPr>
          <p:nvPr/>
        </p:nvSpPr>
        <p:spPr bwMode="auto">
          <a:xfrm rot="-5400000">
            <a:off x="7372822" y="2925169"/>
            <a:ext cx="1620440" cy="720725"/>
          </a:xfrm>
          <a:prstGeom prst="roundRect">
            <a:avLst>
              <a:gd name="adj" fmla="val 16667"/>
            </a:avLst>
          </a:prstGeom>
          <a:solidFill>
            <a:srgbClr val="0000FF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endParaRPr lang="pt-BR" sz="1350">
              <a:solidFill>
                <a:schemeClr val="bg1"/>
              </a:solidFill>
            </a:endParaRPr>
          </a:p>
        </p:txBody>
      </p:sp>
      <p:sp>
        <p:nvSpPr>
          <p:cNvPr id="139280" name="Text Box 26"/>
          <p:cNvSpPr txBox="1">
            <a:spLocks noChangeArrowheads="1"/>
          </p:cNvSpPr>
          <p:nvPr/>
        </p:nvSpPr>
        <p:spPr bwMode="auto">
          <a:xfrm rot="-5400000">
            <a:off x="7469870" y="3133958"/>
            <a:ext cx="1461268" cy="323165"/>
          </a:xfrm>
          <a:prstGeom prst="rect">
            <a:avLst/>
          </a:prstGeom>
          <a:solidFill>
            <a:srgbClr val="0000FF"/>
          </a:solidFill>
          <a:ln>
            <a:noFill/>
          </a:ln>
          <a:extLst/>
        </p:spPr>
        <p:txBody>
          <a:bodyPr wrap="square">
            <a:spAutoFit/>
          </a:bodyPr>
          <a:lstStyle>
            <a:lvl1pPr marL="266700" indent="-266700"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9pPr>
          </a:lstStyle>
          <a:p>
            <a:pPr algn="ctr" eaLnBrk="0" hangingPunct="0">
              <a:spcBef>
                <a:spcPct val="50000"/>
              </a:spcBef>
            </a:pPr>
            <a:r>
              <a:rPr lang="pt-BR" sz="1500" b="1" dirty="0">
                <a:solidFill>
                  <a:schemeClr val="bg1"/>
                </a:solidFill>
                <a:latin typeface="Arial" pitchFamily="34" charset="0"/>
              </a:rPr>
              <a:t>INVESTIDOR</a:t>
            </a:r>
          </a:p>
        </p:txBody>
      </p:sp>
      <p:sp>
        <p:nvSpPr>
          <p:cNvPr id="950301" name="Text Box 29"/>
          <p:cNvSpPr txBox="1">
            <a:spLocks noChangeArrowheads="1"/>
          </p:cNvSpPr>
          <p:nvPr/>
        </p:nvSpPr>
        <p:spPr bwMode="auto">
          <a:xfrm>
            <a:off x="1902893" y="2909887"/>
            <a:ext cx="1592263" cy="300082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>
            <a:spAutoFit/>
          </a:bodyPr>
          <a:lstStyle/>
          <a:p>
            <a:pPr algn="ctr">
              <a:spcBef>
                <a:spcPct val="50000"/>
              </a:spcBef>
              <a:defRPr/>
            </a:pPr>
            <a:r>
              <a:rPr lang="pt-BR" sz="1350">
                <a:solidFill>
                  <a:schemeClr val="tx2"/>
                </a:solidFill>
                <a:latin typeface="Arial" pitchFamily="34" charset="0"/>
              </a:rPr>
              <a:t>Emite </a:t>
            </a:r>
            <a:r>
              <a:rPr lang="pt-BR" sz="1350" b="1">
                <a:solidFill>
                  <a:schemeClr val="tx2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pitchFamily="34" charset="0"/>
              </a:rPr>
              <a:t>CPR</a:t>
            </a:r>
          </a:p>
        </p:txBody>
      </p:sp>
      <p:sp>
        <p:nvSpPr>
          <p:cNvPr id="139275" name="Line 30"/>
          <p:cNvSpPr>
            <a:spLocks noChangeShapeType="1"/>
          </p:cNvSpPr>
          <p:nvPr/>
        </p:nvSpPr>
        <p:spPr bwMode="auto">
          <a:xfrm flipV="1">
            <a:off x="1850503" y="3190875"/>
            <a:ext cx="1714500" cy="0"/>
          </a:xfrm>
          <a:prstGeom prst="line">
            <a:avLst/>
          </a:prstGeom>
          <a:noFill/>
          <a:ln w="57150">
            <a:solidFill>
              <a:schemeClr val="tx2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pt-BR" sz="1350"/>
          </a:p>
        </p:txBody>
      </p:sp>
      <p:sp>
        <p:nvSpPr>
          <p:cNvPr id="139276" name="Line 31"/>
          <p:cNvSpPr>
            <a:spLocks noChangeShapeType="1"/>
          </p:cNvSpPr>
          <p:nvPr/>
        </p:nvSpPr>
        <p:spPr bwMode="auto">
          <a:xfrm flipV="1">
            <a:off x="1837804" y="3419475"/>
            <a:ext cx="1714500" cy="0"/>
          </a:xfrm>
          <a:prstGeom prst="line">
            <a:avLst/>
          </a:prstGeom>
          <a:noFill/>
          <a:ln w="57150">
            <a:solidFill>
              <a:schemeClr val="tx2"/>
            </a:solidFill>
            <a:round/>
            <a:headEnd type="triangle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pt-BR" sz="1350"/>
          </a:p>
        </p:txBody>
      </p:sp>
      <p:sp>
        <p:nvSpPr>
          <p:cNvPr id="950304" name="Text Box 32"/>
          <p:cNvSpPr txBox="1">
            <a:spLocks noChangeArrowheads="1"/>
          </p:cNvSpPr>
          <p:nvPr/>
        </p:nvSpPr>
        <p:spPr bwMode="auto">
          <a:xfrm>
            <a:off x="1966391" y="3414713"/>
            <a:ext cx="1503363" cy="300082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>
            <a:spAutoFit/>
          </a:bodyPr>
          <a:lstStyle/>
          <a:p>
            <a:pPr algn="ctr">
              <a:spcBef>
                <a:spcPct val="50000"/>
              </a:spcBef>
              <a:defRPr/>
            </a:pPr>
            <a:r>
              <a:rPr lang="pt-BR" sz="1350">
                <a:solidFill>
                  <a:schemeClr val="tx2"/>
                </a:solidFill>
                <a:latin typeface="Arial" pitchFamily="34" charset="0"/>
              </a:rPr>
              <a:t>Entrega Insumos</a:t>
            </a:r>
            <a:endParaRPr lang="pt-BR" sz="1350" b="1">
              <a:solidFill>
                <a:schemeClr val="tx2"/>
              </a:solidFill>
              <a:effectLst>
                <a:outerShdw blurRad="38100" dist="38100" dir="2700000" algn="tl">
                  <a:srgbClr val="C0C0C0"/>
                </a:outerShdw>
              </a:effectLst>
              <a:latin typeface="Arial" pitchFamily="34" charset="0"/>
            </a:endParaRPr>
          </a:p>
        </p:txBody>
      </p:sp>
      <p:sp>
        <p:nvSpPr>
          <p:cNvPr id="139278" name="Text Box 35"/>
          <p:cNvSpPr txBox="1">
            <a:spLocks noChangeArrowheads="1"/>
          </p:cNvSpPr>
          <p:nvPr/>
        </p:nvSpPr>
        <p:spPr bwMode="auto">
          <a:xfrm rot="16200000" flipH="1">
            <a:off x="3722563" y="3056024"/>
            <a:ext cx="1550194" cy="5078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9pPr>
          </a:lstStyle>
          <a:p>
            <a:pPr algn="ctr" eaLnBrk="0" hangingPunct="0">
              <a:spcBef>
                <a:spcPct val="50000"/>
              </a:spcBef>
            </a:pPr>
            <a:r>
              <a:rPr lang="pt-BR" sz="1350" b="1">
                <a:solidFill>
                  <a:schemeClr val="tx2"/>
                </a:solidFill>
                <a:latin typeface="Arial" pitchFamily="34" charset="0"/>
              </a:rPr>
              <a:t>Lastro Recebível</a:t>
            </a:r>
          </a:p>
        </p:txBody>
      </p:sp>
      <p:sp>
        <p:nvSpPr>
          <p:cNvPr id="23" name="Rectangle 2"/>
          <p:cNvSpPr>
            <a:spLocks noChangeArrowheads="1"/>
          </p:cNvSpPr>
          <p:nvPr/>
        </p:nvSpPr>
        <p:spPr bwMode="auto">
          <a:xfrm>
            <a:off x="0" y="897733"/>
            <a:ext cx="9144000" cy="69532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anchor="ctr"/>
          <a:lstStyle/>
          <a:p>
            <a:pPr algn="ctr">
              <a:defRPr/>
            </a:pPr>
            <a:r>
              <a:rPr lang="en-US" sz="2700" b="1" dirty="0">
                <a:solidFill>
                  <a:schemeClr val="tx2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Tahoma" pitchFamily="34" charset="0"/>
              </a:rPr>
              <a:t>CDCA</a:t>
            </a:r>
          </a:p>
        </p:txBody>
      </p:sp>
      <p:graphicFrame>
        <p:nvGraphicFramePr>
          <p:cNvPr id="24" name="Group 13"/>
          <p:cNvGraphicFramePr>
            <a:graphicFrameLocks noGrp="1"/>
          </p:cNvGraphicFramePr>
          <p:nvPr>
            <p:ph sz="quarter" idx="13"/>
            <p:extLst>
              <p:ext uri="{D42A27DB-BD31-4B8C-83A1-F6EECF244321}">
                <p14:modId xmlns:p14="http://schemas.microsoft.com/office/powerpoint/2010/main" val="3632699165"/>
              </p:ext>
            </p:extLst>
          </p:nvPr>
        </p:nvGraphicFramePr>
        <p:xfrm>
          <a:off x="899592" y="1844281"/>
          <a:ext cx="7777163" cy="446485"/>
        </p:xfrm>
        <a:graphic>
          <a:graphicData uri="http://schemas.openxmlformats.org/drawingml/2006/table">
            <a:tbl>
              <a:tblPr/>
              <a:tblGrid>
                <a:gridCol w="7777163"/>
              </a:tblGrid>
              <a:tr h="446485">
                <a:tc>
                  <a:txBody>
                    <a:bodyPr/>
                    <a:lstStyle/>
                    <a:p>
                      <a:pPr marL="342900" marR="0" lvl="0" indent="-34290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5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15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pitchFamily="34" charset="0"/>
                          <a:cs typeface="Times New Roman" pitchFamily="18" charset="0"/>
                        </a:rPr>
                        <a:t>CDCA - Certificado de Direitos Creditórios do Agronegócio</a:t>
                      </a:r>
                    </a:p>
                  </a:txBody>
                  <a:tcPr marL="91496" marR="91496" marT="34249" marB="34249" anchor="ctr" horzOverflow="overflow">
                    <a:lnL cap="flat">
                      <a:noFill/>
                    </a:lnL>
                    <a:lnR cap="flat"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621383134"/>
      </p:ext>
    </p:extLst>
  </p:cSld>
  <p:clrMapOvr>
    <a:masterClrMapping/>
  </p:clrMapOvr>
  <p:transition spd="slow"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92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7" dur="2000"/>
                                        <p:tgtEl>
                                          <p:spTgt spid="13928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502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0" dur="2000"/>
                                        <p:tgtEl>
                                          <p:spTgt spid="95028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 nodeType="clickPar">
                      <p:stCondLst>
                        <p:cond delay="indefinite"/>
                      </p:stCondLst>
                      <p:childTnLst>
                        <p:par>
                          <p:cTn id="12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3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5030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500"/>
                                        <p:tgtEl>
                                          <p:spTgt spid="95030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92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8" dur="500"/>
                                        <p:tgtEl>
                                          <p:spTgt spid="13927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 nodeType="afterGroup">
                            <p:stCondLst>
                              <p:cond delay="500"/>
                            </p:stCondLst>
                            <p:childTnLst>
                              <p:par>
                                <p:cTn id="20" presetID="6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92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22" dur="2000"/>
                                        <p:tgtEl>
                                          <p:spTgt spid="13928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92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25" dur="2000"/>
                                        <p:tgtEl>
                                          <p:spTgt spid="13928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6" fill="hold" nodeType="afterGroup">
                            <p:stCondLst>
                              <p:cond delay="2500"/>
                            </p:stCondLst>
                            <p:childTnLst>
                              <p:par>
                                <p:cTn id="27" presetID="2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92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29" dur="500"/>
                                        <p:tgtEl>
                                          <p:spTgt spid="13927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2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5030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32" dur="500"/>
                                        <p:tgtEl>
                                          <p:spTgt spid="95030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 nodeType="clickPar">
                      <p:stCondLst>
                        <p:cond delay="indefinite"/>
                      </p:stCondLst>
                      <p:childTnLst>
                        <p:par>
                          <p:cTn id="3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35" presetID="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92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7" dur="500" fill="hold"/>
                                        <p:tgtEl>
                                          <p:spTgt spid="13926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8" dur="500" fill="hold"/>
                                        <p:tgtEl>
                                          <p:spTgt spid="13926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9" presetID="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92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1" dur="500" fill="hold"/>
                                        <p:tgtEl>
                                          <p:spTgt spid="13927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2" dur="500" fill="hold"/>
                                        <p:tgtEl>
                                          <p:spTgt spid="13927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 nodeType="clickPar">
                      <p:stCondLst>
                        <p:cond delay="indefinite"/>
                      </p:stCondLst>
                      <p:childTnLst>
                        <p:par>
                          <p:cTn id="4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4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92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7" dur="500"/>
                                        <p:tgtEl>
                                          <p:spTgt spid="13926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8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92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0" dur="500"/>
                                        <p:tgtEl>
                                          <p:spTgt spid="13928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1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502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3" dur="500"/>
                                        <p:tgtEl>
                                          <p:spTgt spid="95028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4" fill="hold" nodeType="afterGroup">
                            <p:stCondLst>
                              <p:cond delay="500"/>
                            </p:stCondLst>
                            <p:childTnLst>
                              <p:par>
                                <p:cTn id="55" presetID="6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92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57" dur="2000"/>
                                        <p:tgtEl>
                                          <p:spTgt spid="13927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8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92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60" dur="2000"/>
                                        <p:tgtEl>
                                          <p:spTgt spid="13928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9267" grpId="0" animBg="1"/>
      <p:bldP spid="139268" grpId="0" animBg="1"/>
      <p:bldP spid="139285" grpId="0" animBg="1"/>
      <p:bldP spid="139286" grpId="0"/>
      <p:bldP spid="139283" grpId="0" animBg="1"/>
      <p:bldP spid="950286" grpId="0"/>
      <p:bldP spid="139281" grpId="0" animBg="1"/>
      <p:bldP spid="950288" grpId="0"/>
      <p:bldP spid="139279" grpId="0" animBg="1"/>
      <p:bldP spid="139280" grpId="0" animBg="1"/>
      <p:bldP spid="950301" grpId="0"/>
      <p:bldP spid="139275" grpId="0" animBg="1"/>
      <p:bldP spid="139276" grpId="0" animBg="1"/>
      <p:bldP spid="950304" grpId="0"/>
      <p:bldP spid="139278" grpId="0"/>
    </p:bldLst>
  </p:timing>
</p:sld>
</file>

<file path=ppt/slides/slide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7922" name="Rectangle 2"/>
          <p:cNvSpPr>
            <a:spLocks noChangeArrowheads="1"/>
          </p:cNvSpPr>
          <p:nvPr/>
        </p:nvSpPr>
        <p:spPr bwMode="auto">
          <a:xfrm>
            <a:off x="0" y="897733"/>
            <a:ext cx="9144000" cy="69532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anchor="ctr"/>
          <a:lstStyle/>
          <a:p>
            <a:pPr algn="ctr">
              <a:defRPr/>
            </a:pPr>
            <a:r>
              <a:rPr lang="en-US" sz="2700" b="1" dirty="0">
                <a:solidFill>
                  <a:schemeClr val="tx2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Tahoma" pitchFamily="34" charset="0"/>
              </a:rPr>
              <a:t>CDCA</a:t>
            </a:r>
          </a:p>
        </p:txBody>
      </p:sp>
      <p:graphicFrame>
        <p:nvGraphicFramePr>
          <p:cNvPr id="977933" name="Group 13"/>
          <p:cNvGraphicFramePr>
            <a:graphicFrameLocks noGrp="1"/>
          </p:cNvGraphicFramePr>
          <p:nvPr>
            <p:ph sz="quarter" idx="13"/>
            <p:extLst/>
          </p:nvPr>
        </p:nvGraphicFramePr>
        <p:xfrm>
          <a:off x="683570" y="1218102"/>
          <a:ext cx="7777163" cy="968760"/>
        </p:xfrm>
        <a:graphic>
          <a:graphicData uri="http://schemas.openxmlformats.org/drawingml/2006/table">
            <a:tbl>
              <a:tblPr/>
              <a:tblGrid>
                <a:gridCol w="7777163"/>
              </a:tblGrid>
              <a:tr h="968760">
                <a:tc>
                  <a:txBody>
                    <a:bodyPr/>
                    <a:lstStyle/>
                    <a:p>
                      <a:pPr marL="342900" marR="0" lvl="0" indent="-34290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5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15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pitchFamily="34" charset="0"/>
                          <a:cs typeface="Times New Roman" pitchFamily="18" charset="0"/>
                        </a:rPr>
                        <a:t>Negociações de CDCA na CETIP, em R$ milhões</a:t>
                      </a:r>
                    </a:p>
                  </a:txBody>
                  <a:tcPr marL="91496" marR="91496" marT="34305" marB="34305" anchor="ctr" horzOverflow="overflow">
                    <a:lnL cap="flat">
                      <a:noFill/>
                    </a:lnL>
                    <a:lnR cap="flat"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graphicFrame>
        <p:nvGraphicFramePr>
          <p:cNvPr id="4" name="Gráfico 3"/>
          <p:cNvGraphicFramePr/>
          <p:nvPr>
            <p:extLst>
              <p:ext uri="{D42A27DB-BD31-4B8C-83A1-F6EECF244321}">
                <p14:modId xmlns:p14="http://schemas.microsoft.com/office/powerpoint/2010/main" val="3516998591"/>
              </p:ext>
            </p:extLst>
          </p:nvPr>
        </p:nvGraphicFramePr>
        <p:xfrm>
          <a:off x="179512" y="1905000"/>
          <a:ext cx="8784977" cy="426030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5" name="CaixaDeTexto 4"/>
          <p:cNvSpPr txBox="1"/>
          <p:nvPr/>
        </p:nvSpPr>
        <p:spPr>
          <a:xfrm>
            <a:off x="539552" y="6415444"/>
            <a:ext cx="2448272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050" dirty="0">
                <a:solidFill>
                  <a:schemeClr val="bg1">
                    <a:lumMod val="50000"/>
                  </a:schemeClr>
                </a:solidFill>
              </a:rPr>
              <a:t>Fonte: CETIP (2017)</a:t>
            </a:r>
          </a:p>
        </p:txBody>
      </p:sp>
    </p:spTree>
    <p:extLst>
      <p:ext uri="{BB962C8B-B14F-4D97-AF65-F5344CB8AC3E}">
        <p14:creationId xmlns:p14="http://schemas.microsoft.com/office/powerpoint/2010/main" val="1727282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Group 3"/>
          <p:cNvGraphicFramePr>
            <a:graphicFrameLocks noGrp="1"/>
          </p:cNvGraphicFramePr>
          <p:nvPr>
            <p:ph sz="quarter" idx="13"/>
            <p:extLst>
              <p:ext uri="{D42A27DB-BD31-4B8C-83A1-F6EECF244321}">
                <p14:modId xmlns:p14="http://schemas.microsoft.com/office/powerpoint/2010/main" val="1484014419"/>
              </p:ext>
            </p:extLst>
          </p:nvPr>
        </p:nvGraphicFramePr>
        <p:xfrm>
          <a:off x="179512" y="188640"/>
          <a:ext cx="8964487" cy="6408712"/>
        </p:xfrm>
        <a:graphic>
          <a:graphicData uri="http://schemas.openxmlformats.org/drawingml/2006/table">
            <a:tbl>
              <a:tblPr/>
              <a:tblGrid>
                <a:gridCol w="8964487"/>
              </a:tblGrid>
              <a:tr h="6408712">
                <a:tc>
                  <a:txBody>
                    <a:bodyPr/>
                    <a:lstStyle>
                      <a:lvl1pPr marL="342900" indent="-342900">
                        <a:spcBef>
                          <a:spcPct val="20000"/>
                        </a:spcBef>
                        <a:defRPr sz="2800">
                          <a:solidFill>
                            <a:srgbClr val="FFFF00"/>
                          </a:solidFill>
                          <a:latin typeface="Times New Roman" panose="02020603050405020304" pitchFamily="18" charset="0"/>
                          <a:cs typeface="Arial" panose="020B0604020202020204" pitchFamily="34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defRPr sz="2400">
                          <a:solidFill>
                            <a:srgbClr val="FFFF00"/>
                          </a:solidFill>
                          <a:latin typeface="Times New Roman" panose="02020603050405020304" pitchFamily="18" charset="0"/>
                          <a:cs typeface="Arial" panose="020B0604020202020204" pitchFamily="34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defRPr sz="2000">
                          <a:solidFill>
                            <a:srgbClr val="FFFF00"/>
                          </a:solidFill>
                          <a:latin typeface="Times New Roman" panose="02020603050405020304" pitchFamily="18" charset="0"/>
                          <a:cs typeface="Arial" panose="020B0604020202020204" pitchFamily="34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defRPr>
                          <a:solidFill>
                            <a:srgbClr val="FFFF00"/>
                          </a:solidFill>
                          <a:latin typeface="Times New Roman" panose="02020603050405020304" pitchFamily="18" charset="0"/>
                          <a:cs typeface="Arial" panose="020B0604020202020204" pitchFamily="34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defRPr>
                          <a:solidFill>
                            <a:srgbClr val="FFFF00"/>
                          </a:solidFill>
                          <a:latin typeface="Times New Roman" panose="02020603050405020304" pitchFamily="18" charset="0"/>
                          <a:cs typeface="Arial" panose="020B0604020202020204" pitchFamily="34" charset="0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rgbClr val="FFFF00"/>
                          </a:solidFill>
                          <a:latin typeface="Times New Roman" panose="02020603050405020304" pitchFamily="18" charset="0"/>
                          <a:cs typeface="Arial" panose="020B0604020202020204" pitchFamily="34" charset="0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rgbClr val="FFFF00"/>
                          </a:solidFill>
                          <a:latin typeface="Times New Roman" panose="02020603050405020304" pitchFamily="18" charset="0"/>
                          <a:cs typeface="Arial" panose="020B0604020202020204" pitchFamily="34" charset="0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rgbClr val="FFFF00"/>
                          </a:solidFill>
                          <a:latin typeface="Times New Roman" panose="02020603050405020304" pitchFamily="18" charset="0"/>
                          <a:cs typeface="Arial" panose="020B0604020202020204" pitchFamily="34" charset="0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rgbClr val="FFFF00"/>
                          </a:solidFill>
                          <a:latin typeface="Times New Roman" panose="02020603050405020304" pitchFamily="18" charset="0"/>
                          <a:cs typeface="Arial" panose="020B0604020202020204" pitchFamily="34" charset="0"/>
                        </a:defRPr>
                      </a:lvl9pPr>
                    </a:lstStyle>
                    <a:p>
                      <a:pPr marL="342900" marR="0" lvl="0" indent="-34290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5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altLang="pt-BR" sz="2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Times New Roman" panose="02020603050405020304" pitchFamily="18" charset="0"/>
                        </a:rPr>
                        <a:t>CDA - Certificado de Depósito Agropecuário                                        WA - Warrant Agropecuário</a:t>
                      </a:r>
                    </a:p>
                    <a:p>
                      <a:pPr marL="342900" marR="0" lvl="0" indent="-3429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50000"/>
                        </a:spcAft>
                        <a:buClrTx/>
                        <a:buSzTx/>
                        <a:buFontTx/>
                        <a:buChar char="•"/>
                        <a:tabLst/>
                      </a:pPr>
                      <a:r>
                        <a:rPr kumimoji="0" lang="pt-BR" altLang="pt-BR" sz="2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Times New Roman" panose="02020603050405020304" pitchFamily="18" charset="0"/>
                        </a:rPr>
                        <a:t>O CDA veio substituir o “conhecimento de depósito” e consiste em um título de crédito representativo de uma promessa de entrega de produtos agropecuários. </a:t>
                      </a:r>
                    </a:p>
                    <a:p>
                      <a:pPr marL="342900" marR="0" lvl="0" indent="-3429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50000"/>
                        </a:spcAft>
                        <a:buClrTx/>
                        <a:buSzTx/>
                        <a:buFontTx/>
                        <a:buChar char="•"/>
                        <a:tabLst/>
                      </a:pPr>
                      <a:r>
                        <a:rPr kumimoji="0" lang="pt-BR" altLang="pt-BR" sz="2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Times New Roman" panose="02020603050405020304" pitchFamily="18" charset="0"/>
                        </a:rPr>
                        <a:t>O WA é um título de crédito que confere direito de penhor sobre a mercadoria descrita no CDA correspondente. Ambos são títulos de execução extrajudicial.</a:t>
                      </a:r>
                    </a:p>
                    <a:p>
                      <a:pPr marL="342900" marR="0" lvl="0" indent="-3429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50000"/>
                        </a:spcAft>
                        <a:buClrTx/>
                        <a:buSzTx/>
                        <a:buFontTx/>
                        <a:buChar char="•"/>
                        <a:tabLst/>
                      </a:pPr>
                      <a:r>
                        <a:rPr kumimoji="0" lang="pt-BR" altLang="pt-BR" sz="2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Times New Roman" panose="02020603050405020304" pitchFamily="18" charset="0"/>
                        </a:rPr>
                        <a:t>O CDA e o WA podem ser garantidos por aval bancário ou seguro e negociados em conjunto ou isoladamente. Devem ser registrados em sistema autorizado pelo Banco Central, em até 10 dias após a data de emissão, e são tributados como ativos financeiros, mas são isentos do IOF – Imposto sobre Operações Financeiras.</a:t>
                      </a:r>
                    </a:p>
                  </a:txBody>
                  <a:tcPr marT="34290" marB="34290" anchor="ctr" horzOverflow="overflow">
                    <a:lnL cap="flat">
                      <a:noFill/>
                    </a:lnL>
                    <a:lnR cap="flat"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1487553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7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2"/>
          <p:cNvSpPr>
            <a:spLocks noChangeArrowheads="1"/>
          </p:cNvSpPr>
          <p:nvPr/>
        </p:nvSpPr>
        <p:spPr bwMode="auto">
          <a:xfrm>
            <a:off x="0" y="897733"/>
            <a:ext cx="9144000" cy="69532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anchor="ctr"/>
          <a:lstStyle/>
          <a:p>
            <a:pPr lvl="0" algn="ctr">
              <a:defRPr/>
            </a:pPr>
            <a:r>
              <a:rPr lang="pt-BR" altLang="pt-BR" sz="2700" b="1" dirty="0">
                <a:solidFill>
                  <a:schemeClr val="tx2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Tahoma" pitchFamily="34" charset="0"/>
              </a:rPr>
              <a:t>CDA </a:t>
            </a:r>
            <a:r>
              <a:rPr lang="pt-BR" altLang="pt-BR" sz="2100" b="1" dirty="0">
                <a:solidFill>
                  <a:schemeClr val="tx2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Tahoma" pitchFamily="34" charset="0"/>
              </a:rPr>
              <a:t>- Certificado de Depósito Agropecuário</a:t>
            </a:r>
            <a:endParaRPr lang="pt-BR" altLang="pt-BR" sz="2700" b="1" dirty="0">
              <a:solidFill>
                <a:schemeClr val="tx2"/>
              </a:solidFill>
              <a:effectLst>
                <a:outerShdw blurRad="38100" dist="38100" dir="2700000" algn="tl">
                  <a:srgbClr val="C0C0C0"/>
                </a:outerShdw>
              </a:effectLst>
              <a:latin typeface="Tahoma" pitchFamily="34" charset="0"/>
            </a:endParaRPr>
          </a:p>
          <a:p>
            <a:pPr lvl="0" algn="ctr">
              <a:defRPr/>
            </a:pPr>
            <a:r>
              <a:rPr lang="pt-BR" altLang="pt-BR" sz="2700" b="1" dirty="0">
                <a:solidFill>
                  <a:schemeClr val="tx2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Tahoma" pitchFamily="34" charset="0"/>
              </a:rPr>
              <a:t>WA </a:t>
            </a:r>
            <a:r>
              <a:rPr lang="pt-BR" altLang="pt-BR" sz="2100" b="1" dirty="0">
                <a:solidFill>
                  <a:schemeClr val="tx2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Tahoma" pitchFamily="34" charset="0"/>
              </a:rPr>
              <a:t>- Warrant Agropecuário</a:t>
            </a:r>
            <a:endParaRPr lang="en-US" sz="2700" b="1" dirty="0">
              <a:solidFill>
                <a:schemeClr val="tx2"/>
              </a:solidFill>
              <a:effectLst>
                <a:outerShdw blurRad="38100" dist="38100" dir="2700000" algn="tl">
                  <a:srgbClr val="C0C0C0"/>
                </a:outerShdw>
              </a:effectLst>
              <a:latin typeface="Tahoma" pitchFamily="34" charset="0"/>
            </a:endParaRPr>
          </a:p>
        </p:txBody>
      </p:sp>
      <p:sp>
        <p:nvSpPr>
          <p:cNvPr id="7" name="Line 2"/>
          <p:cNvSpPr>
            <a:spLocks noChangeShapeType="1"/>
          </p:cNvSpPr>
          <p:nvPr/>
        </p:nvSpPr>
        <p:spPr bwMode="auto">
          <a:xfrm flipH="1">
            <a:off x="5056760" y="3454121"/>
            <a:ext cx="1206500" cy="0"/>
          </a:xfrm>
          <a:prstGeom prst="line">
            <a:avLst/>
          </a:prstGeom>
          <a:noFill/>
          <a:ln w="57150">
            <a:solidFill>
              <a:schemeClr val="tx2">
                <a:lumMod val="75000"/>
                <a:lumOff val="25000"/>
              </a:schemeClr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pt-BR" sz="1350"/>
          </a:p>
        </p:txBody>
      </p:sp>
      <p:sp>
        <p:nvSpPr>
          <p:cNvPr id="8" name="AutoShape 3"/>
          <p:cNvSpPr>
            <a:spLocks noChangeArrowheads="1"/>
          </p:cNvSpPr>
          <p:nvPr/>
        </p:nvSpPr>
        <p:spPr bwMode="auto">
          <a:xfrm>
            <a:off x="5315523" y="2307551"/>
            <a:ext cx="687387" cy="2274094"/>
          </a:xfrm>
          <a:prstGeom prst="roundRect">
            <a:avLst>
              <a:gd name="adj" fmla="val 16667"/>
            </a:avLst>
          </a:prstGeom>
          <a:solidFill>
            <a:srgbClr val="CCFFCC"/>
          </a:solidFill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pt-BR" sz="1350"/>
          </a:p>
        </p:txBody>
      </p:sp>
      <p:sp>
        <p:nvSpPr>
          <p:cNvPr id="9" name="AutoShape 4"/>
          <p:cNvSpPr>
            <a:spLocks noChangeArrowheads="1"/>
          </p:cNvSpPr>
          <p:nvPr/>
        </p:nvSpPr>
        <p:spPr bwMode="auto">
          <a:xfrm>
            <a:off x="6712523" y="2269451"/>
            <a:ext cx="1764990" cy="540544"/>
          </a:xfrm>
          <a:prstGeom prst="roundRect">
            <a:avLst>
              <a:gd name="adj" fmla="val 16667"/>
            </a:avLst>
          </a:prstGeom>
          <a:solidFill>
            <a:schemeClr val="bg1"/>
          </a:solidFill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pt-BR" sz="1350"/>
          </a:p>
        </p:txBody>
      </p:sp>
      <p:sp>
        <p:nvSpPr>
          <p:cNvPr id="10" name="AutoShape 5"/>
          <p:cNvSpPr>
            <a:spLocks noChangeArrowheads="1"/>
          </p:cNvSpPr>
          <p:nvPr/>
        </p:nvSpPr>
        <p:spPr bwMode="auto">
          <a:xfrm>
            <a:off x="6712523" y="4212551"/>
            <a:ext cx="1764990" cy="540544"/>
          </a:xfrm>
          <a:prstGeom prst="roundRect">
            <a:avLst>
              <a:gd name="adj" fmla="val 16667"/>
            </a:avLst>
          </a:prstGeom>
          <a:solidFill>
            <a:schemeClr val="bg1"/>
          </a:solidFill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pt-BR" sz="1350"/>
          </a:p>
        </p:txBody>
      </p:sp>
      <p:sp>
        <p:nvSpPr>
          <p:cNvPr id="11" name="AutoShape 7"/>
          <p:cNvSpPr>
            <a:spLocks noChangeArrowheads="1"/>
          </p:cNvSpPr>
          <p:nvPr/>
        </p:nvSpPr>
        <p:spPr bwMode="auto">
          <a:xfrm>
            <a:off x="6712523" y="3187422"/>
            <a:ext cx="1791992" cy="540544"/>
          </a:xfrm>
          <a:prstGeom prst="roundRect">
            <a:avLst>
              <a:gd name="adj" fmla="val 16667"/>
            </a:avLst>
          </a:prstGeom>
          <a:solidFill>
            <a:schemeClr val="bg1"/>
          </a:solidFill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pt-BR" sz="1350"/>
          </a:p>
        </p:txBody>
      </p:sp>
      <p:sp>
        <p:nvSpPr>
          <p:cNvPr id="12" name="Text Box 8"/>
          <p:cNvSpPr txBox="1">
            <a:spLocks noChangeArrowheads="1"/>
          </p:cNvSpPr>
          <p:nvPr/>
        </p:nvSpPr>
        <p:spPr bwMode="auto">
          <a:xfrm>
            <a:off x="6714109" y="2377798"/>
            <a:ext cx="2033433" cy="32316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2343150" indent="-714375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4229100" indent="-828675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4408488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4587875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5045075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5502275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5959475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6416675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 algn="just" eaLnBrk="0" hangingPunct="0">
              <a:spcBef>
                <a:spcPct val="50000"/>
              </a:spcBef>
            </a:pPr>
            <a:r>
              <a:rPr lang="pt-BR" altLang="pt-BR" sz="1500">
                <a:solidFill>
                  <a:schemeClr val="tx2"/>
                </a:solidFill>
                <a:latin typeface="Arial" panose="020B0604020202020204" pitchFamily="34" charset="0"/>
              </a:rPr>
              <a:t>VENDE </a:t>
            </a:r>
            <a:r>
              <a:rPr lang="pt-BR" altLang="pt-BR" sz="1500" b="1">
                <a:solidFill>
                  <a:schemeClr val="tx2"/>
                </a:solidFill>
                <a:effectLst>
                  <a:outerShdw blurRad="38100" dist="38100" dir="2700000" algn="tl">
                    <a:srgbClr val="FFFFFF"/>
                  </a:outerShdw>
                </a:effectLst>
                <a:latin typeface="Arial" panose="020B0604020202020204" pitchFamily="34" charset="0"/>
              </a:rPr>
              <a:t>CDA-WA</a:t>
            </a:r>
          </a:p>
        </p:txBody>
      </p:sp>
      <p:sp>
        <p:nvSpPr>
          <p:cNvPr id="13" name="Text Box 9"/>
          <p:cNvSpPr txBox="1">
            <a:spLocks noChangeArrowheads="1"/>
          </p:cNvSpPr>
          <p:nvPr/>
        </p:nvSpPr>
        <p:spPr bwMode="auto">
          <a:xfrm>
            <a:off x="6695314" y="3187421"/>
            <a:ext cx="1816402" cy="55399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2343150" indent="-714375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4229100" indent="-828675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4408488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4587875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5045075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5502275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5959475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6416675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 algn="ctr" eaLnBrk="0" hangingPunct="0">
              <a:spcBef>
                <a:spcPct val="50000"/>
              </a:spcBef>
            </a:pPr>
            <a:r>
              <a:rPr lang="pt-BR" altLang="pt-BR" sz="1500" dirty="0">
                <a:solidFill>
                  <a:schemeClr val="tx2"/>
                </a:solidFill>
                <a:latin typeface="Arial" panose="020B0604020202020204" pitchFamily="34" charset="0"/>
              </a:rPr>
              <a:t>VENDE </a:t>
            </a:r>
            <a:r>
              <a:rPr lang="pt-BR" altLang="pt-BR" sz="1500" b="1" dirty="0">
                <a:solidFill>
                  <a:schemeClr val="tx2"/>
                </a:solidFill>
                <a:effectLst>
                  <a:outerShdw blurRad="38100" dist="38100" dir="2700000" algn="tl">
                    <a:srgbClr val="FFFFFF"/>
                  </a:outerShdw>
                </a:effectLst>
                <a:latin typeface="Arial" panose="020B0604020202020204" pitchFamily="34" charset="0"/>
              </a:rPr>
              <a:t>WA</a:t>
            </a:r>
            <a:r>
              <a:rPr lang="pt-BR" altLang="pt-BR" sz="1500" dirty="0">
                <a:solidFill>
                  <a:schemeClr val="tx2"/>
                </a:solidFill>
                <a:latin typeface="Arial" panose="020B0604020202020204" pitchFamily="34" charset="0"/>
              </a:rPr>
              <a:t> E FICA COM </a:t>
            </a:r>
            <a:r>
              <a:rPr lang="pt-BR" altLang="pt-BR" sz="1500" b="1" dirty="0">
                <a:solidFill>
                  <a:schemeClr val="tx2"/>
                </a:solidFill>
                <a:effectLst>
                  <a:outerShdw blurRad="38100" dist="38100" dir="2700000" algn="tl">
                    <a:srgbClr val="FFFFFF"/>
                  </a:outerShdw>
                </a:effectLst>
                <a:latin typeface="Arial" panose="020B0604020202020204" pitchFamily="34" charset="0"/>
              </a:rPr>
              <a:t>CDA</a:t>
            </a:r>
          </a:p>
        </p:txBody>
      </p:sp>
      <p:sp>
        <p:nvSpPr>
          <p:cNvPr id="14" name="Text Box 10"/>
          <p:cNvSpPr txBox="1">
            <a:spLocks noChangeArrowheads="1"/>
          </p:cNvSpPr>
          <p:nvPr/>
        </p:nvSpPr>
        <p:spPr bwMode="auto">
          <a:xfrm>
            <a:off x="6806201" y="4213739"/>
            <a:ext cx="1617305" cy="55399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2343150" indent="-714375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4229100" indent="-828675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4408488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4587875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5045075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5502275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5959475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6416675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 algn="ctr" eaLnBrk="0" hangingPunct="0">
              <a:spcBef>
                <a:spcPct val="50000"/>
              </a:spcBef>
            </a:pPr>
            <a:r>
              <a:rPr lang="pt-BR" altLang="pt-BR" sz="1500" dirty="0">
                <a:solidFill>
                  <a:schemeClr val="tx2"/>
                </a:solidFill>
                <a:latin typeface="Arial" panose="020B0604020202020204" pitchFamily="34" charset="0"/>
              </a:rPr>
              <a:t>VENDE </a:t>
            </a:r>
            <a:r>
              <a:rPr lang="pt-BR" altLang="pt-BR" sz="1500" b="1" dirty="0">
                <a:solidFill>
                  <a:schemeClr val="tx2"/>
                </a:solidFill>
                <a:effectLst>
                  <a:outerShdw blurRad="38100" dist="38100" dir="2700000" algn="tl">
                    <a:srgbClr val="FFFFFF"/>
                  </a:outerShdw>
                </a:effectLst>
                <a:latin typeface="Arial" panose="020B0604020202020204" pitchFamily="34" charset="0"/>
              </a:rPr>
              <a:t>WA</a:t>
            </a:r>
            <a:r>
              <a:rPr lang="pt-BR" altLang="pt-BR" sz="1500" dirty="0">
                <a:solidFill>
                  <a:schemeClr val="tx2"/>
                </a:solidFill>
                <a:latin typeface="Arial" panose="020B0604020202020204" pitchFamily="34" charset="0"/>
              </a:rPr>
              <a:t> E DEPOIS </a:t>
            </a:r>
            <a:r>
              <a:rPr lang="pt-BR" altLang="pt-BR" sz="1500" b="1" dirty="0">
                <a:solidFill>
                  <a:schemeClr val="tx2"/>
                </a:solidFill>
                <a:effectLst>
                  <a:outerShdw blurRad="38100" dist="38100" dir="2700000" algn="tl">
                    <a:srgbClr val="FFFFFF"/>
                  </a:outerShdw>
                </a:effectLst>
                <a:latin typeface="Arial" panose="020B0604020202020204" pitchFamily="34" charset="0"/>
              </a:rPr>
              <a:t>CDA</a:t>
            </a:r>
          </a:p>
        </p:txBody>
      </p:sp>
      <p:sp>
        <p:nvSpPr>
          <p:cNvPr id="15" name="AutoShape 11"/>
          <p:cNvSpPr>
            <a:spLocks noChangeArrowheads="1"/>
          </p:cNvSpPr>
          <p:nvPr/>
        </p:nvSpPr>
        <p:spPr bwMode="auto">
          <a:xfrm>
            <a:off x="899592" y="3211989"/>
            <a:ext cx="1799352" cy="540544"/>
          </a:xfrm>
          <a:prstGeom prst="roundRect">
            <a:avLst>
              <a:gd name="adj" fmla="val 16667"/>
            </a:avLst>
          </a:prstGeom>
          <a:solidFill>
            <a:srgbClr val="1F09F1"/>
          </a:solidFill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endParaRPr lang="pt-BR" sz="1350"/>
          </a:p>
        </p:txBody>
      </p:sp>
      <p:sp>
        <p:nvSpPr>
          <p:cNvPr id="16" name="Text Box 12"/>
          <p:cNvSpPr txBox="1">
            <a:spLocks noChangeArrowheads="1"/>
          </p:cNvSpPr>
          <p:nvPr/>
        </p:nvSpPr>
        <p:spPr bwMode="auto">
          <a:xfrm>
            <a:off x="1005939" y="3346530"/>
            <a:ext cx="1584325" cy="32316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marL="266700" indent="-2667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2343150" indent="-714375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4229100" indent="-828675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4408488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4587875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5045075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5502275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5959475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6416675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 algn="ctr" eaLnBrk="0" hangingPunct="0">
              <a:spcBef>
                <a:spcPct val="50000"/>
              </a:spcBef>
            </a:pPr>
            <a:r>
              <a:rPr lang="pt-BR" altLang="pt-BR" sz="1500" b="1" dirty="0">
                <a:solidFill>
                  <a:schemeClr val="bg1"/>
                </a:solidFill>
                <a:latin typeface="Arial" panose="020B0604020202020204" pitchFamily="34" charset="0"/>
              </a:rPr>
              <a:t>ARMAZÉM</a:t>
            </a:r>
          </a:p>
        </p:txBody>
      </p:sp>
      <p:sp>
        <p:nvSpPr>
          <p:cNvPr id="17" name="AutoShape 13"/>
          <p:cNvSpPr>
            <a:spLocks noChangeArrowheads="1"/>
          </p:cNvSpPr>
          <p:nvPr/>
        </p:nvSpPr>
        <p:spPr bwMode="auto">
          <a:xfrm>
            <a:off x="3273619" y="3211989"/>
            <a:ext cx="1773918" cy="540544"/>
          </a:xfrm>
          <a:prstGeom prst="roundRect">
            <a:avLst>
              <a:gd name="adj" fmla="val 16667"/>
            </a:avLst>
          </a:prstGeom>
          <a:solidFill>
            <a:srgbClr val="1F09F1"/>
          </a:solidFill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endParaRPr lang="pt-BR" sz="1350"/>
          </a:p>
        </p:txBody>
      </p:sp>
      <p:sp>
        <p:nvSpPr>
          <p:cNvPr id="18" name="Text Box 14"/>
          <p:cNvSpPr txBox="1">
            <a:spLocks noChangeArrowheads="1"/>
          </p:cNvSpPr>
          <p:nvPr/>
        </p:nvSpPr>
        <p:spPr bwMode="auto">
          <a:xfrm>
            <a:off x="3319345" y="3346530"/>
            <a:ext cx="1728787" cy="32316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marL="266700" indent="-2667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2343150" indent="-714375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4229100" indent="-828675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4408488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4587875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5045075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5502275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5959475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6416675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 algn="ctr" eaLnBrk="0" hangingPunct="0">
              <a:spcBef>
                <a:spcPct val="50000"/>
              </a:spcBef>
            </a:pPr>
            <a:r>
              <a:rPr lang="pt-BR" altLang="pt-BR" sz="15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Arial" panose="020B0604020202020204" pitchFamily="34" charset="0"/>
              </a:rPr>
              <a:t>PRODUTOR</a:t>
            </a:r>
          </a:p>
        </p:txBody>
      </p:sp>
      <p:sp>
        <p:nvSpPr>
          <p:cNvPr id="19" name="AutoShape 15"/>
          <p:cNvSpPr>
            <a:spLocks noChangeArrowheads="1"/>
          </p:cNvSpPr>
          <p:nvPr/>
        </p:nvSpPr>
        <p:spPr bwMode="auto">
          <a:xfrm>
            <a:off x="2158217" y="2186861"/>
            <a:ext cx="1782197" cy="540544"/>
          </a:xfrm>
          <a:prstGeom prst="roundRect">
            <a:avLst>
              <a:gd name="adj" fmla="val 16667"/>
            </a:avLst>
          </a:prstGeom>
          <a:solidFill>
            <a:srgbClr val="1F09F1"/>
          </a:solidFill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endParaRPr lang="pt-BR" sz="1350"/>
          </a:p>
        </p:txBody>
      </p:sp>
      <p:sp>
        <p:nvSpPr>
          <p:cNvPr id="20" name="Text Box 16"/>
          <p:cNvSpPr txBox="1">
            <a:spLocks noChangeArrowheads="1"/>
          </p:cNvSpPr>
          <p:nvPr/>
        </p:nvSpPr>
        <p:spPr bwMode="auto">
          <a:xfrm>
            <a:off x="2122683" y="2201148"/>
            <a:ext cx="1800225" cy="55399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2343150" indent="-714375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4229100" indent="-828675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4408488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4587875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5045075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5502275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5959475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6416675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 algn="ctr" eaLnBrk="0" hangingPunct="0">
              <a:spcBef>
                <a:spcPct val="50000"/>
              </a:spcBef>
            </a:pPr>
            <a:r>
              <a:rPr lang="pt-BR" altLang="pt-BR" sz="1500" dirty="0">
                <a:solidFill>
                  <a:schemeClr val="bg1"/>
                </a:solidFill>
                <a:latin typeface="Arial" panose="020B0604020202020204" pitchFamily="34" charset="0"/>
              </a:rPr>
              <a:t>EMISSÃO DO </a:t>
            </a:r>
            <a:r>
              <a:rPr lang="pt-BR" altLang="pt-BR" sz="15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Arial" panose="020B0604020202020204" pitchFamily="34" charset="0"/>
              </a:rPr>
              <a:t>CDA-WA</a:t>
            </a:r>
          </a:p>
        </p:txBody>
      </p:sp>
      <p:sp>
        <p:nvSpPr>
          <p:cNvPr id="21" name="Text Box 17"/>
          <p:cNvSpPr txBox="1">
            <a:spLocks noChangeArrowheads="1"/>
          </p:cNvSpPr>
          <p:nvPr/>
        </p:nvSpPr>
        <p:spPr bwMode="auto">
          <a:xfrm rot="-5400000">
            <a:off x="4443787" y="3165083"/>
            <a:ext cx="2375297" cy="5078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 algn="ctr">
              <a:spcBef>
                <a:spcPct val="50000"/>
              </a:spcBef>
            </a:pPr>
            <a:r>
              <a:rPr lang="pt-BR" altLang="pt-BR" sz="1350" dirty="0"/>
              <a:t>SISTEMA DE REGISTROS E LIQUIDAÇÃO FINANCEIRA</a:t>
            </a:r>
          </a:p>
        </p:txBody>
      </p:sp>
      <p:sp>
        <p:nvSpPr>
          <p:cNvPr id="22" name="Line 18"/>
          <p:cNvSpPr>
            <a:spLocks noChangeShapeType="1"/>
          </p:cNvSpPr>
          <p:nvPr/>
        </p:nvSpPr>
        <p:spPr bwMode="auto">
          <a:xfrm flipH="1">
            <a:off x="2698945" y="3482260"/>
            <a:ext cx="574675" cy="0"/>
          </a:xfrm>
          <a:prstGeom prst="line">
            <a:avLst/>
          </a:prstGeom>
          <a:noFill/>
          <a:ln w="57150">
            <a:solidFill>
              <a:schemeClr val="tx2">
                <a:lumMod val="75000"/>
                <a:lumOff val="25000"/>
              </a:schemeClr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pt-BR" sz="1350"/>
          </a:p>
        </p:txBody>
      </p:sp>
      <p:sp>
        <p:nvSpPr>
          <p:cNvPr id="23" name="Text Box 19"/>
          <p:cNvSpPr txBox="1">
            <a:spLocks noChangeArrowheads="1"/>
          </p:cNvSpPr>
          <p:nvPr/>
        </p:nvSpPr>
        <p:spPr bwMode="auto">
          <a:xfrm rot="-5400000">
            <a:off x="1831177" y="3725986"/>
            <a:ext cx="2375297" cy="32316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pt-BR" altLang="pt-BR" sz="1500" dirty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</a:rPr>
              <a:t>Deposita  produto</a:t>
            </a:r>
          </a:p>
        </p:txBody>
      </p:sp>
      <p:sp>
        <p:nvSpPr>
          <p:cNvPr id="24" name="Freeform 20"/>
          <p:cNvSpPr>
            <a:spLocks/>
          </p:cNvSpPr>
          <p:nvPr/>
        </p:nvSpPr>
        <p:spPr bwMode="auto">
          <a:xfrm>
            <a:off x="1546420" y="2726215"/>
            <a:ext cx="2808287" cy="485775"/>
          </a:xfrm>
          <a:custGeom>
            <a:avLst/>
            <a:gdLst>
              <a:gd name="T0" fmla="*/ 0 w 1769"/>
              <a:gd name="T1" fmla="*/ 408 h 408"/>
              <a:gd name="T2" fmla="*/ 952 w 1769"/>
              <a:gd name="T3" fmla="*/ 0 h 408"/>
              <a:gd name="T4" fmla="*/ 1769 w 1769"/>
              <a:gd name="T5" fmla="*/ 408 h 40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1769" h="408">
                <a:moveTo>
                  <a:pt x="0" y="408"/>
                </a:moveTo>
                <a:cubicBezTo>
                  <a:pt x="328" y="204"/>
                  <a:pt x="657" y="0"/>
                  <a:pt x="952" y="0"/>
                </a:cubicBezTo>
                <a:cubicBezTo>
                  <a:pt x="1247" y="0"/>
                  <a:pt x="1633" y="340"/>
                  <a:pt x="1769" y="408"/>
                </a:cubicBezTo>
              </a:path>
            </a:pathLst>
          </a:custGeom>
          <a:noFill/>
          <a:ln w="57150" cmpd="sng">
            <a:solidFill>
              <a:schemeClr val="tx2">
                <a:lumMod val="75000"/>
                <a:lumOff val="25000"/>
              </a:schemeClr>
            </a:solidFill>
            <a:round/>
            <a:headEnd type="none" w="med" len="med"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pt-BR" sz="1350">
              <a:ln>
                <a:solidFill>
                  <a:schemeClr val="bg1">
                    <a:lumMod val="65000"/>
                  </a:schemeClr>
                </a:solidFill>
              </a:ln>
              <a:solidFill>
                <a:schemeClr val="bg1">
                  <a:lumMod val="65000"/>
                </a:schemeClr>
              </a:solidFill>
            </a:endParaRPr>
          </a:p>
        </p:txBody>
      </p:sp>
      <p:sp>
        <p:nvSpPr>
          <p:cNvPr id="25" name="Line 21"/>
          <p:cNvSpPr>
            <a:spLocks noChangeShapeType="1"/>
          </p:cNvSpPr>
          <p:nvPr/>
        </p:nvSpPr>
        <p:spPr bwMode="auto">
          <a:xfrm>
            <a:off x="6280721" y="3457694"/>
            <a:ext cx="431800" cy="0"/>
          </a:xfrm>
          <a:prstGeom prst="line">
            <a:avLst/>
          </a:prstGeom>
          <a:noFill/>
          <a:ln w="57150">
            <a:solidFill>
              <a:schemeClr val="tx2">
                <a:lumMod val="75000"/>
                <a:lumOff val="25000"/>
              </a:schemeClr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pt-BR" sz="1350"/>
          </a:p>
        </p:txBody>
      </p:sp>
      <p:sp>
        <p:nvSpPr>
          <p:cNvPr id="26" name="Line 22"/>
          <p:cNvSpPr>
            <a:spLocks noChangeShapeType="1"/>
          </p:cNvSpPr>
          <p:nvPr/>
        </p:nvSpPr>
        <p:spPr bwMode="auto">
          <a:xfrm>
            <a:off x="6280721" y="4484012"/>
            <a:ext cx="431800" cy="0"/>
          </a:xfrm>
          <a:prstGeom prst="line">
            <a:avLst/>
          </a:prstGeom>
          <a:noFill/>
          <a:ln w="57150">
            <a:solidFill>
              <a:schemeClr val="tx2">
                <a:lumMod val="75000"/>
                <a:lumOff val="25000"/>
              </a:schemeClr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pt-BR" sz="1350"/>
          </a:p>
        </p:txBody>
      </p:sp>
      <p:sp>
        <p:nvSpPr>
          <p:cNvPr id="27" name="Line 23"/>
          <p:cNvSpPr>
            <a:spLocks noChangeShapeType="1"/>
          </p:cNvSpPr>
          <p:nvPr/>
        </p:nvSpPr>
        <p:spPr bwMode="auto">
          <a:xfrm>
            <a:off x="6280721" y="2539721"/>
            <a:ext cx="431800" cy="0"/>
          </a:xfrm>
          <a:prstGeom prst="line">
            <a:avLst/>
          </a:prstGeom>
          <a:noFill/>
          <a:ln w="57150">
            <a:solidFill>
              <a:schemeClr val="tx2">
                <a:lumMod val="75000"/>
                <a:lumOff val="25000"/>
              </a:schemeClr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pt-BR" sz="1350"/>
          </a:p>
        </p:txBody>
      </p:sp>
      <p:sp>
        <p:nvSpPr>
          <p:cNvPr id="28" name="Line 24"/>
          <p:cNvSpPr>
            <a:spLocks noChangeShapeType="1"/>
          </p:cNvSpPr>
          <p:nvPr/>
        </p:nvSpPr>
        <p:spPr bwMode="auto">
          <a:xfrm>
            <a:off x="6280721" y="2517102"/>
            <a:ext cx="0" cy="1987153"/>
          </a:xfrm>
          <a:prstGeom prst="line">
            <a:avLst/>
          </a:prstGeom>
          <a:noFill/>
          <a:ln w="57150">
            <a:solidFill>
              <a:schemeClr val="tx2">
                <a:lumMod val="75000"/>
                <a:lumOff val="25000"/>
              </a:schemeClr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pt-BR" sz="1350"/>
          </a:p>
        </p:txBody>
      </p:sp>
      <p:sp>
        <p:nvSpPr>
          <p:cNvPr id="29" name="Rectangle 6"/>
          <p:cNvSpPr>
            <a:spLocks noChangeArrowheads="1"/>
          </p:cNvSpPr>
          <p:nvPr/>
        </p:nvSpPr>
        <p:spPr bwMode="auto">
          <a:xfrm>
            <a:off x="1456308" y="4812906"/>
            <a:ext cx="6178551" cy="69532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anchor="ctr"/>
          <a:lstStyle/>
          <a:p>
            <a:pPr algn="ctr">
              <a:defRPr/>
            </a:pPr>
            <a:r>
              <a:rPr lang="en-US" sz="2100" b="1" dirty="0" err="1">
                <a:solidFill>
                  <a:schemeClr val="tx2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Tahoma" pitchFamily="34" charset="0"/>
              </a:rPr>
              <a:t>Fluxo</a:t>
            </a:r>
            <a:r>
              <a:rPr lang="en-US" sz="2100" b="1" dirty="0">
                <a:solidFill>
                  <a:schemeClr val="tx2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Tahoma" pitchFamily="34" charset="0"/>
              </a:rPr>
              <a:t> </a:t>
            </a:r>
            <a:r>
              <a:rPr lang="en-US" sz="2100" b="1" dirty="0" err="1">
                <a:solidFill>
                  <a:schemeClr val="tx2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Tahoma" pitchFamily="34" charset="0"/>
              </a:rPr>
              <a:t>Operacional</a:t>
            </a:r>
            <a:endParaRPr lang="en-US" sz="2100" b="1" dirty="0">
              <a:solidFill>
                <a:schemeClr val="tx2"/>
              </a:solidFill>
              <a:effectLst>
                <a:outerShdw blurRad="38100" dist="38100" dir="2700000" algn="tl">
                  <a:srgbClr val="C0C0C0"/>
                </a:outerShdw>
              </a:effectLst>
              <a:latin typeface="Tahom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179556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7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0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3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6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9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2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 autoUpdateAnimBg="0"/>
      <p:bldP spid="13" grpId="0" autoUpdateAnimBg="0"/>
      <p:bldP spid="14" grpId="0" autoUpdateAnimBg="0"/>
      <p:bldP spid="16" grpId="0" autoUpdateAnimBg="0"/>
      <p:bldP spid="18" grpId="0" autoUpdateAnimBg="0"/>
      <p:bldP spid="20" grpId="0" autoUpdateAnimBg="0"/>
    </p:bldLst>
  </p:timing>
</p:sld>
</file>

<file path=ppt/slides/slide7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Group 11"/>
          <p:cNvGraphicFramePr>
            <a:graphicFrameLocks noGrp="1"/>
          </p:cNvGraphicFramePr>
          <p:nvPr>
            <p:ph sz="quarter" idx="13"/>
            <p:extLst>
              <p:ext uri="{D42A27DB-BD31-4B8C-83A1-F6EECF244321}">
                <p14:modId xmlns:p14="http://schemas.microsoft.com/office/powerpoint/2010/main" val="1758776240"/>
              </p:ext>
            </p:extLst>
          </p:nvPr>
        </p:nvGraphicFramePr>
        <p:xfrm>
          <a:off x="179512" y="673948"/>
          <a:ext cx="8794229" cy="5707380"/>
        </p:xfrm>
        <a:graphic>
          <a:graphicData uri="http://schemas.openxmlformats.org/drawingml/2006/table">
            <a:tbl>
              <a:tblPr/>
              <a:tblGrid>
                <a:gridCol w="8794229"/>
              </a:tblGrid>
              <a:tr h="5566302">
                <a:tc>
                  <a:txBody>
                    <a:bodyPr/>
                    <a:lstStyle>
                      <a:lvl1pPr marL="342900" indent="-342900">
                        <a:spcBef>
                          <a:spcPct val="20000"/>
                        </a:spcBef>
                        <a:defRPr sz="2800">
                          <a:solidFill>
                            <a:srgbClr val="FFFF00"/>
                          </a:solidFill>
                          <a:latin typeface="Times New Roman" panose="02020603050405020304" pitchFamily="18" charset="0"/>
                          <a:cs typeface="Arial" panose="020B0604020202020204" pitchFamily="34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defRPr sz="2400">
                          <a:solidFill>
                            <a:srgbClr val="FFFF00"/>
                          </a:solidFill>
                          <a:latin typeface="Times New Roman" panose="02020603050405020304" pitchFamily="18" charset="0"/>
                          <a:cs typeface="Arial" panose="020B0604020202020204" pitchFamily="34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defRPr sz="2000">
                          <a:solidFill>
                            <a:srgbClr val="FFFF00"/>
                          </a:solidFill>
                          <a:latin typeface="Times New Roman" panose="02020603050405020304" pitchFamily="18" charset="0"/>
                          <a:cs typeface="Arial" panose="020B0604020202020204" pitchFamily="34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defRPr>
                          <a:solidFill>
                            <a:srgbClr val="FFFF00"/>
                          </a:solidFill>
                          <a:latin typeface="Times New Roman" panose="02020603050405020304" pitchFamily="18" charset="0"/>
                          <a:cs typeface="Arial" panose="020B0604020202020204" pitchFamily="34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defRPr>
                          <a:solidFill>
                            <a:srgbClr val="FFFF00"/>
                          </a:solidFill>
                          <a:latin typeface="Times New Roman" panose="02020603050405020304" pitchFamily="18" charset="0"/>
                          <a:cs typeface="Arial" panose="020B0604020202020204" pitchFamily="34" charset="0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rgbClr val="FFFF00"/>
                          </a:solidFill>
                          <a:latin typeface="Times New Roman" panose="02020603050405020304" pitchFamily="18" charset="0"/>
                          <a:cs typeface="Arial" panose="020B0604020202020204" pitchFamily="34" charset="0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rgbClr val="FFFF00"/>
                          </a:solidFill>
                          <a:latin typeface="Times New Roman" panose="02020603050405020304" pitchFamily="18" charset="0"/>
                          <a:cs typeface="Arial" panose="020B0604020202020204" pitchFamily="34" charset="0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rgbClr val="FFFF00"/>
                          </a:solidFill>
                          <a:latin typeface="Times New Roman" panose="02020603050405020304" pitchFamily="18" charset="0"/>
                          <a:cs typeface="Arial" panose="020B0604020202020204" pitchFamily="34" charset="0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rgbClr val="FFFF00"/>
                          </a:solidFill>
                          <a:latin typeface="Times New Roman" panose="02020603050405020304" pitchFamily="18" charset="0"/>
                          <a:cs typeface="Arial" panose="020B0604020202020204" pitchFamily="34" charset="0"/>
                        </a:defRPr>
                      </a:lvl9pPr>
                    </a:lstStyle>
                    <a:p>
                      <a:pPr marL="342900" marR="0" lvl="0" indent="-34290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5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altLang="pt-BR" sz="3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Times New Roman" panose="02020603050405020304" pitchFamily="18" charset="0"/>
                        </a:rPr>
                        <a:t>LCA - Letras de Crédito do Agronegócio</a:t>
                      </a:r>
                    </a:p>
                    <a:p>
                      <a:pPr marL="342900" marR="0" lvl="0" indent="-3429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50000"/>
                        </a:spcAft>
                        <a:buClrTx/>
                        <a:buSzTx/>
                        <a:buFontTx/>
                        <a:buChar char="•"/>
                        <a:tabLst/>
                      </a:pPr>
                      <a:r>
                        <a:rPr kumimoji="0" lang="pt-BR" altLang="pt-BR" sz="2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Times New Roman" panose="02020603050405020304" pitchFamily="18" charset="0"/>
                        </a:rPr>
                        <a:t>Título de crédito nominativo, de livre negociação e representativo de promessa de pagamento em dinheiro, e vinculado a direitos creditórios originários de negócios realizados entre produtores rurais, ou suas cooperativas, e terceiros, inclusive financiamentos ou empréstimos.</a:t>
                      </a:r>
                    </a:p>
                    <a:p>
                      <a:pPr marL="342900" marR="0" lvl="0" indent="-3429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50000"/>
                        </a:spcAft>
                        <a:buClrTx/>
                        <a:buSzTx/>
                        <a:buFontTx/>
                        <a:buChar char="•"/>
                        <a:tabLst/>
                      </a:pPr>
                      <a:r>
                        <a:rPr kumimoji="0" lang="pt-BR" altLang="pt-BR" sz="2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Times New Roman" panose="02020603050405020304" pitchFamily="18" charset="0"/>
                        </a:rPr>
                        <a:t>É de emissão exclusiva de instituições financeiras. Confere direito de penhor sobre os direitos creditórios a ele vinculados, mas pode contar com garantias adicionais, reais e fidejussórias, além do seguro de crédito. </a:t>
                      </a:r>
                    </a:p>
                  </a:txBody>
                  <a:tcPr marT="34290" marB="34290" anchor="ctr" horzOverflow="overflow">
                    <a:lnL cap="flat">
                      <a:noFill/>
                    </a:lnL>
                    <a:lnR cap="flat"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386102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7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9267" name="Line 38"/>
          <p:cNvSpPr>
            <a:spLocks noChangeShapeType="1"/>
          </p:cNvSpPr>
          <p:nvPr/>
        </p:nvSpPr>
        <p:spPr bwMode="auto">
          <a:xfrm flipV="1">
            <a:off x="4551287" y="3286127"/>
            <a:ext cx="3111500" cy="9525"/>
          </a:xfrm>
          <a:prstGeom prst="line">
            <a:avLst/>
          </a:prstGeom>
          <a:noFill/>
          <a:ln w="57150">
            <a:solidFill>
              <a:schemeClr val="tx2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pt-BR" sz="1350"/>
          </a:p>
        </p:txBody>
      </p:sp>
      <p:sp>
        <p:nvSpPr>
          <p:cNvPr id="139268" name="AutoShape 34"/>
          <p:cNvSpPr>
            <a:spLocks noChangeArrowheads="1"/>
          </p:cNvSpPr>
          <p:nvPr/>
        </p:nvSpPr>
        <p:spPr bwMode="auto">
          <a:xfrm rot="16200000" flipH="1">
            <a:off x="3401343" y="2947791"/>
            <a:ext cx="1620441" cy="720725"/>
          </a:xfrm>
          <a:prstGeom prst="roundRect">
            <a:avLst>
              <a:gd name="adj" fmla="val 16667"/>
            </a:avLst>
          </a:prstGeom>
          <a:solidFill>
            <a:srgbClr val="FFFF00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endParaRPr lang="pt-BR" sz="1350"/>
          </a:p>
        </p:txBody>
      </p:sp>
      <p:sp>
        <p:nvSpPr>
          <p:cNvPr id="950278" name="Rectangle 6"/>
          <p:cNvSpPr>
            <a:spLocks noChangeArrowheads="1"/>
          </p:cNvSpPr>
          <p:nvPr/>
        </p:nvSpPr>
        <p:spPr bwMode="auto">
          <a:xfrm>
            <a:off x="1547736" y="4670824"/>
            <a:ext cx="6178551" cy="69532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anchor="ctr"/>
          <a:lstStyle/>
          <a:p>
            <a:pPr algn="ctr">
              <a:defRPr/>
            </a:pPr>
            <a:r>
              <a:rPr lang="en-US" sz="2100" b="1" dirty="0" err="1">
                <a:solidFill>
                  <a:schemeClr val="tx2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Tahoma" pitchFamily="34" charset="0"/>
              </a:rPr>
              <a:t>Fluxo</a:t>
            </a:r>
            <a:r>
              <a:rPr lang="en-US" sz="2100" b="1" dirty="0">
                <a:solidFill>
                  <a:schemeClr val="tx2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Tahoma" pitchFamily="34" charset="0"/>
              </a:rPr>
              <a:t> </a:t>
            </a:r>
            <a:r>
              <a:rPr lang="en-US" sz="2100" b="1" dirty="0" err="1">
                <a:solidFill>
                  <a:schemeClr val="tx2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Tahoma" pitchFamily="34" charset="0"/>
              </a:rPr>
              <a:t>Operacional</a:t>
            </a:r>
            <a:endParaRPr lang="en-US" sz="2100" b="1" dirty="0">
              <a:solidFill>
                <a:schemeClr val="tx2"/>
              </a:solidFill>
              <a:effectLst>
                <a:outerShdw blurRad="38100" dist="38100" dir="2700000" algn="tl">
                  <a:srgbClr val="C0C0C0"/>
                </a:outerShdw>
              </a:effectLst>
              <a:latin typeface="Tahoma" pitchFamily="34" charset="0"/>
            </a:endParaRPr>
          </a:p>
        </p:txBody>
      </p:sp>
      <p:sp>
        <p:nvSpPr>
          <p:cNvPr id="139285" name="AutoShape 11"/>
          <p:cNvSpPr>
            <a:spLocks noChangeArrowheads="1"/>
          </p:cNvSpPr>
          <p:nvPr/>
        </p:nvSpPr>
        <p:spPr bwMode="auto">
          <a:xfrm rot="16200000" flipH="1">
            <a:off x="2982243" y="2947791"/>
            <a:ext cx="1620441" cy="720725"/>
          </a:xfrm>
          <a:prstGeom prst="roundRect">
            <a:avLst>
              <a:gd name="adj" fmla="val 16667"/>
            </a:avLst>
          </a:prstGeom>
          <a:solidFill>
            <a:srgbClr val="0000FF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endParaRPr lang="pt-BR" sz="1350">
              <a:solidFill>
                <a:schemeClr val="bg1"/>
              </a:solidFill>
            </a:endParaRPr>
          </a:p>
        </p:txBody>
      </p:sp>
      <p:sp>
        <p:nvSpPr>
          <p:cNvPr id="139286" name="Text Box 12"/>
          <p:cNvSpPr txBox="1">
            <a:spLocks noChangeArrowheads="1"/>
          </p:cNvSpPr>
          <p:nvPr/>
        </p:nvSpPr>
        <p:spPr bwMode="auto">
          <a:xfrm rot="16200000" flipH="1">
            <a:off x="3034828" y="3136451"/>
            <a:ext cx="1550194" cy="3231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9pPr>
          </a:lstStyle>
          <a:p>
            <a:pPr algn="ctr" eaLnBrk="0" hangingPunct="0">
              <a:spcBef>
                <a:spcPct val="50000"/>
              </a:spcBef>
            </a:pPr>
            <a:r>
              <a:rPr lang="pt-BR" sz="1500" b="1" dirty="0">
                <a:solidFill>
                  <a:schemeClr val="bg1"/>
                </a:solidFill>
                <a:latin typeface="Arial" pitchFamily="34" charset="0"/>
              </a:rPr>
              <a:t>BANCO</a:t>
            </a:r>
          </a:p>
        </p:txBody>
      </p:sp>
      <p:sp>
        <p:nvSpPr>
          <p:cNvPr id="139283" name="AutoShape 13"/>
          <p:cNvSpPr>
            <a:spLocks noChangeArrowheads="1"/>
          </p:cNvSpPr>
          <p:nvPr/>
        </p:nvSpPr>
        <p:spPr bwMode="auto">
          <a:xfrm rot="16200000" flipH="1">
            <a:off x="535905" y="2947791"/>
            <a:ext cx="1620441" cy="720725"/>
          </a:xfrm>
          <a:prstGeom prst="roundRect">
            <a:avLst>
              <a:gd name="adj" fmla="val 16667"/>
            </a:avLst>
          </a:prstGeom>
          <a:solidFill>
            <a:srgbClr val="0000FF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endParaRPr lang="pt-BR" sz="1350">
              <a:solidFill>
                <a:schemeClr val="bg1"/>
              </a:solidFill>
            </a:endParaRPr>
          </a:p>
        </p:txBody>
      </p:sp>
      <p:sp>
        <p:nvSpPr>
          <p:cNvPr id="950286" name="Text Box 14"/>
          <p:cNvSpPr txBox="1">
            <a:spLocks noChangeArrowheads="1"/>
          </p:cNvSpPr>
          <p:nvPr/>
        </p:nvSpPr>
        <p:spPr bwMode="auto">
          <a:xfrm rot="16200000" flipH="1">
            <a:off x="543843" y="3137046"/>
            <a:ext cx="1639491" cy="32316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>
            <a:spAutoFit/>
          </a:bodyPr>
          <a:lstStyle>
            <a:lvl1pPr>
              <a:defRPr sz="2400">
                <a:solidFill>
                  <a:schemeClr val="tx1"/>
                </a:solidFill>
                <a:latin typeface="Times New Roman" pitchFamily="18" charset="0"/>
              </a:defRPr>
            </a:lvl1pPr>
            <a:lvl2pPr marL="2343150" indent="-714375">
              <a:defRPr sz="2400">
                <a:solidFill>
                  <a:schemeClr val="tx1"/>
                </a:solidFill>
                <a:latin typeface="Times New Roman" pitchFamily="18" charset="0"/>
              </a:defRPr>
            </a:lvl2pPr>
            <a:lvl3pPr marL="4229100" indent="-828675">
              <a:defRPr sz="2400">
                <a:solidFill>
                  <a:schemeClr val="tx1"/>
                </a:solidFill>
                <a:latin typeface="Times New Roman" pitchFamily="18" charset="0"/>
              </a:defRPr>
            </a:lvl3pPr>
            <a:lvl4pPr marL="4408488">
              <a:defRPr sz="2400">
                <a:solidFill>
                  <a:schemeClr val="tx1"/>
                </a:solidFill>
                <a:latin typeface="Times New Roman" pitchFamily="18" charset="0"/>
              </a:defRPr>
            </a:lvl4pPr>
            <a:lvl5pPr marL="4587875">
              <a:defRPr sz="2400">
                <a:solidFill>
                  <a:schemeClr val="tx1"/>
                </a:solidFill>
                <a:latin typeface="Times New Roman" pitchFamily="18" charset="0"/>
              </a:defRPr>
            </a:lvl5pPr>
            <a:lvl6pPr marL="5045075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6pPr>
            <a:lvl7pPr marL="5502275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7pPr>
            <a:lvl8pPr marL="5959475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8pPr>
            <a:lvl9pPr marL="6416675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algn="ctr" eaLnBrk="0" hangingPunct="0">
              <a:spcBef>
                <a:spcPct val="50000"/>
              </a:spcBef>
              <a:defRPr/>
            </a:pPr>
            <a:r>
              <a:rPr lang="pt-BR" sz="1500" b="1" dirty="0">
                <a:solidFill>
                  <a:schemeClr val="bg1"/>
                </a:solidFill>
                <a:effectLst>
                  <a:outerShdw blurRad="38100" dist="38100" dir="2700000" algn="tl">
                    <a:srgbClr val="FFFFFF"/>
                  </a:outerShdw>
                </a:effectLst>
                <a:latin typeface="Arial" pitchFamily="34" charset="0"/>
              </a:rPr>
              <a:t>PRODUTOR </a:t>
            </a:r>
          </a:p>
        </p:txBody>
      </p:sp>
      <p:sp>
        <p:nvSpPr>
          <p:cNvPr id="139281" name="AutoShape 15"/>
          <p:cNvSpPr>
            <a:spLocks noChangeArrowheads="1"/>
          </p:cNvSpPr>
          <p:nvPr/>
        </p:nvSpPr>
        <p:spPr bwMode="auto">
          <a:xfrm>
            <a:off x="4981500" y="3019425"/>
            <a:ext cx="2160587" cy="540544"/>
          </a:xfrm>
          <a:prstGeom prst="roundRect">
            <a:avLst>
              <a:gd name="adj" fmla="val 16667"/>
            </a:avLst>
          </a:prstGeom>
          <a:solidFill>
            <a:srgbClr val="0000FF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endParaRPr lang="pt-BR" sz="1350"/>
          </a:p>
        </p:txBody>
      </p:sp>
      <p:sp>
        <p:nvSpPr>
          <p:cNvPr id="950288" name="Text Box 16"/>
          <p:cNvSpPr txBox="1">
            <a:spLocks noChangeArrowheads="1"/>
          </p:cNvSpPr>
          <p:nvPr/>
        </p:nvSpPr>
        <p:spPr bwMode="auto">
          <a:xfrm>
            <a:off x="5130061" y="3155921"/>
            <a:ext cx="1800225" cy="553998"/>
          </a:xfrm>
          <a:prstGeom prst="rect">
            <a:avLst/>
          </a:prstGeom>
          <a:solidFill>
            <a:srgbClr val="0000FF"/>
          </a:solidFill>
          <a:ln>
            <a:noFill/>
          </a:ln>
          <a:effectLst/>
          <a:extLst/>
        </p:spPr>
        <p:txBody>
          <a:bodyPr>
            <a:spAutoFit/>
          </a:bodyPr>
          <a:lstStyle>
            <a:lvl1pPr>
              <a:defRPr sz="2400">
                <a:solidFill>
                  <a:schemeClr val="tx1"/>
                </a:solidFill>
                <a:latin typeface="Times New Roman" pitchFamily="18" charset="0"/>
              </a:defRPr>
            </a:lvl1pPr>
            <a:lvl2pPr marL="2343150" indent="-714375">
              <a:defRPr sz="2400">
                <a:solidFill>
                  <a:schemeClr val="tx1"/>
                </a:solidFill>
                <a:latin typeface="Times New Roman" pitchFamily="18" charset="0"/>
              </a:defRPr>
            </a:lvl2pPr>
            <a:lvl3pPr marL="4229100" indent="-828675">
              <a:defRPr sz="2400">
                <a:solidFill>
                  <a:schemeClr val="tx1"/>
                </a:solidFill>
                <a:latin typeface="Times New Roman" pitchFamily="18" charset="0"/>
              </a:defRPr>
            </a:lvl3pPr>
            <a:lvl4pPr marL="4408488">
              <a:defRPr sz="2400">
                <a:solidFill>
                  <a:schemeClr val="tx1"/>
                </a:solidFill>
                <a:latin typeface="Times New Roman" pitchFamily="18" charset="0"/>
              </a:defRPr>
            </a:lvl4pPr>
            <a:lvl5pPr marL="4587875">
              <a:defRPr sz="2400">
                <a:solidFill>
                  <a:schemeClr val="tx1"/>
                </a:solidFill>
                <a:latin typeface="Times New Roman" pitchFamily="18" charset="0"/>
              </a:defRPr>
            </a:lvl5pPr>
            <a:lvl6pPr marL="5045075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6pPr>
            <a:lvl7pPr marL="5502275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7pPr>
            <a:lvl8pPr marL="5959475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8pPr>
            <a:lvl9pPr marL="6416675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algn="ctr" eaLnBrk="0" hangingPunct="0">
              <a:spcBef>
                <a:spcPct val="50000"/>
              </a:spcBef>
              <a:defRPr/>
            </a:pPr>
            <a:r>
              <a:rPr lang="pt-BR" sz="1500" dirty="0">
                <a:solidFill>
                  <a:schemeClr val="bg1"/>
                </a:solidFill>
                <a:latin typeface="Arial" pitchFamily="34" charset="0"/>
              </a:rPr>
              <a:t>EMISSÃO DE </a:t>
            </a:r>
            <a:r>
              <a:rPr lang="pt-BR" sz="1500" b="1" dirty="0">
                <a:solidFill>
                  <a:schemeClr val="bg1"/>
                </a:solidFill>
                <a:effectLst>
                  <a:outerShdw blurRad="38100" dist="38100" dir="2700000" algn="tl">
                    <a:srgbClr val="FFFFFF"/>
                  </a:outerShdw>
                </a:effectLst>
                <a:latin typeface="Arial" pitchFamily="34" charset="0"/>
              </a:rPr>
              <a:t>LCA</a:t>
            </a:r>
          </a:p>
        </p:txBody>
      </p:sp>
      <p:sp>
        <p:nvSpPr>
          <p:cNvPr id="139279" name="AutoShape 25"/>
          <p:cNvSpPr>
            <a:spLocks noChangeArrowheads="1"/>
          </p:cNvSpPr>
          <p:nvPr/>
        </p:nvSpPr>
        <p:spPr bwMode="auto">
          <a:xfrm rot="-5400000">
            <a:off x="7228805" y="2925169"/>
            <a:ext cx="1620440" cy="720725"/>
          </a:xfrm>
          <a:prstGeom prst="roundRect">
            <a:avLst>
              <a:gd name="adj" fmla="val 16667"/>
            </a:avLst>
          </a:prstGeom>
          <a:solidFill>
            <a:srgbClr val="0000FF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endParaRPr lang="pt-BR" sz="1350">
              <a:solidFill>
                <a:schemeClr val="bg1"/>
              </a:solidFill>
            </a:endParaRPr>
          </a:p>
        </p:txBody>
      </p:sp>
      <p:sp>
        <p:nvSpPr>
          <p:cNvPr id="139280" name="Text Box 26"/>
          <p:cNvSpPr txBox="1">
            <a:spLocks noChangeArrowheads="1"/>
          </p:cNvSpPr>
          <p:nvPr/>
        </p:nvSpPr>
        <p:spPr bwMode="auto">
          <a:xfrm rot="-5400000">
            <a:off x="7325854" y="3133958"/>
            <a:ext cx="1461268" cy="323165"/>
          </a:xfrm>
          <a:prstGeom prst="rect">
            <a:avLst/>
          </a:prstGeom>
          <a:solidFill>
            <a:srgbClr val="0000FF"/>
          </a:solidFill>
          <a:ln>
            <a:noFill/>
          </a:ln>
          <a:extLst/>
        </p:spPr>
        <p:txBody>
          <a:bodyPr wrap="square">
            <a:spAutoFit/>
          </a:bodyPr>
          <a:lstStyle>
            <a:lvl1pPr marL="266700" indent="-266700"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9pPr>
          </a:lstStyle>
          <a:p>
            <a:pPr algn="ctr" eaLnBrk="0" hangingPunct="0">
              <a:spcBef>
                <a:spcPct val="50000"/>
              </a:spcBef>
            </a:pPr>
            <a:r>
              <a:rPr lang="pt-BR" sz="1500" b="1" dirty="0">
                <a:solidFill>
                  <a:schemeClr val="bg1"/>
                </a:solidFill>
                <a:latin typeface="Arial" pitchFamily="34" charset="0"/>
              </a:rPr>
              <a:t>INVESTIDOR</a:t>
            </a:r>
          </a:p>
        </p:txBody>
      </p:sp>
      <p:sp>
        <p:nvSpPr>
          <p:cNvPr id="950301" name="Text Box 29"/>
          <p:cNvSpPr txBox="1">
            <a:spLocks noChangeArrowheads="1"/>
          </p:cNvSpPr>
          <p:nvPr/>
        </p:nvSpPr>
        <p:spPr bwMode="auto">
          <a:xfrm>
            <a:off x="1758876" y="2909887"/>
            <a:ext cx="1592263" cy="300082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>
            <a:spAutoFit/>
          </a:bodyPr>
          <a:lstStyle/>
          <a:p>
            <a:pPr algn="ctr">
              <a:spcBef>
                <a:spcPct val="50000"/>
              </a:spcBef>
              <a:defRPr/>
            </a:pPr>
            <a:r>
              <a:rPr lang="pt-BR" sz="1350" dirty="0">
                <a:solidFill>
                  <a:schemeClr val="tx2"/>
                </a:solidFill>
                <a:latin typeface="Arial" pitchFamily="34" charset="0"/>
              </a:rPr>
              <a:t>Emite </a:t>
            </a:r>
            <a:r>
              <a:rPr lang="pt-BR" sz="1350" b="1" dirty="0">
                <a:solidFill>
                  <a:schemeClr val="tx2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pitchFamily="34" charset="0"/>
              </a:rPr>
              <a:t>CPR</a:t>
            </a:r>
          </a:p>
        </p:txBody>
      </p:sp>
      <p:sp>
        <p:nvSpPr>
          <p:cNvPr id="139275" name="Line 30"/>
          <p:cNvSpPr>
            <a:spLocks noChangeShapeType="1"/>
          </p:cNvSpPr>
          <p:nvPr/>
        </p:nvSpPr>
        <p:spPr bwMode="auto">
          <a:xfrm flipV="1">
            <a:off x="1706487" y="3190875"/>
            <a:ext cx="1714500" cy="0"/>
          </a:xfrm>
          <a:prstGeom prst="line">
            <a:avLst/>
          </a:prstGeom>
          <a:noFill/>
          <a:ln w="57150">
            <a:solidFill>
              <a:schemeClr val="tx2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pt-BR" sz="1350"/>
          </a:p>
        </p:txBody>
      </p:sp>
      <p:sp>
        <p:nvSpPr>
          <p:cNvPr id="139276" name="Line 31"/>
          <p:cNvSpPr>
            <a:spLocks noChangeShapeType="1"/>
          </p:cNvSpPr>
          <p:nvPr/>
        </p:nvSpPr>
        <p:spPr bwMode="auto">
          <a:xfrm flipV="1">
            <a:off x="1693787" y="3419475"/>
            <a:ext cx="1714500" cy="0"/>
          </a:xfrm>
          <a:prstGeom prst="line">
            <a:avLst/>
          </a:prstGeom>
          <a:noFill/>
          <a:ln w="57150">
            <a:solidFill>
              <a:schemeClr val="tx2"/>
            </a:solidFill>
            <a:round/>
            <a:headEnd type="triangle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pt-BR" sz="1350"/>
          </a:p>
        </p:txBody>
      </p:sp>
      <p:sp>
        <p:nvSpPr>
          <p:cNvPr id="950304" name="Text Box 32"/>
          <p:cNvSpPr txBox="1">
            <a:spLocks noChangeArrowheads="1"/>
          </p:cNvSpPr>
          <p:nvPr/>
        </p:nvSpPr>
        <p:spPr bwMode="auto">
          <a:xfrm>
            <a:off x="1764059" y="3414713"/>
            <a:ext cx="1592264" cy="300082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square">
            <a:spAutoFit/>
          </a:bodyPr>
          <a:lstStyle/>
          <a:p>
            <a:pPr algn="ctr">
              <a:spcBef>
                <a:spcPct val="50000"/>
              </a:spcBef>
              <a:defRPr/>
            </a:pPr>
            <a:r>
              <a:rPr lang="pt-BR" sz="1350" dirty="0">
                <a:solidFill>
                  <a:schemeClr val="tx2"/>
                </a:solidFill>
                <a:latin typeface="Arial" pitchFamily="34" charset="0"/>
              </a:rPr>
              <a:t>Compra </a:t>
            </a:r>
            <a:r>
              <a:rPr lang="pt-BR" sz="1350" b="1" dirty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itchFamily="34" charset="0"/>
              </a:rPr>
              <a:t>CCR</a:t>
            </a:r>
          </a:p>
        </p:txBody>
      </p:sp>
      <p:sp>
        <p:nvSpPr>
          <p:cNvPr id="139278" name="Text Box 35"/>
          <p:cNvSpPr txBox="1">
            <a:spLocks noChangeArrowheads="1"/>
          </p:cNvSpPr>
          <p:nvPr/>
        </p:nvSpPr>
        <p:spPr bwMode="auto">
          <a:xfrm rot="16200000" flipH="1">
            <a:off x="3578546" y="3056024"/>
            <a:ext cx="1550194" cy="5078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9pPr>
          </a:lstStyle>
          <a:p>
            <a:pPr algn="ctr" eaLnBrk="0" hangingPunct="0">
              <a:spcBef>
                <a:spcPct val="50000"/>
              </a:spcBef>
            </a:pPr>
            <a:r>
              <a:rPr lang="pt-BR" sz="1350" b="1">
                <a:solidFill>
                  <a:schemeClr val="tx2"/>
                </a:solidFill>
                <a:latin typeface="Arial" pitchFamily="34" charset="0"/>
              </a:rPr>
              <a:t>Lastro Recebível</a:t>
            </a:r>
          </a:p>
        </p:txBody>
      </p:sp>
      <p:sp>
        <p:nvSpPr>
          <p:cNvPr id="23" name="Rectangle 2"/>
          <p:cNvSpPr>
            <a:spLocks noChangeArrowheads="1"/>
          </p:cNvSpPr>
          <p:nvPr/>
        </p:nvSpPr>
        <p:spPr bwMode="auto">
          <a:xfrm>
            <a:off x="0" y="897733"/>
            <a:ext cx="9144000" cy="69532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anchor="ctr"/>
          <a:lstStyle/>
          <a:p>
            <a:pPr algn="ctr">
              <a:defRPr/>
            </a:pPr>
            <a:r>
              <a:rPr lang="en-US" sz="2700" b="1" dirty="0">
                <a:solidFill>
                  <a:schemeClr val="tx2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Tahoma" pitchFamily="34" charset="0"/>
              </a:rPr>
              <a:t>LCA</a:t>
            </a:r>
          </a:p>
        </p:txBody>
      </p:sp>
      <p:graphicFrame>
        <p:nvGraphicFramePr>
          <p:cNvPr id="24" name="Group 13"/>
          <p:cNvGraphicFramePr>
            <a:graphicFrameLocks noGrp="1"/>
          </p:cNvGraphicFramePr>
          <p:nvPr>
            <p:ph sz="quarter" idx="13"/>
            <p:extLst>
              <p:ext uri="{D42A27DB-BD31-4B8C-83A1-F6EECF244321}">
                <p14:modId xmlns:p14="http://schemas.microsoft.com/office/powerpoint/2010/main" val="1599579642"/>
              </p:ext>
            </p:extLst>
          </p:nvPr>
        </p:nvGraphicFramePr>
        <p:xfrm>
          <a:off x="755576" y="1844281"/>
          <a:ext cx="7777163" cy="446485"/>
        </p:xfrm>
        <a:graphic>
          <a:graphicData uri="http://schemas.openxmlformats.org/drawingml/2006/table">
            <a:tbl>
              <a:tblPr/>
              <a:tblGrid>
                <a:gridCol w="7777163"/>
              </a:tblGrid>
              <a:tr h="446485">
                <a:tc>
                  <a:txBody>
                    <a:bodyPr/>
                    <a:lstStyle/>
                    <a:p>
                      <a:pPr marL="342900" marR="0" lvl="0" indent="-34290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5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altLang="pt-BR" sz="15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pitchFamily="34" charset="0"/>
                          <a:ea typeface="+mn-ea"/>
                          <a:cs typeface="Times New Roman" pitchFamily="18" charset="0"/>
                        </a:rPr>
                        <a:t>LCA - Letras de Crédito do Agronegócio</a:t>
                      </a:r>
                      <a:endParaRPr kumimoji="0" lang="pt-BR" sz="15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Arial" pitchFamily="34" charset="0"/>
                        <a:cs typeface="Times New Roman" pitchFamily="18" charset="0"/>
                      </a:endParaRPr>
                    </a:p>
                  </a:txBody>
                  <a:tcPr marL="91496" marR="91496" marT="34249" marB="34249" anchor="ctr" horzOverflow="overflow">
                    <a:lnL cap="flat">
                      <a:noFill/>
                    </a:lnL>
                    <a:lnR cap="flat"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72571615"/>
      </p:ext>
    </p:extLst>
  </p:cSld>
  <p:clrMapOvr>
    <a:masterClrMapping/>
  </p:clrMapOvr>
  <p:transition spd="slow"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92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7" dur="2000"/>
                                        <p:tgtEl>
                                          <p:spTgt spid="13928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502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0" dur="2000"/>
                                        <p:tgtEl>
                                          <p:spTgt spid="95028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 nodeType="clickPar">
                      <p:stCondLst>
                        <p:cond delay="indefinite"/>
                      </p:stCondLst>
                      <p:childTnLst>
                        <p:par>
                          <p:cTn id="12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3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5030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500"/>
                                        <p:tgtEl>
                                          <p:spTgt spid="95030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92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8" dur="500"/>
                                        <p:tgtEl>
                                          <p:spTgt spid="13927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 nodeType="afterGroup">
                            <p:stCondLst>
                              <p:cond delay="500"/>
                            </p:stCondLst>
                            <p:childTnLst>
                              <p:par>
                                <p:cTn id="20" presetID="6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92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22" dur="2000"/>
                                        <p:tgtEl>
                                          <p:spTgt spid="13928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92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25" dur="2000"/>
                                        <p:tgtEl>
                                          <p:spTgt spid="13928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6" fill="hold" nodeType="afterGroup">
                            <p:stCondLst>
                              <p:cond delay="2500"/>
                            </p:stCondLst>
                            <p:childTnLst>
                              <p:par>
                                <p:cTn id="27" presetID="2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92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29" dur="500"/>
                                        <p:tgtEl>
                                          <p:spTgt spid="13927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2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5030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32" dur="500"/>
                                        <p:tgtEl>
                                          <p:spTgt spid="95030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 nodeType="clickPar">
                      <p:stCondLst>
                        <p:cond delay="indefinite"/>
                      </p:stCondLst>
                      <p:childTnLst>
                        <p:par>
                          <p:cTn id="3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35" presetID="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92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7" dur="500" fill="hold"/>
                                        <p:tgtEl>
                                          <p:spTgt spid="13926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8" dur="500" fill="hold"/>
                                        <p:tgtEl>
                                          <p:spTgt spid="13926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9" presetID="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92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1" dur="500" fill="hold"/>
                                        <p:tgtEl>
                                          <p:spTgt spid="13927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2" dur="500" fill="hold"/>
                                        <p:tgtEl>
                                          <p:spTgt spid="13927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 nodeType="clickPar">
                      <p:stCondLst>
                        <p:cond delay="indefinite"/>
                      </p:stCondLst>
                      <p:childTnLst>
                        <p:par>
                          <p:cTn id="4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4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92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7" dur="500"/>
                                        <p:tgtEl>
                                          <p:spTgt spid="13926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8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92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0" dur="500"/>
                                        <p:tgtEl>
                                          <p:spTgt spid="13928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1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502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3" dur="500"/>
                                        <p:tgtEl>
                                          <p:spTgt spid="95028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4" fill="hold" nodeType="afterGroup">
                            <p:stCondLst>
                              <p:cond delay="500"/>
                            </p:stCondLst>
                            <p:childTnLst>
                              <p:par>
                                <p:cTn id="55" presetID="6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92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57" dur="2000"/>
                                        <p:tgtEl>
                                          <p:spTgt spid="13927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8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92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60" dur="2000"/>
                                        <p:tgtEl>
                                          <p:spTgt spid="13928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9267" grpId="0" animBg="1"/>
      <p:bldP spid="139268" grpId="0" animBg="1"/>
      <p:bldP spid="139285" grpId="0" animBg="1"/>
      <p:bldP spid="139286" grpId="0"/>
      <p:bldP spid="139283" grpId="0" animBg="1"/>
      <p:bldP spid="950286" grpId="0"/>
      <p:bldP spid="139281" grpId="0" animBg="1"/>
      <p:bldP spid="950288" grpId="0" animBg="1"/>
      <p:bldP spid="139279" grpId="0" animBg="1"/>
      <p:bldP spid="139280" grpId="0" animBg="1"/>
      <p:bldP spid="950301" grpId="0"/>
      <p:bldP spid="139275" grpId="0" animBg="1"/>
      <p:bldP spid="139276" grpId="0" animBg="1"/>
      <p:bldP spid="950304" grpId="0"/>
      <p:bldP spid="139278" grpId="0"/>
    </p:bldLst>
  </p:timing>
</p:sld>
</file>

<file path=ppt/slides/slide7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Group 1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93361994"/>
              </p:ext>
            </p:extLst>
          </p:nvPr>
        </p:nvGraphicFramePr>
        <p:xfrm>
          <a:off x="179513" y="260648"/>
          <a:ext cx="8712968" cy="6408712"/>
        </p:xfrm>
        <a:graphic>
          <a:graphicData uri="http://schemas.openxmlformats.org/drawingml/2006/table">
            <a:tbl>
              <a:tblPr/>
              <a:tblGrid>
                <a:gridCol w="8712968"/>
              </a:tblGrid>
              <a:tr h="6408712">
                <a:tc>
                  <a:txBody>
                    <a:bodyPr/>
                    <a:lstStyle>
                      <a:lvl1pPr marL="342900" indent="-342900">
                        <a:spcBef>
                          <a:spcPct val="20000"/>
                        </a:spcBef>
                        <a:defRPr sz="2800">
                          <a:solidFill>
                            <a:srgbClr val="FFFF00"/>
                          </a:solidFill>
                          <a:latin typeface="Times New Roman" panose="02020603050405020304" pitchFamily="18" charset="0"/>
                          <a:cs typeface="Arial" panose="020B0604020202020204" pitchFamily="34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defRPr sz="2400">
                          <a:solidFill>
                            <a:srgbClr val="FFFF00"/>
                          </a:solidFill>
                          <a:latin typeface="Times New Roman" panose="02020603050405020304" pitchFamily="18" charset="0"/>
                          <a:cs typeface="Arial" panose="020B0604020202020204" pitchFamily="34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defRPr sz="2000">
                          <a:solidFill>
                            <a:srgbClr val="FFFF00"/>
                          </a:solidFill>
                          <a:latin typeface="Times New Roman" panose="02020603050405020304" pitchFamily="18" charset="0"/>
                          <a:cs typeface="Arial" panose="020B0604020202020204" pitchFamily="34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defRPr>
                          <a:solidFill>
                            <a:srgbClr val="FFFF00"/>
                          </a:solidFill>
                          <a:latin typeface="Times New Roman" panose="02020603050405020304" pitchFamily="18" charset="0"/>
                          <a:cs typeface="Arial" panose="020B0604020202020204" pitchFamily="34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defRPr>
                          <a:solidFill>
                            <a:srgbClr val="FFFF00"/>
                          </a:solidFill>
                          <a:latin typeface="Times New Roman" panose="02020603050405020304" pitchFamily="18" charset="0"/>
                          <a:cs typeface="Arial" panose="020B0604020202020204" pitchFamily="34" charset="0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rgbClr val="FFFF00"/>
                          </a:solidFill>
                          <a:latin typeface="Times New Roman" panose="02020603050405020304" pitchFamily="18" charset="0"/>
                          <a:cs typeface="Arial" panose="020B0604020202020204" pitchFamily="34" charset="0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rgbClr val="FFFF00"/>
                          </a:solidFill>
                          <a:latin typeface="Times New Roman" panose="02020603050405020304" pitchFamily="18" charset="0"/>
                          <a:cs typeface="Arial" panose="020B0604020202020204" pitchFamily="34" charset="0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rgbClr val="FFFF00"/>
                          </a:solidFill>
                          <a:latin typeface="Times New Roman" panose="02020603050405020304" pitchFamily="18" charset="0"/>
                          <a:cs typeface="Arial" panose="020B0604020202020204" pitchFamily="34" charset="0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rgbClr val="FFFF00"/>
                          </a:solidFill>
                          <a:latin typeface="Times New Roman" panose="02020603050405020304" pitchFamily="18" charset="0"/>
                          <a:cs typeface="Arial" panose="020B0604020202020204" pitchFamily="34" charset="0"/>
                        </a:defRPr>
                      </a:lvl9pPr>
                    </a:lstStyle>
                    <a:p>
                      <a:pPr marL="342900" marR="0" lvl="0" indent="-34290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5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altLang="pt-BR" sz="2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Times New Roman" panose="02020603050405020304" pitchFamily="18" charset="0"/>
                        </a:rPr>
                        <a:t>CRA - Certificado de Recebíveis do Agronegócio</a:t>
                      </a:r>
                    </a:p>
                    <a:p>
                      <a:pPr marL="342900" marR="0" lvl="0" indent="-3429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50000"/>
                        </a:spcAft>
                        <a:buClrTx/>
                        <a:buSzTx/>
                        <a:buFontTx/>
                        <a:buChar char="•"/>
                        <a:tabLst/>
                      </a:pPr>
                      <a:r>
                        <a:rPr kumimoji="0" lang="pt-BR" altLang="pt-BR" sz="2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Times New Roman" panose="02020603050405020304" pitchFamily="18" charset="0"/>
                        </a:rPr>
                        <a:t>Título de livre negociação, representativo de promessa de pagamento em dinheiro, de emissão exclusiva das companhias </a:t>
                      </a:r>
                      <a:r>
                        <a:rPr kumimoji="0" lang="pt-BR" altLang="pt-BR" sz="2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Times New Roman" panose="02020603050405020304" pitchFamily="18" charset="0"/>
                        </a:rPr>
                        <a:t>securitizadoras</a:t>
                      </a:r>
                      <a:r>
                        <a:rPr kumimoji="0" lang="pt-BR" altLang="pt-BR" sz="2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Times New Roman" panose="02020603050405020304" pitchFamily="18" charset="0"/>
                        </a:rPr>
                        <a:t> de direitos creditórios do agronegócio e vinculado a direitos creditórios originários de negócios realizados entre produtores rurais, ou suas cooperativas, e terceiros, inclusive financiamentos ou empréstimos.</a:t>
                      </a:r>
                    </a:p>
                    <a:p>
                      <a:pPr marL="342900" marR="0" lvl="0" indent="-3429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50000"/>
                        </a:spcAft>
                        <a:buClrTx/>
                        <a:buSzTx/>
                        <a:buFontTx/>
                        <a:buChar char="•"/>
                        <a:tabLst/>
                      </a:pPr>
                      <a:r>
                        <a:rPr kumimoji="0" lang="pt-BR" altLang="pt-BR" sz="2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Times New Roman" panose="02020603050405020304" pitchFamily="18" charset="0"/>
                        </a:rPr>
                        <a:t>O CRA, bem como os direitos creditórios a ele vinculados, deve ser registrado em sistema autorizado pelo Banco Central. As operações com CRA têm alíquota zero de IOF – Imposto sobre Operações Financeiras. O título pode conter cláusula expressa de variação do seu valor nominal, desde que seja a mesma dos direitos creditórios a ele vinculados. </a:t>
                      </a:r>
                    </a:p>
                  </a:txBody>
                  <a:tcPr marT="34290" marB="34290" anchor="ctr" horzOverflow="overflow">
                    <a:lnL cap="flat">
                      <a:noFill/>
                    </a:lnL>
                    <a:lnR cap="flat"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2223972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1410" name="Text Box 2"/>
          <p:cNvSpPr txBox="1">
            <a:spLocks noChangeArrowheads="1"/>
          </p:cNvSpPr>
          <p:nvPr/>
        </p:nvSpPr>
        <p:spPr bwMode="auto">
          <a:xfrm>
            <a:off x="144015" y="2420888"/>
            <a:ext cx="8964489" cy="33793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457200" indent="-457200"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9pPr>
          </a:lstStyle>
          <a:p>
            <a:pPr>
              <a:lnSpc>
                <a:spcPct val="110000"/>
              </a:lnSpc>
              <a:spcBef>
                <a:spcPct val="30000"/>
              </a:spcBef>
              <a:buFont typeface="Wingdings" pitchFamily="2" charset="2"/>
              <a:buChar char="§"/>
            </a:pPr>
            <a:r>
              <a:rPr lang="pt-BR" sz="2400" dirty="0">
                <a:latin typeface="Arial" pitchFamily="34" charset="0"/>
              </a:rPr>
              <a:t>Suponha que um grupo de produtores necessitem de 12.000 litros do insumo que custa R$ 9,50/litro</a:t>
            </a:r>
          </a:p>
          <a:p>
            <a:pPr>
              <a:lnSpc>
                <a:spcPct val="110000"/>
              </a:lnSpc>
              <a:spcBef>
                <a:spcPct val="30000"/>
              </a:spcBef>
              <a:buFont typeface="Wingdings" pitchFamily="2" charset="2"/>
              <a:buChar char="§"/>
            </a:pPr>
            <a:r>
              <a:rPr lang="pt-BR" sz="2400" dirty="0">
                <a:latin typeface="Arial" pitchFamily="34" charset="0"/>
              </a:rPr>
              <a:t>A margem de lucro da empresa de insumos é de 5,00%.</a:t>
            </a:r>
          </a:p>
          <a:p>
            <a:pPr>
              <a:lnSpc>
                <a:spcPct val="110000"/>
              </a:lnSpc>
              <a:spcBef>
                <a:spcPct val="30000"/>
              </a:spcBef>
              <a:buFont typeface="Wingdings" pitchFamily="2" charset="2"/>
              <a:buChar char="§"/>
            </a:pPr>
            <a:r>
              <a:rPr lang="pt-BR" sz="2400" dirty="0">
                <a:latin typeface="Arial" pitchFamily="34" charset="0"/>
              </a:rPr>
              <a:t>O risco relativo à inadimplência é estimado em 1,20%.</a:t>
            </a:r>
          </a:p>
          <a:p>
            <a:pPr>
              <a:lnSpc>
                <a:spcPct val="110000"/>
              </a:lnSpc>
              <a:spcBef>
                <a:spcPct val="30000"/>
              </a:spcBef>
              <a:buFont typeface="Wingdings" pitchFamily="2" charset="2"/>
              <a:buChar char="§"/>
            </a:pPr>
            <a:r>
              <a:rPr lang="pt-BR" sz="2400" dirty="0">
                <a:latin typeface="Arial" pitchFamily="34" charset="0"/>
              </a:rPr>
              <a:t>A taxa de juros pelo período da operação é de 8,80%.</a:t>
            </a:r>
          </a:p>
          <a:p>
            <a:pPr>
              <a:lnSpc>
                <a:spcPct val="110000"/>
              </a:lnSpc>
              <a:spcBef>
                <a:spcPct val="30000"/>
              </a:spcBef>
              <a:buFont typeface="Wingdings" pitchFamily="2" charset="2"/>
              <a:buChar char="§"/>
            </a:pPr>
            <a:r>
              <a:rPr lang="pt-BR" sz="2400" dirty="0">
                <a:latin typeface="Arial" pitchFamily="34" charset="0"/>
              </a:rPr>
              <a:t>A indústria estima que a saca da </a:t>
            </a:r>
            <a:r>
              <a:rPr lang="pt-BR" sz="2400" i="1" dirty="0">
                <a:latin typeface="Arial" pitchFamily="34" charset="0"/>
              </a:rPr>
              <a:t>commodity</a:t>
            </a:r>
            <a:r>
              <a:rPr lang="pt-BR" sz="2400" dirty="0">
                <a:latin typeface="Arial" pitchFamily="34" charset="0"/>
              </a:rPr>
              <a:t> valerá  R$ 10,46 no vencimento da operação</a:t>
            </a:r>
          </a:p>
        </p:txBody>
      </p:sp>
      <p:sp>
        <p:nvSpPr>
          <p:cNvPr id="1041411" name="Rectangle 3"/>
          <p:cNvSpPr>
            <a:spLocks noChangeArrowheads="1"/>
          </p:cNvSpPr>
          <p:nvPr/>
        </p:nvSpPr>
        <p:spPr bwMode="auto">
          <a:xfrm>
            <a:off x="0" y="476672"/>
            <a:ext cx="9144000" cy="69532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anchor="ctr"/>
          <a:lstStyle/>
          <a:p>
            <a:pPr algn="ctr">
              <a:defRPr/>
            </a:pPr>
            <a:r>
              <a:rPr lang="pt-BR" sz="2700" b="1" dirty="0">
                <a:effectLst>
                  <a:outerShdw blurRad="38100" dist="38100" dir="2700000" algn="tl">
                    <a:srgbClr val="C0C0C0"/>
                  </a:outerShdw>
                </a:effectLst>
                <a:latin typeface="Tahoma" pitchFamily="34" charset="0"/>
              </a:rPr>
              <a:t>Precificando a operação</a:t>
            </a:r>
          </a:p>
        </p:txBody>
      </p:sp>
      <p:sp>
        <p:nvSpPr>
          <p:cNvPr id="1041412" name="Text Box 4"/>
          <p:cNvSpPr txBox="1">
            <a:spLocks noChangeArrowheads="1"/>
          </p:cNvSpPr>
          <p:nvPr/>
        </p:nvSpPr>
        <p:spPr bwMode="auto">
          <a:xfrm>
            <a:off x="157178" y="1646805"/>
            <a:ext cx="7151126" cy="4670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457200" indent="-457200"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9pPr>
          </a:lstStyle>
          <a:p>
            <a:pPr>
              <a:lnSpc>
                <a:spcPct val="110000"/>
              </a:lnSpc>
              <a:spcBef>
                <a:spcPct val="30000"/>
              </a:spcBef>
              <a:buFont typeface="Wingdings" pitchFamily="2" charset="2"/>
              <a:buChar char="§"/>
            </a:pPr>
            <a:r>
              <a:rPr lang="pt-BR" sz="2400" dirty="0">
                <a:latin typeface="Arial" pitchFamily="34" charset="0"/>
              </a:rPr>
              <a:t>Valor do insumo a ser recuperado:</a:t>
            </a:r>
          </a:p>
        </p:txBody>
      </p:sp>
    </p:spTree>
    <p:extLst>
      <p:ext uri="{BB962C8B-B14F-4D97-AF65-F5344CB8AC3E}">
        <p14:creationId xmlns:p14="http://schemas.microsoft.com/office/powerpoint/2010/main" val="8490615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8" presetClass="entr" presetSubtype="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14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downRight)">
                                      <p:cBhvr>
                                        <p:cTn id="7" dur="500"/>
                                        <p:tgtEl>
                                          <p:spTgt spid="10414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 nodeType="clickPar">
                      <p:stCondLst>
                        <p:cond delay="indefinite"/>
                      </p:stCondLst>
                      <p:childTnLst>
                        <p:par>
                          <p:cTn id="9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0" presetID="18" presetClass="entr" presetSubtype="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14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downRight)">
                                      <p:cBhvr>
                                        <p:cTn id="12" dur="500"/>
                                        <p:tgtEl>
                                          <p:spTgt spid="10414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 nodeType="clickPar">
                      <p:stCondLst>
                        <p:cond delay="indefinite"/>
                      </p:stCondLst>
                      <p:childTnLst>
                        <p:par>
                          <p:cTn id="1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5" presetID="18" presetClass="entr" presetSubtype="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1410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downRight)">
                                      <p:cBhvr>
                                        <p:cTn id="17" dur="500"/>
                                        <p:tgtEl>
                                          <p:spTgt spid="1041410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 nodeType="clickPar">
                      <p:stCondLst>
                        <p:cond delay="indefinite"/>
                      </p:stCondLst>
                      <p:childTnLst>
                        <p:par>
                          <p:cTn id="19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20" presetID="18" presetClass="entr" presetSubtype="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1410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downRight)">
                                      <p:cBhvr>
                                        <p:cTn id="22" dur="500"/>
                                        <p:tgtEl>
                                          <p:spTgt spid="1041410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 nodeType="clickPar">
                      <p:stCondLst>
                        <p:cond delay="indefinite"/>
                      </p:stCondLst>
                      <p:childTnLst>
                        <p:par>
                          <p:cTn id="2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25" presetID="18" presetClass="entr" presetSubtype="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1410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downRight)">
                                      <p:cBhvr>
                                        <p:cTn id="27" dur="500"/>
                                        <p:tgtEl>
                                          <p:spTgt spid="1041410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 nodeType="clickPar">
                      <p:stCondLst>
                        <p:cond delay="indefinite"/>
                      </p:stCondLst>
                      <p:childTnLst>
                        <p:par>
                          <p:cTn id="29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30" presetID="18" presetClass="entr" presetSubtype="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1410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downRight)">
                                      <p:cBhvr>
                                        <p:cTn id="32" dur="500"/>
                                        <p:tgtEl>
                                          <p:spTgt spid="1041410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41410" grpId="0" build="p"/>
      <p:bldP spid="1041412" grpId="0"/>
    </p:bldLst>
  </p:timing>
</p:sld>
</file>

<file path=ppt/slides/slide8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7922" name="Rectangle 2"/>
          <p:cNvSpPr>
            <a:spLocks noChangeArrowheads="1"/>
          </p:cNvSpPr>
          <p:nvPr/>
        </p:nvSpPr>
        <p:spPr bwMode="auto">
          <a:xfrm>
            <a:off x="0" y="897733"/>
            <a:ext cx="9144000" cy="69532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anchor="ctr"/>
          <a:lstStyle/>
          <a:p>
            <a:pPr algn="ctr">
              <a:defRPr/>
            </a:pPr>
            <a:r>
              <a:rPr lang="en-US" sz="2700" b="1">
                <a:solidFill>
                  <a:schemeClr val="tx2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Tahoma" pitchFamily="34" charset="0"/>
              </a:rPr>
              <a:t>CRA</a:t>
            </a:r>
          </a:p>
        </p:txBody>
      </p:sp>
      <p:graphicFrame>
        <p:nvGraphicFramePr>
          <p:cNvPr id="977933" name="Group 13"/>
          <p:cNvGraphicFramePr>
            <a:graphicFrameLocks noGrp="1"/>
          </p:cNvGraphicFramePr>
          <p:nvPr>
            <p:ph sz="quarter" idx="13"/>
            <p:extLst>
              <p:ext uri="{D42A27DB-BD31-4B8C-83A1-F6EECF244321}">
                <p14:modId xmlns:p14="http://schemas.microsoft.com/office/powerpoint/2010/main" val="2154973499"/>
              </p:ext>
            </p:extLst>
          </p:nvPr>
        </p:nvGraphicFramePr>
        <p:xfrm>
          <a:off x="251520" y="1844281"/>
          <a:ext cx="7777163" cy="501253"/>
        </p:xfrm>
        <a:graphic>
          <a:graphicData uri="http://schemas.openxmlformats.org/drawingml/2006/table">
            <a:tbl>
              <a:tblPr/>
              <a:tblGrid>
                <a:gridCol w="7777163"/>
              </a:tblGrid>
              <a:tr h="501253">
                <a:tc>
                  <a:txBody>
                    <a:bodyPr/>
                    <a:lstStyle/>
                    <a:p>
                      <a:pPr marL="342900" marR="0" lvl="0" indent="-34290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5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15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pitchFamily="34" charset="0"/>
                          <a:cs typeface="Times New Roman" pitchFamily="18" charset="0"/>
                        </a:rPr>
                        <a:t>CRA - Certificado de Recebíveis do Agronegócio</a:t>
                      </a:r>
                    </a:p>
                  </a:txBody>
                  <a:tcPr marL="91496" marR="91496" marT="34305" marB="34305" anchor="ctr" horzOverflow="overflow">
                    <a:lnL cap="flat">
                      <a:noFill/>
                    </a:lnL>
                    <a:lnR cap="flat"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5" name="Rectangle 6"/>
          <p:cNvSpPr>
            <a:spLocks noChangeArrowheads="1"/>
          </p:cNvSpPr>
          <p:nvPr/>
        </p:nvSpPr>
        <p:spPr bwMode="auto">
          <a:xfrm>
            <a:off x="1043681" y="4670824"/>
            <a:ext cx="6178551" cy="69532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anchor="ctr"/>
          <a:lstStyle/>
          <a:p>
            <a:pPr algn="ctr">
              <a:defRPr/>
            </a:pPr>
            <a:r>
              <a:rPr lang="en-US" sz="2100" b="1" dirty="0" err="1">
                <a:solidFill>
                  <a:schemeClr val="tx2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Tahoma" pitchFamily="34" charset="0"/>
              </a:rPr>
              <a:t>Fluxo</a:t>
            </a:r>
            <a:r>
              <a:rPr lang="en-US" sz="2100" b="1" dirty="0">
                <a:solidFill>
                  <a:schemeClr val="tx2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Tahoma" pitchFamily="34" charset="0"/>
              </a:rPr>
              <a:t> </a:t>
            </a:r>
            <a:r>
              <a:rPr lang="en-US" sz="2100" b="1" dirty="0" err="1">
                <a:solidFill>
                  <a:schemeClr val="tx2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Tahoma" pitchFamily="34" charset="0"/>
              </a:rPr>
              <a:t>Operacional</a:t>
            </a:r>
            <a:endParaRPr lang="en-US" sz="2100" b="1" dirty="0">
              <a:solidFill>
                <a:schemeClr val="tx2"/>
              </a:solidFill>
              <a:effectLst>
                <a:outerShdw blurRad="38100" dist="38100" dir="2700000" algn="tl">
                  <a:srgbClr val="C0C0C0"/>
                </a:outerShdw>
              </a:effectLst>
              <a:latin typeface="Tahoma" pitchFamily="34" charset="0"/>
            </a:endParaRPr>
          </a:p>
        </p:txBody>
      </p:sp>
      <p:sp>
        <p:nvSpPr>
          <p:cNvPr id="6" name="AutoShape 17"/>
          <p:cNvSpPr>
            <a:spLocks noChangeArrowheads="1"/>
          </p:cNvSpPr>
          <p:nvPr/>
        </p:nvSpPr>
        <p:spPr bwMode="auto">
          <a:xfrm rot="16200000" flipH="1">
            <a:off x="467365" y="3041255"/>
            <a:ext cx="1774031" cy="720725"/>
          </a:xfrm>
          <a:prstGeom prst="roundRect">
            <a:avLst>
              <a:gd name="adj" fmla="val 16667"/>
            </a:avLst>
          </a:prstGeom>
          <a:solidFill>
            <a:srgbClr val="0000FF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endParaRPr lang="pt-BR" sz="1350">
              <a:solidFill>
                <a:schemeClr val="bg1"/>
              </a:solidFill>
            </a:endParaRPr>
          </a:p>
        </p:txBody>
      </p:sp>
      <p:sp>
        <p:nvSpPr>
          <p:cNvPr id="7" name="Text Box 18"/>
          <p:cNvSpPr txBox="1">
            <a:spLocks noChangeArrowheads="1"/>
          </p:cNvSpPr>
          <p:nvPr/>
        </p:nvSpPr>
        <p:spPr bwMode="auto">
          <a:xfrm rot="16200000" flipH="1">
            <a:off x="474112" y="3113902"/>
            <a:ext cx="1795463" cy="553998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>
            <a:spAutoFit/>
          </a:bodyPr>
          <a:lstStyle>
            <a:lvl1pPr>
              <a:defRPr sz="2400">
                <a:solidFill>
                  <a:schemeClr val="tx1"/>
                </a:solidFill>
                <a:latin typeface="Times New Roman" pitchFamily="18" charset="0"/>
              </a:defRPr>
            </a:lvl1pPr>
            <a:lvl2pPr marL="2343150" indent="-714375">
              <a:defRPr sz="2400">
                <a:solidFill>
                  <a:schemeClr val="tx1"/>
                </a:solidFill>
                <a:latin typeface="Times New Roman" pitchFamily="18" charset="0"/>
              </a:defRPr>
            </a:lvl2pPr>
            <a:lvl3pPr marL="4229100" indent="-828675">
              <a:defRPr sz="2400">
                <a:solidFill>
                  <a:schemeClr val="tx1"/>
                </a:solidFill>
                <a:latin typeface="Times New Roman" pitchFamily="18" charset="0"/>
              </a:defRPr>
            </a:lvl3pPr>
            <a:lvl4pPr marL="4408488">
              <a:defRPr sz="2400">
                <a:solidFill>
                  <a:schemeClr val="tx1"/>
                </a:solidFill>
                <a:latin typeface="Times New Roman" pitchFamily="18" charset="0"/>
              </a:defRPr>
            </a:lvl4pPr>
            <a:lvl5pPr marL="4587875">
              <a:defRPr sz="2400">
                <a:solidFill>
                  <a:schemeClr val="tx1"/>
                </a:solidFill>
                <a:latin typeface="Times New Roman" pitchFamily="18" charset="0"/>
              </a:defRPr>
            </a:lvl5pPr>
            <a:lvl6pPr marL="5045075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6pPr>
            <a:lvl7pPr marL="5502275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7pPr>
            <a:lvl8pPr marL="5959475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8pPr>
            <a:lvl9pPr marL="6416675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algn="ctr" eaLnBrk="0" hangingPunct="0">
              <a:spcBef>
                <a:spcPct val="50000"/>
              </a:spcBef>
              <a:defRPr/>
            </a:pPr>
            <a:r>
              <a:rPr lang="pt-BR" sz="1500" b="1">
                <a:solidFill>
                  <a:schemeClr val="bg1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pitchFamily="34" charset="0"/>
              </a:rPr>
              <a:t>PRODUTOR / COOPERATIVA</a:t>
            </a:r>
          </a:p>
        </p:txBody>
      </p:sp>
      <p:sp>
        <p:nvSpPr>
          <p:cNvPr id="8" name="AutoShape 3"/>
          <p:cNvSpPr>
            <a:spLocks noChangeArrowheads="1"/>
          </p:cNvSpPr>
          <p:nvPr/>
        </p:nvSpPr>
        <p:spPr bwMode="auto">
          <a:xfrm rot="16200000" flipH="1">
            <a:off x="3197263" y="3030539"/>
            <a:ext cx="1795463" cy="720725"/>
          </a:xfrm>
          <a:prstGeom prst="roundRect">
            <a:avLst>
              <a:gd name="adj" fmla="val 16667"/>
            </a:avLst>
          </a:prstGeom>
          <a:solidFill>
            <a:srgbClr val="FFFF00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endParaRPr lang="pt-BR" sz="1350">
              <a:solidFill>
                <a:schemeClr val="bg1"/>
              </a:solidFill>
            </a:endParaRPr>
          </a:p>
        </p:txBody>
      </p:sp>
      <p:sp>
        <p:nvSpPr>
          <p:cNvPr id="9" name="Text Box 37"/>
          <p:cNvSpPr txBox="1">
            <a:spLocks noChangeArrowheads="1"/>
          </p:cNvSpPr>
          <p:nvPr/>
        </p:nvSpPr>
        <p:spPr bwMode="auto">
          <a:xfrm rot="16200000" flipH="1">
            <a:off x="3356012" y="3224191"/>
            <a:ext cx="1762125" cy="30008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9pPr>
          </a:lstStyle>
          <a:p>
            <a:pPr algn="ctr" eaLnBrk="0" hangingPunct="0">
              <a:spcBef>
                <a:spcPct val="50000"/>
              </a:spcBef>
            </a:pPr>
            <a:r>
              <a:rPr lang="pt-BR" sz="1350" b="1">
                <a:latin typeface="Arial" pitchFamily="34" charset="0"/>
              </a:rPr>
              <a:t>Lastro Recebível</a:t>
            </a:r>
          </a:p>
        </p:txBody>
      </p:sp>
      <p:sp>
        <p:nvSpPr>
          <p:cNvPr id="10" name="AutoShape 14"/>
          <p:cNvSpPr>
            <a:spLocks noChangeArrowheads="1"/>
          </p:cNvSpPr>
          <p:nvPr/>
        </p:nvSpPr>
        <p:spPr bwMode="auto">
          <a:xfrm rot="16200000" flipH="1">
            <a:off x="2778163" y="3030539"/>
            <a:ext cx="1795463" cy="720725"/>
          </a:xfrm>
          <a:prstGeom prst="roundRect">
            <a:avLst>
              <a:gd name="adj" fmla="val 16667"/>
            </a:avLst>
          </a:prstGeom>
          <a:solidFill>
            <a:srgbClr val="0000FF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endParaRPr lang="pt-BR" sz="1350">
              <a:solidFill>
                <a:schemeClr val="bg1"/>
              </a:solidFill>
            </a:endParaRPr>
          </a:p>
        </p:txBody>
      </p:sp>
      <p:sp>
        <p:nvSpPr>
          <p:cNvPr id="11" name="Text Box 15"/>
          <p:cNvSpPr txBox="1">
            <a:spLocks noChangeArrowheads="1"/>
          </p:cNvSpPr>
          <p:nvPr/>
        </p:nvSpPr>
        <p:spPr bwMode="auto">
          <a:xfrm rot="16200000" flipH="1">
            <a:off x="2834320" y="3101401"/>
            <a:ext cx="1718072" cy="5539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9pPr>
          </a:lstStyle>
          <a:p>
            <a:pPr algn="ctr" eaLnBrk="0" hangingPunct="0">
              <a:spcBef>
                <a:spcPct val="50000"/>
              </a:spcBef>
            </a:pPr>
            <a:r>
              <a:rPr lang="pt-BR" sz="1500" b="1">
                <a:solidFill>
                  <a:schemeClr val="bg1"/>
                </a:solidFill>
                <a:latin typeface="Arial" pitchFamily="34" charset="0"/>
              </a:rPr>
              <a:t>EMPRESA / COOPERATIVA</a:t>
            </a:r>
          </a:p>
        </p:txBody>
      </p:sp>
      <p:sp>
        <p:nvSpPr>
          <p:cNvPr id="12" name="Text Box 33"/>
          <p:cNvSpPr txBox="1">
            <a:spLocks noChangeArrowheads="1"/>
          </p:cNvSpPr>
          <p:nvPr/>
        </p:nvSpPr>
        <p:spPr bwMode="auto">
          <a:xfrm>
            <a:off x="1767132" y="2994422"/>
            <a:ext cx="1592263" cy="300082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>
            <a:spAutoFit/>
          </a:bodyPr>
          <a:lstStyle/>
          <a:p>
            <a:pPr algn="ctr">
              <a:spcBef>
                <a:spcPct val="50000"/>
              </a:spcBef>
              <a:defRPr/>
            </a:pPr>
            <a:r>
              <a:rPr lang="pt-BR" sz="1350">
                <a:solidFill>
                  <a:schemeClr val="tx2"/>
                </a:solidFill>
                <a:latin typeface="Arial" pitchFamily="34" charset="0"/>
              </a:rPr>
              <a:t>Emite </a:t>
            </a:r>
            <a:r>
              <a:rPr lang="pt-BR" sz="1350" b="1">
                <a:solidFill>
                  <a:schemeClr val="tx2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pitchFamily="34" charset="0"/>
              </a:rPr>
              <a:t>CPR</a:t>
            </a:r>
          </a:p>
        </p:txBody>
      </p:sp>
      <p:sp>
        <p:nvSpPr>
          <p:cNvPr id="13" name="Line 34"/>
          <p:cNvSpPr>
            <a:spLocks noChangeShapeType="1"/>
          </p:cNvSpPr>
          <p:nvPr/>
        </p:nvSpPr>
        <p:spPr bwMode="auto">
          <a:xfrm flipV="1">
            <a:off x="1728054" y="3266980"/>
            <a:ext cx="1593177" cy="95"/>
          </a:xfrm>
          <a:prstGeom prst="line">
            <a:avLst/>
          </a:prstGeom>
          <a:noFill/>
          <a:ln w="57150">
            <a:solidFill>
              <a:schemeClr val="tx2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pt-BR" sz="1350"/>
          </a:p>
        </p:txBody>
      </p:sp>
      <p:sp>
        <p:nvSpPr>
          <p:cNvPr id="14" name="Line 35"/>
          <p:cNvSpPr>
            <a:spLocks noChangeShapeType="1"/>
          </p:cNvSpPr>
          <p:nvPr/>
        </p:nvSpPr>
        <p:spPr bwMode="auto">
          <a:xfrm flipV="1">
            <a:off x="1702043" y="3504010"/>
            <a:ext cx="1714500" cy="0"/>
          </a:xfrm>
          <a:prstGeom prst="line">
            <a:avLst/>
          </a:prstGeom>
          <a:noFill/>
          <a:ln w="57150">
            <a:solidFill>
              <a:schemeClr val="tx2"/>
            </a:solidFill>
            <a:round/>
            <a:headEnd type="triangle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pt-BR" sz="1350"/>
          </a:p>
        </p:txBody>
      </p:sp>
      <p:sp>
        <p:nvSpPr>
          <p:cNvPr id="15" name="Text Box 36"/>
          <p:cNvSpPr txBox="1">
            <a:spLocks noChangeArrowheads="1"/>
          </p:cNvSpPr>
          <p:nvPr/>
        </p:nvSpPr>
        <p:spPr bwMode="auto">
          <a:xfrm>
            <a:off x="1830630" y="3499247"/>
            <a:ext cx="1503363" cy="300082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>
            <a:spAutoFit/>
          </a:bodyPr>
          <a:lstStyle/>
          <a:p>
            <a:pPr algn="ctr">
              <a:spcBef>
                <a:spcPct val="50000"/>
              </a:spcBef>
              <a:defRPr/>
            </a:pPr>
            <a:r>
              <a:rPr lang="pt-BR" sz="1350">
                <a:solidFill>
                  <a:schemeClr val="tx2"/>
                </a:solidFill>
                <a:latin typeface="Arial" pitchFamily="34" charset="0"/>
              </a:rPr>
              <a:t>Entrega Insumos</a:t>
            </a:r>
            <a:endParaRPr lang="pt-BR" sz="1350" b="1">
              <a:solidFill>
                <a:schemeClr val="tx2"/>
              </a:solidFill>
              <a:effectLst>
                <a:outerShdw blurRad="38100" dist="38100" dir="2700000" algn="tl">
                  <a:srgbClr val="C0C0C0"/>
                </a:outerShdw>
              </a:effectLst>
              <a:latin typeface="Arial" pitchFamily="34" charset="0"/>
            </a:endParaRPr>
          </a:p>
        </p:txBody>
      </p:sp>
      <p:sp>
        <p:nvSpPr>
          <p:cNvPr id="16" name="AutoShape 40"/>
          <p:cNvSpPr>
            <a:spLocks noChangeArrowheads="1"/>
          </p:cNvSpPr>
          <p:nvPr/>
        </p:nvSpPr>
        <p:spPr bwMode="auto">
          <a:xfrm rot="16200000" flipH="1">
            <a:off x="4033311" y="3030539"/>
            <a:ext cx="1795463" cy="720725"/>
          </a:xfrm>
          <a:prstGeom prst="roundRect">
            <a:avLst>
              <a:gd name="adj" fmla="val 16667"/>
            </a:avLst>
          </a:prstGeom>
          <a:solidFill>
            <a:srgbClr val="0000FF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endParaRPr lang="pt-BR" sz="1350">
              <a:solidFill>
                <a:schemeClr val="bg1"/>
              </a:solidFill>
            </a:endParaRPr>
          </a:p>
        </p:txBody>
      </p:sp>
      <p:sp>
        <p:nvSpPr>
          <p:cNvPr id="17" name="Text Box 41"/>
          <p:cNvSpPr txBox="1">
            <a:spLocks noChangeArrowheads="1"/>
          </p:cNvSpPr>
          <p:nvPr/>
        </p:nvSpPr>
        <p:spPr bwMode="auto">
          <a:xfrm rot="16200000" flipH="1">
            <a:off x="3981976" y="3249696"/>
            <a:ext cx="1907655" cy="3231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9pPr>
          </a:lstStyle>
          <a:p>
            <a:pPr algn="ctr" eaLnBrk="0" hangingPunct="0">
              <a:spcBef>
                <a:spcPct val="50000"/>
              </a:spcBef>
            </a:pPr>
            <a:r>
              <a:rPr lang="pt-BR" sz="1500" b="1" dirty="0">
                <a:solidFill>
                  <a:schemeClr val="bg1"/>
                </a:solidFill>
                <a:latin typeface="Arial" pitchFamily="34" charset="0"/>
              </a:rPr>
              <a:t>SECURITIZADORA</a:t>
            </a:r>
          </a:p>
        </p:txBody>
      </p:sp>
    </p:spTree>
    <p:extLst>
      <p:ext uri="{BB962C8B-B14F-4D97-AF65-F5344CB8AC3E}">
        <p14:creationId xmlns:p14="http://schemas.microsoft.com/office/powerpoint/2010/main" val="28103272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7" dur="2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0" dur="2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 nodeType="clickPar">
                      <p:stCondLst>
                        <p:cond delay="indefinite"/>
                      </p:stCondLst>
                      <p:childTnLst>
                        <p:par>
                          <p:cTn id="12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3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8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 nodeType="afterGroup">
                            <p:stCondLst>
                              <p:cond delay="500"/>
                            </p:stCondLst>
                            <p:childTnLst>
                              <p:par>
                                <p:cTn id="20" presetID="6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22" dur="20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25" dur="20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6" fill="hold" nodeType="afterGroup">
                            <p:stCondLst>
                              <p:cond delay="2500"/>
                            </p:stCondLst>
                            <p:childTnLst>
                              <p:par>
                                <p:cTn id="27" presetID="2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29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2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32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3" fill="hold" nodeType="afterGroup">
                            <p:stCondLst>
                              <p:cond delay="3000"/>
                            </p:stCondLst>
                            <p:childTnLst>
                              <p:par>
                                <p:cTn id="34" presetID="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6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7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8" presetID="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0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1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2" fill="hold" nodeType="clickPar">
                      <p:stCondLst>
                        <p:cond delay="indefinite"/>
                      </p:stCondLst>
                      <p:childTnLst>
                        <p:par>
                          <p:cTn id="43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44" presetID="6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46" dur="20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7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49" dur="20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7" grpId="0"/>
      <p:bldP spid="8" grpId="0" animBg="1"/>
      <p:bldP spid="9" grpId="0"/>
      <p:bldP spid="10" grpId="0" animBg="1"/>
      <p:bldP spid="11" grpId="0"/>
      <p:bldP spid="12" grpId="0"/>
      <p:bldP spid="13" grpId="0" animBg="1"/>
      <p:bldP spid="14" grpId="0" animBg="1"/>
      <p:bldP spid="15" grpId="0"/>
      <p:bldP spid="16" grpId="0" animBg="1"/>
      <p:bldP spid="17" grpId="0"/>
    </p:bldLst>
  </p:timing>
</p:sld>
</file>

<file path=ppt/slides/slide8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Line 7"/>
          <p:cNvSpPr>
            <a:spLocks noChangeShapeType="1"/>
          </p:cNvSpPr>
          <p:nvPr/>
        </p:nvSpPr>
        <p:spPr bwMode="auto">
          <a:xfrm flipV="1">
            <a:off x="5266215" y="3401997"/>
            <a:ext cx="2683122" cy="12473"/>
          </a:xfrm>
          <a:prstGeom prst="line">
            <a:avLst/>
          </a:prstGeom>
          <a:noFill/>
          <a:ln w="57150">
            <a:solidFill>
              <a:schemeClr val="tx2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pt-BR" sz="1350"/>
          </a:p>
        </p:txBody>
      </p:sp>
      <p:sp>
        <p:nvSpPr>
          <p:cNvPr id="26" name="Line 25"/>
          <p:cNvSpPr>
            <a:spLocks noChangeShapeType="1"/>
          </p:cNvSpPr>
          <p:nvPr/>
        </p:nvSpPr>
        <p:spPr bwMode="auto">
          <a:xfrm>
            <a:off x="3848055" y="3429000"/>
            <a:ext cx="711200" cy="0"/>
          </a:xfrm>
          <a:prstGeom prst="line">
            <a:avLst/>
          </a:prstGeom>
          <a:noFill/>
          <a:ln w="57150">
            <a:solidFill>
              <a:schemeClr val="tx2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pt-BR" sz="1350"/>
          </a:p>
        </p:txBody>
      </p:sp>
      <p:sp>
        <p:nvSpPr>
          <p:cNvPr id="19" name="AutoShape 3"/>
          <p:cNvSpPr>
            <a:spLocks noChangeArrowheads="1"/>
          </p:cNvSpPr>
          <p:nvPr/>
        </p:nvSpPr>
        <p:spPr bwMode="auto">
          <a:xfrm rot="16200000" flipH="1">
            <a:off x="4439401" y="3035302"/>
            <a:ext cx="1795463" cy="720725"/>
          </a:xfrm>
          <a:prstGeom prst="roundRect">
            <a:avLst>
              <a:gd name="adj" fmla="val 16667"/>
            </a:avLst>
          </a:prstGeom>
          <a:solidFill>
            <a:srgbClr val="FFFF00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endParaRPr lang="pt-BR" sz="1350"/>
          </a:p>
        </p:txBody>
      </p:sp>
      <p:sp>
        <p:nvSpPr>
          <p:cNvPr id="977922" name="Rectangle 2"/>
          <p:cNvSpPr>
            <a:spLocks noChangeArrowheads="1"/>
          </p:cNvSpPr>
          <p:nvPr/>
        </p:nvSpPr>
        <p:spPr bwMode="auto">
          <a:xfrm>
            <a:off x="0" y="897733"/>
            <a:ext cx="9144000" cy="69532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anchor="ctr"/>
          <a:lstStyle/>
          <a:p>
            <a:pPr algn="ctr">
              <a:defRPr/>
            </a:pPr>
            <a:r>
              <a:rPr lang="en-US" sz="2700" b="1">
                <a:solidFill>
                  <a:schemeClr val="tx2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Tahoma" pitchFamily="34" charset="0"/>
              </a:rPr>
              <a:t>CRA</a:t>
            </a:r>
          </a:p>
        </p:txBody>
      </p:sp>
      <p:graphicFrame>
        <p:nvGraphicFramePr>
          <p:cNvPr id="977933" name="Group 13"/>
          <p:cNvGraphicFramePr>
            <a:graphicFrameLocks noGrp="1"/>
          </p:cNvGraphicFramePr>
          <p:nvPr>
            <p:ph sz="quarter" idx="13"/>
            <p:extLst>
              <p:ext uri="{D42A27DB-BD31-4B8C-83A1-F6EECF244321}">
                <p14:modId xmlns:p14="http://schemas.microsoft.com/office/powerpoint/2010/main" val="3582921151"/>
              </p:ext>
            </p:extLst>
          </p:nvPr>
        </p:nvGraphicFramePr>
        <p:xfrm>
          <a:off x="251520" y="1844281"/>
          <a:ext cx="7777163" cy="501253"/>
        </p:xfrm>
        <a:graphic>
          <a:graphicData uri="http://schemas.openxmlformats.org/drawingml/2006/table">
            <a:tbl>
              <a:tblPr/>
              <a:tblGrid>
                <a:gridCol w="7777163"/>
              </a:tblGrid>
              <a:tr h="501253">
                <a:tc>
                  <a:txBody>
                    <a:bodyPr/>
                    <a:lstStyle/>
                    <a:p>
                      <a:pPr marL="342900" marR="0" lvl="0" indent="-34290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5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15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pitchFamily="34" charset="0"/>
                          <a:cs typeface="Times New Roman" pitchFamily="18" charset="0"/>
                        </a:rPr>
                        <a:t>CRA - Certificado de Recebíveis do Agronegócio</a:t>
                      </a:r>
                    </a:p>
                  </a:txBody>
                  <a:tcPr marL="91496" marR="91496" marT="34305" marB="34305" anchor="ctr" horzOverflow="overflow">
                    <a:lnL cap="flat">
                      <a:noFill/>
                    </a:lnL>
                    <a:lnR cap="flat"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5" name="Rectangle 6"/>
          <p:cNvSpPr>
            <a:spLocks noChangeArrowheads="1"/>
          </p:cNvSpPr>
          <p:nvPr/>
        </p:nvSpPr>
        <p:spPr bwMode="auto">
          <a:xfrm>
            <a:off x="1043681" y="4670824"/>
            <a:ext cx="6178551" cy="69532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anchor="ctr"/>
          <a:lstStyle/>
          <a:p>
            <a:pPr algn="ctr">
              <a:defRPr/>
            </a:pPr>
            <a:r>
              <a:rPr lang="en-US" sz="2100" b="1" dirty="0" err="1">
                <a:solidFill>
                  <a:schemeClr val="tx2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Tahoma" pitchFamily="34" charset="0"/>
              </a:rPr>
              <a:t>Fluxo</a:t>
            </a:r>
            <a:r>
              <a:rPr lang="en-US" sz="2100" b="1" dirty="0">
                <a:solidFill>
                  <a:schemeClr val="tx2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Tahoma" pitchFamily="34" charset="0"/>
              </a:rPr>
              <a:t> </a:t>
            </a:r>
            <a:r>
              <a:rPr lang="en-US" sz="2100" b="1" dirty="0" err="1">
                <a:solidFill>
                  <a:schemeClr val="tx2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Tahoma" pitchFamily="34" charset="0"/>
              </a:rPr>
              <a:t>Operacional</a:t>
            </a:r>
            <a:endParaRPr lang="en-US" sz="2100" b="1" dirty="0">
              <a:solidFill>
                <a:schemeClr val="tx2"/>
              </a:solidFill>
              <a:effectLst>
                <a:outerShdw blurRad="38100" dist="38100" dir="2700000" algn="tl">
                  <a:srgbClr val="C0C0C0"/>
                </a:outerShdw>
              </a:effectLst>
              <a:latin typeface="Tahoma" pitchFamily="34" charset="0"/>
            </a:endParaRPr>
          </a:p>
        </p:txBody>
      </p:sp>
      <p:sp>
        <p:nvSpPr>
          <p:cNvPr id="228360" name="AutoShape 17"/>
          <p:cNvSpPr>
            <a:spLocks noChangeArrowheads="1"/>
          </p:cNvSpPr>
          <p:nvPr/>
        </p:nvSpPr>
        <p:spPr bwMode="auto">
          <a:xfrm rot="16200000" flipH="1">
            <a:off x="453673" y="3041255"/>
            <a:ext cx="1774031" cy="720725"/>
          </a:xfrm>
          <a:prstGeom prst="roundRect">
            <a:avLst>
              <a:gd name="adj" fmla="val 16667"/>
            </a:avLst>
          </a:prstGeom>
          <a:solidFill>
            <a:srgbClr val="0000FF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endParaRPr lang="pt-BR" sz="1350">
              <a:solidFill>
                <a:schemeClr val="bg1"/>
              </a:solidFill>
            </a:endParaRPr>
          </a:p>
        </p:txBody>
      </p:sp>
      <p:sp>
        <p:nvSpPr>
          <p:cNvPr id="7" name="Text Box 18"/>
          <p:cNvSpPr txBox="1">
            <a:spLocks noChangeArrowheads="1"/>
          </p:cNvSpPr>
          <p:nvPr/>
        </p:nvSpPr>
        <p:spPr bwMode="auto">
          <a:xfrm rot="16200000" flipH="1">
            <a:off x="460420" y="3113902"/>
            <a:ext cx="1795463" cy="553998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>
            <a:spAutoFit/>
          </a:bodyPr>
          <a:lstStyle>
            <a:lvl1pPr>
              <a:defRPr sz="2400">
                <a:solidFill>
                  <a:schemeClr val="tx1"/>
                </a:solidFill>
                <a:latin typeface="Times New Roman" pitchFamily="18" charset="0"/>
              </a:defRPr>
            </a:lvl1pPr>
            <a:lvl2pPr marL="2343150" indent="-714375">
              <a:defRPr sz="2400">
                <a:solidFill>
                  <a:schemeClr val="tx1"/>
                </a:solidFill>
                <a:latin typeface="Times New Roman" pitchFamily="18" charset="0"/>
              </a:defRPr>
            </a:lvl2pPr>
            <a:lvl3pPr marL="4229100" indent="-828675">
              <a:defRPr sz="2400">
                <a:solidFill>
                  <a:schemeClr val="tx1"/>
                </a:solidFill>
                <a:latin typeface="Times New Roman" pitchFamily="18" charset="0"/>
              </a:defRPr>
            </a:lvl3pPr>
            <a:lvl4pPr marL="4408488">
              <a:defRPr sz="2400">
                <a:solidFill>
                  <a:schemeClr val="tx1"/>
                </a:solidFill>
                <a:latin typeface="Times New Roman" pitchFamily="18" charset="0"/>
              </a:defRPr>
            </a:lvl4pPr>
            <a:lvl5pPr marL="4587875">
              <a:defRPr sz="2400">
                <a:solidFill>
                  <a:schemeClr val="tx1"/>
                </a:solidFill>
                <a:latin typeface="Times New Roman" pitchFamily="18" charset="0"/>
              </a:defRPr>
            </a:lvl5pPr>
            <a:lvl6pPr marL="5045075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6pPr>
            <a:lvl7pPr marL="5502275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7pPr>
            <a:lvl8pPr marL="5959475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8pPr>
            <a:lvl9pPr marL="6416675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algn="ctr" eaLnBrk="0" hangingPunct="0">
              <a:spcBef>
                <a:spcPct val="50000"/>
              </a:spcBef>
              <a:defRPr/>
            </a:pPr>
            <a:r>
              <a:rPr lang="pt-BR" sz="1500" b="1">
                <a:solidFill>
                  <a:schemeClr val="bg1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pitchFamily="34" charset="0"/>
              </a:rPr>
              <a:t>PRODUTOR / COOPERATIVA</a:t>
            </a:r>
          </a:p>
        </p:txBody>
      </p:sp>
      <p:sp>
        <p:nvSpPr>
          <p:cNvPr id="228362" name="AutoShape 14"/>
          <p:cNvSpPr>
            <a:spLocks noChangeArrowheads="1"/>
          </p:cNvSpPr>
          <p:nvPr/>
        </p:nvSpPr>
        <p:spPr bwMode="auto">
          <a:xfrm rot="16200000" flipH="1">
            <a:off x="2783863" y="3030539"/>
            <a:ext cx="1795463" cy="720725"/>
          </a:xfrm>
          <a:prstGeom prst="roundRect">
            <a:avLst>
              <a:gd name="adj" fmla="val 16667"/>
            </a:avLst>
          </a:prstGeom>
          <a:solidFill>
            <a:srgbClr val="0000FF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endParaRPr lang="pt-BR" sz="1350">
              <a:solidFill>
                <a:schemeClr val="bg1"/>
              </a:solidFill>
            </a:endParaRPr>
          </a:p>
        </p:txBody>
      </p:sp>
      <p:sp>
        <p:nvSpPr>
          <p:cNvPr id="228363" name="Text Box 15"/>
          <p:cNvSpPr txBox="1">
            <a:spLocks noChangeArrowheads="1"/>
          </p:cNvSpPr>
          <p:nvPr/>
        </p:nvSpPr>
        <p:spPr bwMode="auto">
          <a:xfrm rot="16200000" flipH="1">
            <a:off x="2840019" y="3101401"/>
            <a:ext cx="1718072" cy="5539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9pPr>
          </a:lstStyle>
          <a:p>
            <a:pPr algn="ctr" eaLnBrk="0" hangingPunct="0">
              <a:spcBef>
                <a:spcPct val="50000"/>
              </a:spcBef>
            </a:pPr>
            <a:r>
              <a:rPr lang="pt-BR" sz="1500" b="1">
                <a:solidFill>
                  <a:schemeClr val="bg1"/>
                </a:solidFill>
                <a:latin typeface="Arial" pitchFamily="34" charset="0"/>
              </a:rPr>
              <a:t>EMPRESA / COOPERATIVA</a:t>
            </a:r>
          </a:p>
        </p:txBody>
      </p:sp>
      <p:sp>
        <p:nvSpPr>
          <p:cNvPr id="12" name="Text Box 33"/>
          <p:cNvSpPr txBox="1">
            <a:spLocks noChangeArrowheads="1"/>
          </p:cNvSpPr>
          <p:nvPr/>
        </p:nvSpPr>
        <p:spPr bwMode="auto">
          <a:xfrm>
            <a:off x="1737370" y="2994422"/>
            <a:ext cx="1592263" cy="300082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>
            <a:spAutoFit/>
          </a:bodyPr>
          <a:lstStyle/>
          <a:p>
            <a:pPr algn="ctr">
              <a:spcBef>
                <a:spcPct val="50000"/>
              </a:spcBef>
              <a:defRPr/>
            </a:pPr>
            <a:r>
              <a:rPr lang="pt-BR" sz="1350">
                <a:solidFill>
                  <a:schemeClr val="tx2"/>
                </a:solidFill>
                <a:latin typeface="Arial" pitchFamily="34" charset="0"/>
              </a:rPr>
              <a:t>Emite </a:t>
            </a:r>
            <a:r>
              <a:rPr lang="pt-BR" sz="1350" b="1">
                <a:solidFill>
                  <a:schemeClr val="tx2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pitchFamily="34" charset="0"/>
              </a:rPr>
              <a:t>CPR</a:t>
            </a:r>
          </a:p>
        </p:txBody>
      </p:sp>
      <p:sp>
        <p:nvSpPr>
          <p:cNvPr id="228365" name="Line 34"/>
          <p:cNvSpPr>
            <a:spLocks noChangeShapeType="1"/>
          </p:cNvSpPr>
          <p:nvPr/>
        </p:nvSpPr>
        <p:spPr bwMode="auto">
          <a:xfrm flipV="1">
            <a:off x="1701051" y="3267075"/>
            <a:ext cx="1620180" cy="0"/>
          </a:xfrm>
          <a:prstGeom prst="line">
            <a:avLst/>
          </a:prstGeom>
          <a:noFill/>
          <a:ln w="57150">
            <a:solidFill>
              <a:schemeClr val="tx2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pt-BR" sz="1350"/>
          </a:p>
        </p:txBody>
      </p:sp>
      <p:sp>
        <p:nvSpPr>
          <p:cNvPr id="228366" name="Line 35"/>
          <p:cNvSpPr>
            <a:spLocks noChangeShapeType="1"/>
          </p:cNvSpPr>
          <p:nvPr/>
        </p:nvSpPr>
        <p:spPr bwMode="auto">
          <a:xfrm flipV="1">
            <a:off x="1672281" y="3504010"/>
            <a:ext cx="1714500" cy="0"/>
          </a:xfrm>
          <a:prstGeom prst="line">
            <a:avLst/>
          </a:prstGeom>
          <a:noFill/>
          <a:ln w="57150">
            <a:solidFill>
              <a:schemeClr val="tx2"/>
            </a:solidFill>
            <a:round/>
            <a:headEnd type="triangle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pt-BR" sz="1350"/>
          </a:p>
        </p:txBody>
      </p:sp>
      <p:sp>
        <p:nvSpPr>
          <p:cNvPr id="15" name="Text Box 36"/>
          <p:cNvSpPr txBox="1">
            <a:spLocks noChangeArrowheads="1"/>
          </p:cNvSpPr>
          <p:nvPr/>
        </p:nvSpPr>
        <p:spPr bwMode="auto">
          <a:xfrm>
            <a:off x="1800869" y="3499247"/>
            <a:ext cx="1503363" cy="300082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>
            <a:spAutoFit/>
          </a:bodyPr>
          <a:lstStyle/>
          <a:p>
            <a:pPr algn="ctr">
              <a:spcBef>
                <a:spcPct val="50000"/>
              </a:spcBef>
              <a:defRPr/>
            </a:pPr>
            <a:r>
              <a:rPr lang="pt-BR" sz="1350">
                <a:solidFill>
                  <a:schemeClr val="tx2"/>
                </a:solidFill>
                <a:latin typeface="Arial" pitchFamily="34" charset="0"/>
              </a:rPr>
              <a:t>Entrega Insumos</a:t>
            </a:r>
            <a:endParaRPr lang="pt-BR" sz="1350" b="1">
              <a:solidFill>
                <a:schemeClr val="tx2"/>
              </a:solidFill>
              <a:effectLst>
                <a:outerShdw blurRad="38100" dist="38100" dir="2700000" algn="tl">
                  <a:srgbClr val="C0C0C0"/>
                </a:outerShdw>
              </a:effectLst>
              <a:latin typeface="Arial" pitchFamily="34" charset="0"/>
            </a:endParaRPr>
          </a:p>
        </p:txBody>
      </p:sp>
      <p:sp>
        <p:nvSpPr>
          <p:cNvPr id="228368" name="AutoShape 40"/>
          <p:cNvSpPr>
            <a:spLocks noChangeArrowheads="1"/>
          </p:cNvSpPr>
          <p:nvPr/>
        </p:nvSpPr>
        <p:spPr bwMode="auto">
          <a:xfrm rot="16200000" flipH="1">
            <a:off x="4020301" y="3030539"/>
            <a:ext cx="1795463" cy="720725"/>
          </a:xfrm>
          <a:prstGeom prst="roundRect">
            <a:avLst>
              <a:gd name="adj" fmla="val 16667"/>
            </a:avLst>
          </a:prstGeom>
          <a:solidFill>
            <a:srgbClr val="0000FF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endParaRPr lang="pt-BR" sz="1350">
              <a:solidFill>
                <a:schemeClr val="bg1"/>
              </a:solidFill>
            </a:endParaRPr>
          </a:p>
        </p:txBody>
      </p:sp>
      <p:sp>
        <p:nvSpPr>
          <p:cNvPr id="228369" name="Text Box 41"/>
          <p:cNvSpPr txBox="1">
            <a:spLocks noChangeArrowheads="1"/>
          </p:cNvSpPr>
          <p:nvPr/>
        </p:nvSpPr>
        <p:spPr bwMode="auto">
          <a:xfrm rot="16200000" flipH="1">
            <a:off x="3968966" y="3249698"/>
            <a:ext cx="1907655" cy="3231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9pPr>
          </a:lstStyle>
          <a:p>
            <a:pPr algn="ctr" eaLnBrk="0" hangingPunct="0">
              <a:spcBef>
                <a:spcPct val="50000"/>
              </a:spcBef>
            </a:pPr>
            <a:r>
              <a:rPr lang="pt-BR" sz="1500" b="1" dirty="0">
                <a:solidFill>
                  <a:schemeClr val="bg1"/>
                </a:solidFill>
                <a:latin typeface="Arial" pitchFamily="34" charset="0"/>
              </a:rPr>
              <a:t>SECURITIZADORA</a:t>
            </a:r>
          </a:p>
        </p:txBody>
      </p:sp>
      <p:sp>
        <p:nvSpPr>
          <p:cNvPr id="18" name="AutoShape 2"/>
          <p:cNvSpPr>
            <a:spLocks noChangeArrowheads="1"/>
          </p:cNvSpPr>
          <p:nvPr/>
        </p:nvSpPr>
        <p:spPr bwMode="auto">
          <a:xfrm rot="16200000" flipH="1">
            <a:off x="7394477" y="3035302"/>
            <a:ext cx="1795463" cy="720725"/>
          </a:xfrm>
          <a:prstGeom prst="roundRect">
            <a:avLst>
              <a:gd name="adj" fmla="val 16667"/>
            </a:avLst>
          </a:prstGeom>
          <a:solidFill>
            <a:srgbClr val="0000FF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endParaRPr lang="pt-BR" sz="1350">
              <a:solidFill>
                <a:schemeClr val="bg1"/>
              </a:solidFill>
            </a:endParaRPr>
          </a:p>
        </p:txBody>
      </p:sp>
      <p:sp>
        <p:nvSpPr>
          <p:cNvPr id="20" name="Text Box 4"/>
          <p:cNvSpPr txBox="1">
            <a:spLocks noChangeArrowheads="1"/>
          </p:cNvSpPr>
          <p:nvPr/>
        </p:nvSpPr>
        <p:spPr bwMode="auto">
          <a:xfrm rot="16200000" flipH="1">
            <a:off x="4598150" y="3228953"/>
            <a:ext cx="1762125" cy="30008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9pPr>
          </a:lstStyle>
          <a:p>
            <a:pPr algn="ctr" eaLnBrk="0" hangingPunct="0">
              <a:spcBef>
                <a:spcPct val="50000"/>
              </a:spcBef>
            </a:pPr>
            <a:r>
              <a:rPr lang="pt-BR" sz="1350" b="1">
                <a:solidFill>
                  <a:schemeClr val="tx2"/>
                </a:solidFill>
                <a:latin typeface="Arial" pitchFamily="34" charset="0"/>
              </a:rPr>
              <a:t>Lastro Recebível</a:t>
            </a:r>
          </a:p>
        </p:txBody>
      </p:sp>
      <p:grpSp>
        <p:nvGrpSpPr>
          <p:cNvPr id="22" name="Group 15"/>
          <p:cNvGrpSpPr>
            <a:grpSpLocks/>
          </p:cNvGrpSpPr>
          <p:nvPr/>
        </p:nvGrpSpPr>
        <p:grpSpPr bwMode="auto">
          <a:xfrm>
            <a:off x="5967525" y="3131966"/>
            <a:ext cx="1569124" cy="567928"/>
            <a:chOff x="975" y="680"/>
            <a:chExt cx="1361" cy="477"/>
          </a:xfrm>
        </p:grpSpPr>
        <p:sp>
          <p:nvSpPr>
            <p:cNvPr id="228374" name="AutoShape 16"/>
            <p:cNvSpPr>
              <a:spLocks noChangeArrowheads="1"/>
            </p:cNvSpPr>
            <p:nvPr/>
          </p:nvSpPr>
          <p:spPr bwMode="auto">
            <a:xfrm>
              <a:off x="975" y="680"/>
              <a:ext cx="1361" cy="454"/>
            </a:xfrm>
            <a:prstGeom prst="roundRect">
              <a:avLst>
                <a:gd name="adj" fmla="val 16667"/>
              </a:avLst>
            </a:prstGeom>
            <a:solidFill>
              <a:srgbClr val="0000FF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pt-BR" sz="1350">
                <a:solidFill>
                  <a:schemeClr val="bg1"/>
                </a:solidFill>
              </a:endParaRPr>
            </a:p>
          </p:txBody>
        </p:sp>
        <p:sp>
          <p:nvSpPr>
            <p:cNvPr id="24" name="Text Box 17"/>
            <p:cNvSpPr txBox="1">
              <a:spLocks noChangeArrowheads="1"/>
            </p:cNvSpPr>
            <p:nvPr/>
          </p:nvSpPr>
          <p:spPr bwMode="auto">
            <a:xfrm>
              <a:off x="1066" y="692"/>
              <a:ext cx="1134" cy="465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>
              <a:spAutoFit/>
            </a:bodyPr>
            <a:lstStyle>
              <a:lvl1pPr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1pPr>
              <a:lvl2pPr marL="2343150" indent="-714375"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2pPr>
              <a:lvl3pPr marL="4229100" indent="-828675"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3pPr>
              <a:lvl4pPr marL="4408488"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4pPr>
              <a:lvl5pPr marL="4587875"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5pPr>
              <a:lvl6pPr marL="5045075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6pPr>
              <a:lvl7pPr marL="5502275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7pPr>
              <a:lvl8pPr marL="5959475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8pPr>
              <a:lvl9pPr marL="6416675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9pPr>
            </a:lstStyle>
            <a:p>
              <a:pPr algn="ctr" eaLnBrk="0" hangingPunct="0">
                <a:spcBef>
                  <a:spcPct val="50000"/>
                </a:spcBef>
                <a:defRPr/>
              </a:pPr>
              <a:r>
                <a:rPr lang="pt-BR" sz="1500" dirty="0">
                  <a:solidFill>
                    <a:schemeClr val="bg1"/>
                  </a:solidFill>
                  <a:latin typeface="Arial" pitchFamily="34" charset="0"/>
                </a:rPr>
                <a:t>EMISSÃO DE </a:t>
              </a:r>
              <a:r>
                <a:rPr lang="pt-BR" sz="1500" b="1" dirty="0">
                  <a:solidFill>
                    <a:schemeClr val="bg1"/>
                  </a:solidFill>
                  <a:effectLst>
                    <a:outerShdw blurRad="38100" dist="38100" dir="2700000" algn="tl">
                      <a:srgbClr val="C0C0C0"/>
                    </a:outerShdw>
                  </a:effectLst>
                  <a:latin typeface="Arial" pitchFamily="34" charset="0"/>
                </a:rPr>
                <a:t>CRA</a:t>
              </a:r>
            </a:p>
          </p:txBody>
        </p:sp>
      </p:grpSp>
      <p:sp>
        <p:nvSpPr>
          <p:cNvPr id="25" name="Text Box 18"/>
          <p:cNvSpPr txBox="1">
            <a:spLocks noChangeArrowheads="1"/>
          </p:cNvSpPr>
          <p:nvPr/>
        </p:nvSpPr>
        <p:spPr bwMode="auto">
          <a:xfrm rot="-5400000">
            <a:off x="7577163" y="3259209"/>
            <a:ext cx="1423739" cy="3231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266700" indent="-266700"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9pPr>
          </a:lstStyle>
          <a:p>
            <a:pPr algn="ctr" eaLnBrk="0" hangingPunct="0">
              <a:spcBef>
                <a:spcPct val="50000"/>
              </a:spcBef>
            </a:pPr>
            <a:r>
              <a:rPr lang="pt-BR" sz="1500" b="1" dirty="0">
                <a:solidFill>
                  <a:schemeClr val="bg1"/>
                </a:solidFill>
                <a:latin typeface="Arial" pitchFamily="34" charset="0"/>
              </a:rPr>
              <a:t>INVESTIDOR</a:t>
            </a:r>
          </a:p>
        </p:txBody>
      </p:sp>
    </p:spTree>
    <p:extLst>
      <p:ext uri="{BB962C8B-B14F-4D97-AF65-F5344CB8AC3E}">
        <p14:creationId xmlns:p14="http://schemas.microsoft.com/office/powerpoint/2010/main" val="29783878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 nodeType="clickPar">
                      <p:stCondLst>
                        <p:cond delay="indefinite"/>
                      </p:stCondLst>
                      <p:childTnLst>
                        <p:par>
                          <p:cTn id="17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8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0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3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 nodeType="afterGroup">
                            <p:stCondLst>
                              <p:cond delay="500"/>
                            </p:stCondLst>
                            <p:childTnLst>
                              <p:par>
                                <p:cTn id="25" presetID="6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27" dur="20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30" dur="20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1" grpId="0" animBg="1"/>
      <p:bldP spid="26" grpId="0" animBg="1"/>
      <p:bldP spid="19" grpId="0" animBg="1"/>
      <p:bldP spid="18" grpId="0" animBg="1"/>
      <p:bldP spid="20" grpId="0"/>
      <p:bldP spid="25" grpId="0"/>
    </p:bldLst>
  </p:timing>
</p:sld>
</file>

<file path=ppt/slides/slide8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7922" name="Rectangle 2"/>
          <p:cNvSpPr>
            <a:spLocks noChangeArrowheads="1"/>
          </p:cNvSpPr>
          <p:nvPr/>
        </p:nvSpPr>
        <p:spPr bwMode="auto">
          <a:xfrm>
            <a:off x="0" y="897733"/>
            <a:ext cx="9144000" cy="69532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anchor="ctr"/>
          <a:lstStyle/>
          <a:p>
            <a:pPr algn="ctr">
              <a:defRPr/>
            </a:pPr>
            <a:r>
              <a:rPr lang="en-US" sz="2700" b="1">
                <a:solidFill>
                  <a:schemeClr val="tx2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Tahoma" pitchFamily="34" charset="0"/>
              </a:rPr>
              <a:t>CRA</a:t>
            </a:r>
          </a:p>
        </p:txBody>
      </p:sp>
      <p:graphicFrame>
        <p:nvGraphicFramePr>
          <p:cNvPr id="977933" name="Group 13"/>
          <p:cNvGraphicFramePr>
            <a:graphicFrameLocks noGrp="1"/>
          </p:cNvGraphicFramePr>
          <p:nvPr>
            <p:ph sz="quarter" idx="13"/>
            <p:extLst/>
          </p:nvPr>
        </p:nvGraphicFramePr>
        <p:xfrm>
          <a:off x="683570" y="1218102"/>
          <a:ext cx="7777163" cy="968760"/>
        </p:xfrm>
        <a:graphic>
          <a:graphicData uri="http://schemas.openxmlformats.org/drawingml/2006/table">
            <a:tbl>
              <a:tblPr/>
              <a:tblGrid>
                <a:gridCol w="7777163"/>
              </a:tblGrid>
              <a:tr h="968760">
                <a:tc>
                  <a:txBody>
                    <a:bodyPr/>
                    <a:lstStyle/>
                    <a:p>
                      <a:pPr marL="342900" marR="0" lvl="0" indent="-34290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5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15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pitchFamily="34" charset="0"/>
                          <a:cs typeface="Times New Roman" pitchFamily="18" charset="0"/>
                        </a:rPr>
                        <a:t>Emissões de CRA – Montante em R$ milhões</a:t>
                      </a:r>
                    </a:p>
                  </a:txBody>
                  <a:tcPr marL="91496" marR="91496" marT="34305" marB="34305" anchor="ctr" horzOverflow="overflow">
                    <a:lnL cap="flat">
                      <a:noFill/>
                    </a:lnL>
                    <a:lnR cap="flat"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graphicFrame>
        <p:nvGraphicFramePr>
          <p:cNvPr id="4" name="Gráfico 3"/>
          <p:cNvGraphicFramePr/>
          <p:nvPr>
            <p:extLst>
              <p:ext uri="{D42A27DB-BD31-4B8C-83A1-F6EECF244321}">
                <p14:modId xmlns:p14="http://schemas.microsoft.com/office/powerpoint/2010/main" val="955935736"/>
              </p:ext>
            </p:extLst>
          </p:nvPr>
        </p:nvGraphicFramePr>
        <p:xfrm>
          <a:off x="179512" y="1905000"/>
          <a:ext cx="8640960" cy="41882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5" name="CaixaDeTexto 4"/>
          <p:cNvSpPr txBox="1"/>
          <p:nvPr/>
        </p:nvSpPr>
        <p:spPr>
          <a:xfrm>
            <a:off x="467544" y="6381328"/>
            <a:ext cx="2448272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050" dirty="0">
                <a:solidFill>
                  <a:schemeClr val="bg1">
                    <a:lumMod val="65000"/>
                  </a:schemeClr>
                </a:solidFill>
              </a:rPr>
              <a:t>Fonte: AMBIMA (2017)</a:t>
            </a:r>
          </a:p>
        </p:txBody>
      </p:sp>
    </p:spTree>
    <p:extLst>
      <p:ext uri="{BB962C8B-B14F-4D97-AF65-F5344CB8AC3E}">
        <p14:creationId xmlns:p14="http://schemas.microsoft.com/office/powerpoint/2010/main" val="37421266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chart seriesIdx="-3" categoryIdx="-3" bldStep="gridLegend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4">
                                            <p:graphicEl>
                                              <a:chart seriesIdx="-3" categoryIdx="-3" bldStep="gridLegend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chart seriesIdx="0" categoryIdx="0" bldStep="ptIn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2" dur="500"/>
                                        <p:tgtEl>
                                          <p:spTgt spid="4">
                                            <p:graphicEl>
                                              <a:chart seriesIdx="0" categoryIdx="0" bldStep="ptIn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chart seriesIdx="0" categoryIdx="1" bldStep="ptIn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7" dur="500"/>
                                        <p:tgtEl>
                                          <p:spTgt spid="4">
                                            <p:graphicEl>
                                              <a:chart seriesIdx="0" categoryIdx="1" bldStep="ptIn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chart seriesIdx="0" categoryIdx="2" bldStep="ptIn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2" dur="500"/>
                                        <p:tgtEl>
                                          <p:spTgt spid="4">
                                            <p:graphicEl>
                                              <a:chart seriesIdx="0" categoryIdx="2" bldStep="ptIn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chart seriesIdx="0" categoryIdx="3" bldStep="ptIn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7" dur="500"/>
                                        <p:tgtEl>
                                          <p:spTgt spid="4">
                                            <p:graphicEl>
                                              <a:chart seriesIdx="0" categoryIdx="3" bldStep="ptIn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chart seriesIdx="0" categoryIdx="4" bldStep="ptIn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2" dur="500"/>
                                        <p:tgtEl>
                                          <p:spTgt spid="4">
                                            <p:graphicEl>
                                              <a:chart seriesIdx="0" categoryIdx="4" bldStep="ptIn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chart seriesIdx="0" categoryIdx="5" bldStep="ptIn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7" dur="500"/>
                                        <p:tgtEl>
                                          <p:spTgt spid="4">
                                            <p:graphicEl>
                                              <a:chart seriesIdx="0" categoryIdx="5" bldStep="ptIn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8" fill="hold">
                      <p:stCondLst>
                        <p:cond delay="indefinite"/>
                      </p:stCondLst>
                      <p:childTnLst>
                        <p:par>
                          <p:cTn id="39" fill="hold">
                            <p:stCondLst>
                              <p:cond delay="0"/>
                            </p:stCondLst>
                            <p:childTnLst>
                              <p:par>
                                <p:cTn id="40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chart seriesIdx="0" categoryIdx="6" bldStep="ptIn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2" dur="500"/>
                                        <p:tgtEl>
                                          <p:spTgt spid="4">
                                            <p:graphicEl>
                                              <a:chart seriesIdx="0" categoryIdx="6" bldStep="ptIn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chart seriesIdx="0" categoryIdx="7" bldStep="ptIn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7" dur="500"/>
                                        <p:tgtEl>
                                          <p:spTgt spid="4">
                                            <p:graphicEl>
                                              <a:chart seriesIdx="0" categoryIdx="7" bldStep="ptIn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4" grpId="0">
        <p:bldSub>
          <a:bldChart bld="categoryEl"/>
        </p:bldSub>
      </p:bldGraphic>
    </p:bldLst>
  </p:timing>
</p:sld>
</file>

<file path=ppt/slides/slide8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7922" name="Rectangle 2"/>
          <p:cNvSpPr>
            <a:spLocks noChangeArrowheads="1"/>
          </p:cNvSpPr>
          <p:nvPr/>
        </p:nvSpPr>
        <p:spPr bwMode="auto">
          <a:xfrm>
            <a:off x="0" y="897733"/>
            <a:ext cx="9144000" cy="69532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anchor="ctr"/>
          <a:lstStyle/>
          <a:p>
            <a:pPr algn="ctr">
              <a:defRPr/>
            </a:pPr>
            <a:r>
              <a:rPr lang="en-US" sz="2700" b="1" dirty="0">
                <a:solidFill>
                  <a:schemeClr val="tx2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Tahoma" pitchFamily="34" charset="0"/>
              </a:rPr>
              <a:t>CRA</a:t>
            </a:r>
          </a:p>
        </p:txBody>
      </p:sp>
      <p:sp>
        <p:nvSpPr>
          <p:cNvPr id="5" name="CaixaDeTexto 4"/>
          <p:cNvSpPr txBox="1"/>
          <p:nvPr/>
        </p:nvSpPr>
        <p:spPr>
          <a:xfrm>
            <a:off x="178892" y="6381328"/>
            <a:ext cx="1728192" cy="253916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r>
              <a:rPr lang="pt-BR" sz="1050" dirty="0">
                <a:solidFill>
                  <a:schemeClr val="bg1">
                    <a:lumMod val="50000"/>
                  </a:schemeClr>
                </a:solidFill>
              </a:rPr>
              <a:t>Fonte: CETIP (2017)</a:t>
            </a:r>
          </a:p>
        </p:txBody>
      </p:sp>
      <p:sp>
        <p:nvSpPr>
          <p:cNvPr id="2" name="CaixaDeTexto 1"/>
          <p:cNvSpPr txBox="1"/>
          <p:nvPr/>
        </p:nvSpPr>
        <p:spPr>
          <a:xfrm>
            <a:off x="7572334" y="1763525"/>
            <a:ext cx="153617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pt-BR" dirty="0"/>
              <a:t>R$ 17,6 bi</a:t>
            </a:r>
          </a:p>
        </p:txBody>
      </p:sp>
      <p:sp>
        <p:nvSpPr>
          <p:cNvPr id="3" name="CaixaDeTexto 2"/>
          <p:cNvSpPr txBox="1"/>
          <p:nvPr/>
        </p:nvSpPr>
        <p:spPr>
          <a:xfrm>
            <a:off x="1358503" y="1457781"/>
            <a:ext cx="761523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dirty="0"/>
              <a:t>Estoque de CRA na CETIP, em R$ Bilhões, de 24/12/2008 a 3/2/2017</a:t>
            </a:r>
          </a:p>
        </p:txBody>
      </p:sp>
      <p:graphicFrame>
        <p:nvGraphicFramePr>
          <p:cNvPr id="8" name="Gráfico 7"/>
          <p:cNvGraphicFramePr/>
          <p:nvPr>
            <p:extLst>
              <p:ext uri="{D42A27DB-BD31-4B8C-83A1-F6EECF244321}">
                <p14:modId xmlns:p14="http://schemas.microsoft.com/office/powerpoint/2010/main" val="4149890494"/>
              </p:ext>
            </p:extLst>
          </p:nvPr>
        </p:nvGraphicFramePr>
        <p:xfrm>
          <a:off x="179511" y="1556793"/>
          <a:ext cx="8740479" cy="460851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13363119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8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7922" name="Rectangle 2"/>
          <p:cNvSpPr>
            <a:spLocks noChangeArrowheads="1"/>
          </p:cNvSpPr>
          <p:nvPr/>
        </p:nvSpPr>
        <p:spPr bwMode="auto">
          <a:xfrm>
            <a:off x="0" y="897733"/>
            <a:ext cx="9144000" cy="69532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anchor="ctr"/>
          <a:lstStyle/>
          <a:p>
            <a:pPr algn="ctr">
              <a:defRPr/>
            </a:pPr>
            <a:r>
              <a:rPr lang="en-US" sz="2700" b="1" dirty="0">
                <a:solidFill>
                  <a:schemeClr val="tx2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Tahoma" pitchFamily="34" charset="0"/>
              </a:rPr>
              <a:t>CRI e CRA</a:t>
            </a:r>
          </a:p>
        </p:txBody>
      </p:sp>
      <p:sp>
        <p:nvSpPr>
          <p:cNvPr id="5" name="CaixaDeTexto 4"/>
          <p:cNvSpPr txBox="1"/>
          <p:nvPr/>
        </p:nvSpPr>
        <p:spPr>
          <a:xfrm>
            <a:off x="395536" y="6381328"/>
            <a:ext cx="1728192" cy="253916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r>
              <a:rPr lang="pt-BR" sz="1050" dirty="0">
                <a:solidFill>
                  <a:schemeClr val="bg1">
                    <a:lumMod val="50000"/>
                  </a:schemeClr>
                </a:solidFill>
              </a:rPr>
              <a:t>Fonte: CETIP (2017)</a:t>
            </a:r>
          </a:p>
        </p:txBody>
      </p:sp>
      <p:sp>
        <p:nvSpPr>
          <p:cNvPr id="2" name="CaixaDeTexto 1"/>
          <p:cNvSpPr txBox="1"/>
          <p:nvPr/>
        </p:nvSpPr>
        <p:spPr>
          <a:xfrm>
            <a:off x="7488324" y="1835823"/>
            <a:ext cx="153617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pt-BR" dirty="0">
                <a:solidFill>
                  <a:srgbClr val="7030A0"/>
                </a:solidFill>
              </a:rPr>
              <a:t>R$ 73,0 bi</a:t>
            </a:r>
          </a:p>
        </p:txBody>
      </p:sp>
      <p:sp>
        <p:nvSpPr>
          <p:cNvPr id="3" name="CaixaDeTexto 2"/>
          <p:cNvSpPr txBox="1"/>
          <p:nvPr/>
        </p:nvSpPr>
        <p:spPr>
          <a:xfrm>
            <a:off x="1358503" y="1475492"/>
            <a:ext cx="761523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dirty="0"/>
              <a:t>Estoque de CRI e de CRA na CETIP, em R$ Bilhões, de 3/1/2000 a 3/2/2017</a:t>
            </a:r>
          </a:p>
        </p:txBody>
      </p:sp>
      <p:graphicFrame>
        <p:nvGraphicFramePr>
          <p:cNvPr id="8" name="Gráfico 7"/>
          <p:cNvGraphicFramePr/>
          <p:nvPr>
            <p:extLst>
              <p:ext uri="{D42A27DB-BD31-4B8C-83A1-F6EECF244321}">
                <p14:modId xmlns:p14="http://schemas.microsoft.com/office/powerpoint/2010/main" val="3504348073"/>
              </p:ext>
            </p:extLst>
          </p:nvPr>
        </p:nvGraphicFramePr>
        <p:xfrm>
          <a:off x="179512" y="1628800"/>
          <a:ext cx="8655143" cy="482453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7" name="CaixaDeTexto 6"/>
          <p:cNvSpPr txBox="1"/>
          <p:nvPr/>
        </p:nvSpPr>
        <p:spPr>
          <a:xfrm>
            <a:off x="7563374" y="3735164"/>
            <a:ext cx="153617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pt-BR" dirty="0">
                <a:solidFill>
                  <a:schemeClr val="bg1"/>
                </a:solidFill>
              </a:rPr>
              <a:t>R$ 17,6 bi</a:t>
            </a:r>
          </a:p>
        </p:txBody>
      </p:sp>
    </p:spTree>
    <p:extLst>
      <p:ext uri="{BB962C8B-B14F-4D97-AF65-F5344CB8AC3E}">
        <p14:creationId xmlns:p14="http://schemas.microsoft.com/office/powerpoint/2010/main" val="6797613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graphicEl>
                                              <a:chart seriesIdx="-3" categoryIdx="-3" bldStep="gridLegend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8">
                                            <p:graphicEl>
                                              <a:chart seriesIdx="-3" categoryIdx="-3" bldStep="gridLegend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graphicEl>
                                              <a:chart seriesIdx="0" categoryIdx="-4" bldStep="series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2" dur="500"/>
                                        <p:tgtEl>
                                          <p:spTgt spid="8">
                                            <p:graphicEl>
                                              <a:chart seriesIdx="0" categoryIdx="-4" bldStep="series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500"/>
                            </p:stCondLst>
                            <p:childTnLst>
                              <p:par>
                                <p:cTn id="14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graphicEl>
                                              <a:chart seriesIdx="1" categoryIdx="-4" bldStep="series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1" dur="500"/>
                                        <p:tgtEl>
                                          <p:spTgt spid="8">
                                            <p:graphicEl>
                                              <a:chart seriesIdx="1" categoryIdx="-4" bldStep="series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500"/>
                            </p:stCondLst>
                            <p:childTnLst>
                              <p:par>
                                <p:cTn id="2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Graphic spid="8" grpId="0">
        <p:bldSub>
          <a:bldChart bld="series"/>
        </p:bldSub>
      </p:bldGraphic>
      <p:bldP spid="7" grpId="0"/>
    </p:bldLst>
  </p:timing>
</p:sld>
</file>

<file path=ppt/slides/slide8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7922" name="Rectangle 2"/>
          <p:cNvSpPr>
            <a:spLocks noChangeArrowheads="1"/>
          </p:cNvSpPr>
          <p:nvPr/>
        </p:nvSpPr>
        <p:spPr bwMode="auto">
          <a:xfrm>
            <a:off x="0" y="897733"/>
            <a:ext cx="9144000" cy="69532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anchor="ctr"/>
          <a:lstStyle/>
          <a:p>
            <a:pPr algn="ctr">
              <a:defRPr/>
            </a:pPr>
            <a:r>
              <a:rPr lang="en-US" sz="2700" b="1">
                <a:solidFill>
                  <a:schemeClr val="tx2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Tahoma" pitchFamily="34" charset="0"/>
              </a:rPr>
              <a:t>CRA</a:t>
            </a:r>
          </a:p>
        </p:txBody>
      </p:sp>
      <p:graphicFrame>
        <p:nvGraphicFramePr>
          <p:cNvPr id="977933" name="Group 13"/>
          <p:cNvGraphicFramePr>
            <a:graphicFrameLocks noGrp="1"/>
          </p:cNvGraphicFramePr>
          <p:nvPr>
            <p:ph sz="quarter" idx="13"/>
            <p:extLst/>
          </p:nvPr>
        </p:nvGraphicFramePr>
        <p:xfrm>
          <a:off x="683420" y="1538790"/>
          <a:ext cx="7777163" cy="640110"/>
        </p:xfrm>
        <a:graphic>
          <a:graphicData uri="http://schemas.openxmlformats.org/drawingml/2006/table">
            <a:tbl>
              <a:tblPr/>
              <a:tblGrid>
                <a:gridCol w="7777163"/>
              </a:tblGrid>
              <a:tr h="640110">
                <a:tc>
                  <a:txBody>
                    <a:bodyPr/>
                    <a:lstStyle/>
                    <a:p>
                      <a:pPr marL="342900" marR="0" lvl="0" indent="-34290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5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15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pitchFamily="34" charset="0"/>
                          <a:cs typeface="Times New Roman" pitchFamily="18" charset="0"/>
                        </a:rPr>
                        <a:t>CRA - Certificado de Recebíveis do Agronegócio</a:t>
                      </a:r>
                    </a:p>
                    <a:p>
                      <a:pPr marL="342900" marR="0" lvl="0" indent="-34290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5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15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pitchFamily="34" charset="0"/>
                          <a:cs typeface="Times New Roman" pitchFamily="18" charset="0"/>
                        </a:rPr>
                        <a:t>Composição das Emissões em 2013</a:t>
                      </a:r>
                    </a:p>
                  </a:txBody>
                  <a:tcPr marL="91496" marR="91496" marT="34305" marB="34305" anchor="ctr" horzOverflow="overflow">
                    <a:lnL cap="flat">
                      <a:noFill/>
                    </a:lnL>
                    <a:lnR cap="flat"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graphicFrame>
        <p:nvGraphicFramePr>
          <p:cNvPr id="2" name="Object 7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798966197"/>
              </p:ext>
            </p:extLst>
          </p:nvPr>
        </p:nvGraphicFramePr>
        <p:xfrm>
          <a:off x="251520" y="2052639"/>
          <a:ext cx="8722222" cy="447838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7" name="CaixaDeTexto 6"/>
          <p:cNvSpPr txBox="1"/>
          <p:nvPr/>
        </p:nvSpPr>
        <p:spPr>
          <a:xfrm>
            <a:off x="323528" y="6381328"/>
            <a:ext cx="2448272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050" dirty="0">
                <a:solidFill>
                  <a:schemeClr val="bg1">
                    <a:lumMod val="65000"/>
                  </a:schemeClr>
                </a:solidFill>
              </a:rPr>
              <a:t>Fonte: UQBAR (2014)</a:t>
            </a:r>
          </a:p>
        </p:txBody>
      </p:sp>
    </p:spTree>
    <p:extLst>
      <p:ext uri="{BB962C8B-B14F-4D97-AF65-F5344CB8AC3E}">
        <p14:creationId xmlns:p14="http://schemas.microsoft.com/office/powerpoint/2010/main" val="13829249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8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7922" name="Rectangle 2"/>
          <p:cNvSpPr>
            <a:spLocks noChangeArrowheads="1"/>
          </p:cNvSpPr>
          <p:nvPr/>
        </p:nvSpPr>
        <p:spPr bwMode="auto">
          <a:xfrm>
            <a:off x="0" y="897733"/>
            <a:ext cx="9144000" cy="69532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anchor="ctr"/>
          <a:lstStyle/>
          <a:p>
            <a:pPr algn="ctr">
              <a:defRPr/>
            </a:pPr>
            <a:r>
              <a:rPr lang="en-US" sz="2700" b="1">
                <a:solidFill>
                  <a:schemeClr val="tx2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Tahoma" pitchFamily="34" charset="0"/>
              </a:rPr>
              <a:t>CRA</a:t>
            </a:r>
          </a:p>
        </p:txBody>
      </p:sp>
      <p:graphicFrame>
        <p:nvGraphicFramePr>
          <p:cNvPr id="977933" name="Group 13"/>
          <p:cNvGraphicFramePr>
            <a:graphicFrameLocks noGrp="1"/>
          </p:cNvGraphicFramePr>
          <p:nvPr>
            <p:ph sz="quarter" idx="13"/>
            <p:extLst/>
          </p:nvPr>
        </p:nvGraphicFramePr>
        <p:xfrm>
          <a:off x="683420" y="1538790"/>
          <a:ext cx="7777163" cy="640110"/>
        </p:xfrm>
        <a:graphic>
          <a:graphicData uri="http://schemas.openxmlformats.org/drawingml/2006/table">
            <a:tbl>
              <a:tblPr/>
              <a:tblGrid>
                <a:gridCol w="7777163"/>
              </a:tblGrid>
              <a:tr h="640110">
                <a:tc>
                  <a:txBody>
                    <a:bodyPr/>
                    <a:lstStyle/>
                    <a:p>
                      <a:pPr marL="342900" marR="0" lvl="0" indent="-34290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5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15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pitchFamily="34" charset="0"/>
                          <a:cs typeface="Times New Roman" pitchFamily="18" charset="0"/>
                        </a:rPr>
                        <a:t>CRA - Certificado de Recebíveis do Agronegócio</a:t>
                      </a:r>
                    </a:p>
                    <a:p>
                      <a:pPr marL="342900" marR="0" lvl="0" indent="-34290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5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15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pitchFamily="34" charset="0"/>
                          <a:cs typeface="Times New Roman" pitchFamily="18" charset="0"/>
                        </a:rPr>
                        <a:t>Composição das Emissões em 2014</a:t>
                      </a:r>
                    </a:p>
                  </a:txBody>
                  <a:tcPr marL="91496" marR="91496" marT="34305" marB="34305" anchor="ctr" horzOverflow="overflow">
                    <a:lnL cap="flat">
                      <a:noFill/>
                    </a:lnL>
                    <a:lnR cap="flat"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graphicFrame>
        <p:nvGraphicFramePr>
          <p:cNvPr id="2" name="Object 7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039381126"/>
              </p:ext>
            </p:extLst>
          </p:nvPr>
        </p:nvGraphicFramePr>
        <p:xfrm>
          <a:off x="179512" y="2052639"/>
          <a:ext cx="8794230" cy="454769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7" name="CaixaDeTexto 6"/>
          <p:cNvSpPr txBox="1"/>
          <p:nvPr/>
        </p:nvSpPr>
        <p:spPr>
          <a:xfrm>
            <a:off x="467544" y="6381328"/>
            <a:ext cx="2448272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050" dirty="0">
                <a:solidFill>
                  <a:schemeClr val="bg1">
                    <a:lumMod val="65000"/>
                  </a:schemeClr>
                </a:solidFill>
              </a:rPr>
              <a:t>Fonte: UQBAR (2015)</a:t>
            </a:r>
          </a:p>
        </p:txBody>
      </p:sp>
    </p:spTree>
    <p:extLst>
      <p:ext uri="{BB962C8B-B14F-4D97-AF65-F5344CB8AC3E}">
        <p14:creationId xmlns:p14="http://schemas.microsoft.com/office/powerpoint/2010/main" val="28209410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8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7922" name="Rectangle 2"/>
          <p:cNvSpPr>
            <a:spLocks noChangeArrowheads="1"/>
          </p:cNvSpPr>
          <p:nvPr/>
        </p:nvSpPr>
        <p:spPr bwMode="auto">
          <a:xfrm>
            <a:off x="0" y="897733"/>
            <a:ext cx="9144000" cy="69532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anchor="ctr"/>
          <a:lstStyle/>
          <a:p>
            <a:pPr algn="ctr">
              <a:defRPr/>
            </a:pPr>
            <a:r>
              <a:rPr lang="en-US" sz="2700" b="1">
                <a:solidFill>
                  <a:schemeClr val="tx2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Tahoma" pitchFamily="34" charset="0"/>
              </a:rPr>
              <a:t>CRA</a:t>
            </a:r>
          </a:p>
        </p:txBody>
      </p:sp>
      <p:graphicFrame>
        <p:nvGraphicFramePr>
          <p:cNvPr id="977933" name="Group 13"/>
          <p:cNvGraphicFramePr>
            <a:graphicFrameLocks noGrp="1"/>
          </p:cNvGraphicFramePr>
          <p:nvPr>
            <p:ph sz="quarter" idx="13"/>
            <p:extLst/>
          </p:nvPr>
        </p:nvGraphicFramePr>
        <p:xfrm>
          <a:off x="683420" y="1538790"/>
          <a:ext cx="7777163" cy="640110"/>
        </p:xfrm>
        <a:graphic>
          <a:graphicData uri="http://schemas.openxmlformats.org/drawingml/2006/table">
            <a:tbl>
              <a:tblPr/>
              <a:tblGrid>
                <a:gridCol w="7777163"/>
              </a:tblGrid>
              <a:tr h="640110">
                <a:tc>
                  <a:txBody>
                    <a:bodyPr/>
                    <a:lstStyle/>
                    <a:p>
                      <a:pPr marL="342900" marR="0" lvl="0" indent="-34290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5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15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pitchFamily="34" charset="0"/>
                          <a:cs typeface="Times New Roman" pitchFamily="18" charset="0"/>
                        </a:rPr>
                        <a:t>CRA - Certificado de Recebíveis do Agronegócio</a:t>
                      </a:r>
                    </a:p>
                    <a:p>
                      <a:pPr marL="342900" marR="0" lvl="0" indent="-34290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5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15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pitchFamily="34" charset="0"/>
                          <a:cs typeface="Times New Roman" pitchFamily="18" charset="0"/>
                        </a:rPr>
                        <a:t>Composição das Emissões em 2015</a:t>
                      </a:r>
                    </a:p>
                  </a:txBody>
                  <a:tcPr marL="91496" marR="91496" marT="34305" marB="34305" anchor="ctr" horzOverflow="overflow">
                    <a:lnL cap="flat">
                      <a:noFill/>
                    </a:lnL>
                    <a:lnR cap="flat"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graphicFrame>
        <p:nvGraphicFramePr>
          <p:cNvPr id="2" name="Object 7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618977568"/>
              </p:ext>
            </p:extLst>
          </p:nvPr>
        </p:nvGraphicFramePr>
        <p:xfrm>
          <a:off x="179512" y="2052639"/>
          <a:ext cx="8794230" cy="451536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7" name="CaixaDeTexto 6"/>
          <p:cNvSpPr txBox="1"/>
          <p:nvPr/>
        </p:nvSpPr>
        <p:spPr>
          <a:xfrm>
            <a:off x="395536" y="6381328"/>
            <a:ext cx="2448272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050" dirty="0">
                <a:solidFill>
                  <a:schemeClr val="bg1">
                    <a:lumMod val="65000"/>
                  </a:schemeClr>
                </a:solidFill>
              </a:rPr>
              <a:t>Fonte: UQBAR (2016)</a:t>
            </a:r>
          </a:p>
        </p:txBody>
      </p:sp>
    </p:spTree>
    <p:extLst>
      <p:ext uri="{BB962C8B-B14F-4D97-AF65-F5344CB8AC3E}">
        <p14:creationId xmlns:p14="http://schemas.microsoft.com/office/powerpoint/2010/main" val="4590349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8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7922" name="Rectangle 2"/>
          <p:cNvSpPr>
            <a:spLocks noChangeArrowheads="1"/>
          </p:cNvSpPr>
          <p:nvPr/>
        </p:nvSpPr>
        <p:spPr bwMode="auto">
          <a:xfrm>
            <a:off x="0" y="897733"/>
            <a:ext cx="9144000" cy="69532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anchor="ctr"/>
          <a:lstStyle/>
          <a:p>
            <a:pPr algn="ctr">
              <a:defRPr/>
            </a:pPr>
            <a:r>
              <a:rPr lang="en-US" sz="2700" b="1">
                <a:solidFill>
                  <a:schemeClr val="tx2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Tahoma" pitchFamily="34" charset="0"/>
              </a:rPr>
              <a:t>CRA</a:t>
            </a:r>
          </a:p>
        </p:txBody>
      </p:sp>
      <p:graphicFrame>
        <p:nvGraphicFramePr>
          <p:cNvPr id="977933" name="Group 13"/>
          <p:cNvGraphicFramePr>
            <a:graphicFrameLocks noGrp="1"/>
          </p:cNvGraphicFramePr>
          <p:nvPr>
            <p:ph sz="quarter" idx="13"/>
            <p:extLst/>
          </p:nvPr>
        </p:nvGraphicFramePr>
        <p:xfrm>
          <a:off x="683420" y="1538790"/>
          <a:ext cx="7777163" cy="640110"/>
        </p:xfrm>
        <a:graphic>
          <a:graphicData uri="http://schemas.openxmlformats.org/drawingml/2006/table">
            <a:tbl>
              <a:tblPr/>
              <a:tblGrid>
                <a:gridCol w="7777163"/>
              </a:tblGrid>
              <a:tr h="640110">
                <a:tc>
                  <a:txBody>
                    <a:bodyPr/>
                    <a:lstStyle/>
                    <a:p>
                      <a:pPr marL="342900" marR="0" lvl="0" indent="-34290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5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15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pitchFamily="34" charset="0"/>
                          <a:cs typeface="Times New Roman" pitchFamily="18" charset="0"/>
                        </a:rPr>
                        <a:t>CRA - Certificado de Recebíveis do Agronegócio</a:t>
                      </a:r>
                    </a:p>
                    <a:p>
                      <a:pPr marL="342900" marR="0" lvl="0" indent="-34290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5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15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pitchFamily="34" charset="0"/>
                          <a:cs typeface="Times New Roman" pitchFamily="18" charset="0"/>
                        </a:rPr>
                        <a:t>Composição das Emissões em 2016</a:t>
                      </a:r>
                    </a:p>
                  </a:txBody>
                  <a:tcPr marL="91496" marR="91496" marT="34305" marB="34305" anchor="ctr" horzOverflow="overflow">
                    <a:lnL cap="flat">
                      <a:noFill/>
                    </a:lnL>
                    <a:lnR cap="flat"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graphicFrame>
        <p:nvGraphicFramePr>
          <p:cNvPr id="2" name="Object 7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330591897"/>
              </p:ext>
            </p:extLst>
          </p:nvPr>
        </p:nvGraphicFramePr>
        <p:xfrm>
          <a:off x="179512" y="2052639"/>
          <a:ext cx="8794230" cy="451536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7" name="CaixaDeTexto 6"/>
          <p:cNvSpPr txBox="1"/>
          <p:nvPr/>
        </p:nvSpPr>
        <p:spPr>
          <a:xfrm>
            <a:off x="251520" y="6381328"/>
            <a:ext cx="2448272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050" dirty="0">
                <a:solidFill>
                  <a:schemeClr val="bg1">
                    <a:lumMod val="65000"/>
                  </a:schemeClr>
                </a:solidFill>
              </a:rPr>
              <a:t>Fonte: UQBAR (2016)</a:t>
            </a:r>
          </a:p>
        </p:txBody>
      </p:sp>
    </p:spTree>
    <p:extLst>
      <p:ext uri="{BB962C8B-B14F-4D97-AF65-F5344CB8AC3E}">
        <p14:creationId xmlns:p14="http://schemas.microsoft.com/office/powerpoint/2010/main" val="29534581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8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7922" name="Rectangle 2"/>
          <p:cNvSpPr>
            <a:spLocks noChangeArrowheads="1"/>
          </p:cNvSpPr>
          <p:nvPr/>
        </p:nvSpPr>
        <p:spPr bwMode="auto">
          <a:xfrm>
            <a:off x="1196625" y="897733"/>
            <a:ext cx="7947375" cy="69532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anchor="ctr"/>
          <a:lstStyle/>
          <a:p>
            <a:pPr algn="ctr">
              <a:defRPr/>
            </a:pPr>
            <a:r>
              <a:rPr lang="en-US" sz="2700" b="1" dirty="0">
                <a:solidFill>
                  <a:schemeClr val="tx2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Tahoma" pitchFamily="34" charset="0"/>
              </a:rPr>
              <a:t>CRA</a:t>
            </a:r>
          </a:p>
        </p:txBody>
      </p:sp>
      <p:graphicFrame>
        <p:nvGraphicFramePr>
          <p:cNvPr id="977933" name="Group 13"/>
          <p:cNvGraphicFramePr>
            <a:graphicFrameLocks noGrp="1"/>
          </p:cNvGraphicFramePr>
          <p:nvPr>
            <p:ph sz="quarter" idx="13"/>
            <p:extLst/>
          </p:nvPr>
        </p:nvGraphicFramePr>
        <p:xfrm>
          <a:off x="1358503" y="1538790"/>
          <a:ext cx="7615238" cy="640110"/>
        </p:xfrm>
        <a:graphic>
          <a:graphicData uri="http://schemas.openxmlformats.org/drawingml/2006/table">
            <a:tbl>
              <a:tblPr/>
              <a:tblGrid>
                <a:gridCol w="7615238"/>
              </a:tblGrid>
              <a:tr h="640110">
                <a:tc>
                  <a:txBody>
                    <a:bodyPr/>
                    <a:lstStyle/>
                    <a:p>
                      <a:pPr marL="342900" marR="0" lvl="0" indent="-34290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5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15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pitchFamily="34" charset="0"/>
                          <a:cs typeface="Times New Roman" pitchFamily="18" charset="0"/>
                        </a:rPr>
                        <a:t>CRA - Certificado de Recebíveis do Agronegócio</a:t>
                      </a:r>
                    </a:p>
                    <a:p>
                      <a:pPr marL="342900" marR="0" lvl="0" indent="-34290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5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15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pitchFamily="34" charset="0"/>
                          <a:cs typeface="Times New Roman" pitchFamily="18" charset="0"/>
                        </a:rPr>
                        <a:t>Emissões, por faixa de prazo final, em 2016</a:t>
                      </a:r>
                    </a:p>
                  </a:txBody>
                  <a:tcPr marL="91496" marR="91496" marT="34305" marB="34305" anchor="ctr" horzOverflow="overflow">
                    <a:lnL cap="flat">
                      <a:noFill/>
                    </a:lnL>
                    <a:lnR cap="flat"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graphicFrame>
        <p:nvGraphicFramePr>
          <p:cNvPr id="2" name="Object 7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929097162"/>
              </p:ext>
            </p:extLst>
          </p:nvPr>
        </p:nvGraphicFramePr>
        <p:xfrm>
          <a:off x="179512" y="2052639"/>
          <a:ext cx="8854952" cy="451057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7" name="CaixaDeTexto 6"/>
          <p:cNvSpPr txBox="1"/>
          <p:nvPr/>
        </p:nvSpPr>
        <p:spPr>
          <a:xfrm>
            <a:off x="395536" y="6381328"/>
            <a:ext cx="2448272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050" dirty="0">
                <a:solidFill>
                  <a:schemeClr val="bg1">
                    <a:lumMod val="65000"/>
                  </a:schemeClr>
                </a:solidFill>
              </a:rPr>
              <a:t>Fonte: UQBAR (2016)</a:t>
            </a:r>
          </a:p>
        </p:txBody>
      </p:sp>
    </p:spTree>
    <p:extLst>
      <p:ext uri="{BB962C8B-B14F-4D97-AF65-F5344CB8AC3E}">
        <p14:creationId xmlns:p14="http://schemas.microsoft.com/office/powerpoint/2010/main" val="26906769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1411" name="Rectangle 3"/>
          <p:cNvSpPr>
            <a:spLocks noChangeArrowheads="1"/>
          </p:cNvSpPr>
          <p:nvPr/>
        </p:nvSpPr>
        <p:spPr bwMode="auto">
          <a:xfrm>
            <a:off x="0" y="476672"/>
            <a:ext cx="9144000" cy="69532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anchor="ctr"/>
          <a:lstStyle/>
          <a:p>
            <a:pPr algn="ctr">
              <a:defRPr/>
            </a:pPr>
            <a:r>
              <a:rPr lang="pt-BR" sz="2700" b="1" dirty="0">
                <a:effectLst>
                  <a:outerShdw blurRad="38100" dist="38100" dir="2700000" algn="tl">
                    <a:srgbClr val="C0C0C0"/>
                  </a:outerShdw>
                </a:effectLst>
                <a:latin typeface="Tahoma" pitchFamily="34" charset="0"/>
              </a:rPr>
              <a:t>Precificando a operação</a:t>
            </a:r>
          </a:p>
        </p:txBody>
      </p:sp>
      <p:sp>
        <p:nvSpPr>
          <p:cNvPr id="1041412" name="Text Box 4"/>
          <p:cNvSpPr txBox="1">
            <a:spLocks noChangeArrowheads="1"/>
          </p:cNvSpPr>
          <p:nvPr/>
        </p:nvSpPr>
        <p:spPr bwMode="auto">
          <a:xfrm>
            <a:off x="157178" y="1646805"/>
            <a:ext cx="7151126" cy="4670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457200" indent="-457200"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9pPr>
          </a:lstStyle>
          <a:p>
            <a:pPr>
              <a:lnSpc>
                <a:spcPct val="110000"/>
              </a:lnSpc>
              <a:spcBef>
                <a:spcPct val="30000"/>
              </a:spcBef>
              <a:buFont typeface="Wingdings" pitchFamily="2" charset="2"/>
              <a:buChar char="§"/>
            </a:pPr>
            <a:r>
              <a:rPr lang="pt-BR" sz="2400" dirty="0">
                <a:latin typeface="Arial" pitchFamily="34" charset="0"/>
              </a:rPr>
              <a:t>Valor do insumo a ser recuperado:</a:t>
            </a:r>
          </a:p>
        </p:txBody>
      </p:sp>
      <p:graphicFrame>
        <p:nvGraphicFramePr>
          <p:cNvPr id="5" name="Group 118"/>
          <p:cNvGraphicFramePr>
            <a:graphicFrameLocks noGrp="1"/>
          </p:cNvGraphicFramePr>
          <p:nvPr>
            <p:ph sz="quarter" idx="13"/>
            <p:extLst>
              <p:ext uri="{D42A27DB-BD31-4B8C-83A1-F6EECF244321}">
                <p14:modId xmlns:p14="http://schemas.microsoft.com/office/powerpoint/2010/main" val="2767366491"/>
              </p:ext>
            </p:extLst>
          </p:nvPr>
        </p:nvGraphicFramePr>
        <p:xfrm>
          <a:off x="1043608" y="2437264"/>
          <a:ext cx="7042040" cy="3498057"/>
        </p:xfrm>
        <a:graphic>
          <a:graphicData uri="http://schemas.openxmlformats.org/drawingml/2006/table">
            <a:tbl>
              <a:tblPr/>
              <a:tblGrid>
                <a:gridCol w="746921"/>
                <a:gridCol w="407862"/>
                <a:gridCol w="3167350"/>
                <a:gridCol w="214238"/>
                <a:gridCol w="2505669"/>
              </a:tblGrid>
              <a:tr h="388673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2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(1)</a:t>
                      </a:r>
                    </a:p>
                  </a:txBody>
                  <a:tcPr marL="94419" marR="94419" marT="34295" marB="34295" horzOverflow="overflow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pt-BR" sz="2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4419" marR="94419" marT="34295" marB="34295" horzOverflow="overflow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2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Quantidade</a:t>
                      </a:r>
                    </a:p>
                  </a:txBody>
                  <a:tcPr marL="94419" marR="94419" marT="34295" marB="34295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pt-BR" sz="2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4419" marR="94419" marT="34295" marB="34295" horzOverflow="overflow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2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   litros</a:t>
                      </a:r>
                    </a:p>
                  </a:txBody>
                  <a:tcPr marL="94419" marR="94419" marT="34295" marB="34295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88673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2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(2)</a:t>
                      </a:r>
                    </a:p>
                  </a:txBody>
                  <a:tcPr marL="94419" marR="94419" marT="34295" marB="34295" horzOverflow="overflow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pt-BR" sz="2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4419" marR="94419" marT="34295" marB="34295" horzOverflow="overflow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2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Preço</a:t>
                      </a:r>
                    </a:p>
                  </a:txBody>
                  <a:tcPr marL="94419" marR="94419" marT="34295" marB="34295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pt-BR" sz="2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4419" marR="94419" marT="34295" marB="34295" horzOverflow="overflow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2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R$  </a:t>
                      </a:r>
                      <a:r>
                        <a:rPr kumimoji="0" lang="pt-B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           </a:t>
                      </a:r>
                      <a:r>
                        <a:rPr kumimoji="0" lang="pt-BR" sz="2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       /litro</a:t>
                      </a:r>
                    </a:p>
                  </a:txBody>
                  <a:tcPr marL="94419" marR="94419" marT="34295" marB="34295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88673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2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(3)</a:t>
                      </a:r>
                    </a:p>
                  </a:txBody>
                  <a:tcPr marL="94419" marR="94419" marT="34295" marB="34295" horzOverflow="overflow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pt-BR" sz="2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4419" marR="94419" marT="34295" marB="34295" horzOverflow="overflow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2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Custo total (1) x (2)</a:t>
                      </a:r>
                    </a:p>
                  </a:txBody>
                  <a:tcPr marL="94419" marR="94419" marT="34295" marB="34295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pt-BR" sz="2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4419" marR="94419" marT="34295" marB="34295" horzOverflow="overflow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2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R$ </a:t>
                      </a:r>
                    </a:p>
                  </a:txBody>
                  <a:tcPr marL="94419" marR="94419" marT="34295" marB="34295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88673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2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(4)</a:t>
                      </a:r>
                    </a:p>
                  </a:txBody>
                  <a:tcPr marL="94419" marR="94419" marT="34295" marB="34295" horzOverflow="overflow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pt-BR" sz="2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4419" marR="94419" marT="34295" marB="34295" horzOverflow="overflow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2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Margem de lucro</a:t>
                      </a:r>
                    </a:p>
                  </a:txBody>
                  <a:tcPr marL="94419" marR="94419" marT="34295" marB="34295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pt-BR" sz="2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4419" marR="94419" marT="34295" marB="34295" horzOverflow="overflow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2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R$</a:t>
                      </a:r>
                    </a:p>
                  </a:txBody>
                  <a:tcPr marL="94419" marR="94419" marT="34295" marB="34295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88673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2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(5)</a:t>
                      </a:r>
                    </a:p>
                  </a:txBody>
                  <a:tcPr marL="94419" marR="94419" marT="34295" marB="34295" horzOverflow="overflow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pt-BR" sz="2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4419" marR="94419" marT="34295" marB="34295" horzOverflow="overflow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2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Subtotal (3) + (4)</a:t>
                      </a:r>
                    </a:p>
                  </a:txBody>
                  <a:tcPr marL="94419" marR="94419" marT="34295" marB="34295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pt-BR" sz="2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4419" marR="94419" marT="34295" marB="34295" horzOverflow="overflow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2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R$</a:t>
                      </a:r>
                    </a:p>
                  </a:txBody>
                  <a:tcPr marL="94419" marR="94419" marT="34295" marB="34295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88673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2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(6)</a:t>
                      </a:r>
                    </a:p>
                  </a:txBody>
                  <a:tcPr marL="94419" marR="94419" marT="34295" marB="34295" horzOverflow="overflow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pt-BR" sz="2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4419" marR="94419" marT="34295" marB="34295" horzOverflow="overflow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2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Risco de crédito</a:t>
                      </a:r>
                    </a:p>
                  </a:txBody>
                  <a:tcPr marL="94419" marR="94419" marT="34295" marB="34295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pt-BR" sz="2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4419" marR="94419" marT="34295" marB="34295" horzOverflow="overflow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2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R$</a:t>
                      </a:r>
                    </a:p>
                  </a:txBody>
                  <a:tcPr marL="94419" marR="94419" marT="34295" marB="34295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88673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2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(7)</a:t>
                      </a:r>
                    </a:p>
                  </a:txBody>
                  <a:tcPr marL="94419" marR="94419" marT="34295" marB="34295" horzOverflow="overflow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pt-BR" sz="2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4419" marR="94419" marT="34295" marB="34295" horzOverflow="overflow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2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Subtotal (5) + (6)</a:t>
                      </a:r>
                    </a:p>
                  </a:txBody>
                  <a:tcPr marL="94419" marR="94419" marT="34295" marB="34295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pt-BR" sz="2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4419" marR="94419" marT="34295" marB="34295" horzOverflow="overflow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2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R$</a:t>
                      </a:r>
                    </a:p>
                  </a:txBody>
                  <a:tcPr marL="94419" marR="94419" marT="34295" marB="34295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88673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2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(8)</a:t>
                      </a:r>
                    </a:p>
                  </a:txBody>
                  <a:tcPr marL="94419" marR="94419" marT="34295" marB="34295" horzOverflow="overflow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pt-BR" sz="2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4419" marR="94419" marT="34295" marB="34295" horzOverflow="overflow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2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Juros</a:t>
                      </a:r>
                    </a:p>
                  </a:txBody>
                  <a:tcPr marL="94419" marR="94419" marT="34295" marB="34295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pt-BR" sz="2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4419" marR="94419" marT="34295" marB="34295" horzOverflow="overflow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2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R$</a:t>
                      </a:r>
                    </a:p>
                  </a:txBody>
                  <a:tcPr marL="94419" marR="94419" marT="34295" marB="34295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88673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2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(9)</a:t>
                      </a:r>
                    </a:p>
                  </a:txBody>
                  <a:tcPr marL="94419" marR="94419" marT="34295" marB="34295" horzOverflow="overflow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pt-BR" sz="2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4419" marR="94419" marT="34295" marB="34295" horzOverflow="overflow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2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Total (7) + (8)</a:t>
                      </a:r>
                    </a:p>
                  </a:txBody>
                  <a:tcPr marL="94419" marR="94419" marT="34295" marB="34295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pt-BR" sz="2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4419" marR="94419" marT="34295" marB="34295" horzOverflow="overflow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2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R$                      </a:t>
                      </a:r>
                    </a:p>
                  </a:txBody>
                  <a:tcPr marL="94419" marR="94419" marT="34295" marB="34295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graphicFrame>
        <p:nvGraphicFramePr>
          <p:cNvPr id="6" name="Group 49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41275018"/>
              </p:ext>
            </p:extLst>
          </p:nvPr>
        </p:nvGraphicFramePr>
        <p:xfrm>
          <a:off x="5840761" y="5523657"/>
          <a:ext cx="2084387" cy="388536"/>
        </p:xfrm>
        <a:graphic>
          <a:graphicData uri="http://schemas.openxmlformats.org/drawingml/2006/table">
            <a:tbl>
              <a:tblPr/>
              <a:tblGrid>
                <a:gridCol w="2084387"/>
              </a:tblGrid>
              <a:tr h="388536"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2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131.796,40</a:t>
                      </a:r>
                    </a:p>
                  </a:txBody>
                  <a:tcPr marT="34248" marB="34248" horzOverflow="overflow">
                    <a:lnL cap="flat">
                      <a:noFill/>
                    </a:lnL>
                    <a:lnR cap="flat"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graphicFrame>
        <p:nvGraphicFramePr>
          <p:cNvPr id="7" name="Group 23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7321973"/>
              </p:ext>
            </p:extLst>
          </p:nvPr>
        </p:nvGraphicFramePr>
        <p:xfrm>
          <a:off x="5824887" y="2420888"/>
          <a:ext cx="1335087" cy="389334"/>
        </p:xfrm>
        <a:graphic>
          <a:graphicData uri="http://schemas.openxmlformats.org/drawingml/2006/table">
            <a:tbl>
              <a:tblPr/>
              <a:tblGrid>
                <a:gridCol w="1335087"/>
              </a:tblGrid>
              <a:tr h="389334"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2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12.000</a:t>
                      </a:r>
                    </a:p>
                  </a:txBody>
                  <a:tcPr marT="34353" marB="34353" horzOverflow="overflow">
                    <a:lnL cap="flat">
                      <a:noFill/>
                    </a:lnL>
                    <a:lnR cap="flat"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graphicFrame>
        <p:nvGraphicFramePr>
          <p:cNvPr id="8" name="Group 29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63118954"/>
              </p:ext>
            </p:extLst>
          </p:nvPr>
        </p:nvGraphicFramePr>
        <p:xfrm>
          <a:off x="6174138" y="2824510"/>
          <a:ext cx="1030287" cy="388536"/>
        </p:xfrm>
        <a:graphic>
          <a:graphicData uri="http://schemas.openxmlformats.org/drawingml/2006/table">
            <a:tbl>
              <a:tblPr/>
              <a:tblGrid>
                <a:gridCol w="1030287"/>
              </a:tblGrid>
              <a:tr h="388536"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2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9,50</a:t>
                      </a:r>
                    </a:p>
                  </a:txBody>
                  <a:tcPr marL="91392" marR="91392" marT="34248" marB="34248" horzOverflow="overflow">
                    <a:lnL cap="flat">
                      <a:noFill/>
                    </a:lnL>
                    <a:lnR cap="flat"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graphicFrame>
        <p:nvGraphicFramePr>
          <p:cNvPr id="9" name="Group 33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76158889"/>
              </p:ext>
            </p:extLst>
          </p:nvPr>
        </p:nvGraphicFramePr>
        <p:xfrm>
          <a:off x="5699474" y="3206701"/>
          <a:ext cx="2230439" cy="389334"/>
        </p:xfrm>
        <a:graphic>
          <a:graphicData uri="http://schemas.openxmlformats.org/drawingml/2006/table">
            <a:tbl>
              <a:tblPr/>
              <a:tblGrid>
                <a:gridCol w="2230439"/>
              </a:tblGrid>
              <a:tr h="389334"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2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114.000,00</a:t>
                      </a:r>
                    </a:p>
                  </a:txBody>
                  <a:tcPr marL="91444" marR="91444" marT="34353" marB="34353" horzOverflow="overflow">
                    <a:lnL cap="flat">
                      <a:noFill/>
                    </a:lnL>
                    <a:lnR cap="flat"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graphicFrame>
        <p:nvGraphicFramePr>
          <p:cNvPr id="10" name="Group 36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1010775"/>
              </p:ext>
            </p:extLst>
          </p:nvPr>
        </p:nvGraphicFramePr>
        <p:xfrm>
          <a:off x="5823299" y="3596037"/>
          <a:ext cx="2106613" cy="389335"/>
        </p:xfrm>
        <a:graphic>
          <a:graphicData uri="http://schemas.openxmlformats.org/drawingml/2006/table">
            <a:tbl>
              <a:tblPr/>
              <a:tblGrid>
                <a:gridCol w="2106613"/>
              </a:tblGrid>
              <a:tr h="389335"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2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5.700,00</a:t>
                      </a:r>
                    </a:p>
                  </a:txBody>
                  <a:tcPr marL="91443" marR="91443" marT="34353" marB="34353" horzOverflow="overflow">
                    <a:lnL cap="flat">
                      <a:noFill/>
                    </a:lnL>
                    <a:lnR cap="flat"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graphicFrame>
        <p:nvGraphicFramePr>
          <p:cNvPr id="11" name="Group 40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45127122"/>
              </p:ext>
            </p:extLst>
          </p:nvPr>
        </p:nvGraphicFramePr>
        <p:xfrm>
          <a:off x="5626449" y="3986560"/>
          <a:ext cx="2290763" cy="388536"/>
        </p:xfrm>
        <a:graphic>
          <a:graphicData uri="http://schemas.openxmlformats.org/drawingml/2006/table">
            <a:tbl>
              <a:tblPr/>
              <a:tblGrid>
                <a:gridCol w="2290763"/>
              </a:tblGrid>
              <a:tr h="388536"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2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119.700,00</a:t>
                      </a:r>
                    </a:p>
                  </a:txBody>
                  <a:tcPr marL="91411" marR="91411" marT="34248" marB="34248" horzOverflow="overflow">
                    <a:lnL cap="flat">
                      <a:noFill/>
                    </a:lnL>
                    <a:lnR cap="flat"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graphicFrame>
        <p:nvGraphicFramePr>
          <p:cNvPr id="12" name="Group 43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6629891"/>
              </p:ext>
            </p:extLst>
          </p:nvPr>
        </p:nvGraphicFramePr>
        <p:xfrm>
          <a:off x="5839174" y="4383038"/>
          <a:ext cx="2078039" cy="388536"/>
        </p:xfrm>
        <a:graphic>
          <a:graphicData uri="http://schemas.openxmlformats.org/drawingml/2006/table">
            <a:tbl>
              <a:tblPr/>
              <a:tblGrid>
                <a:gridCol w="2078039"/>
              </a:tblGrid>
              <a:tr h="388536"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2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1.436,40</a:t>
                      </a:r>
                    </a:p>
                  </a:txBody>
                  <a:tcPr marL="91415" marR="91415" marT="34248" marB="34248" horzOverflow="overflow">
                    <a:lnL cap="flat">
                      <a:noFill/>
                    </a:lnL>
                    <a:lnR cap="flat"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graphicFrame>
        <p:nvGraphicFramePr>
          <p:cNvPr id="13" name="Group 46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74492152"/>
              </p:ext>
            </p:extLst>
          </p:nvPr>
        </p:nvGraphicFramePr>
        <p:xfrm>
          <a:off x="5755035" y="4766420"/>
          <a:ext cx="2170112" cy="388536"/>
        </p:xfrm>
        <a:graphic>
          <a:graphicData uri="http://schemas.openxmlformats.org/drawingml/2006/table">
            <a:tbl>
              <a:tblPr/>
              <a:tblGrid>
                <a:gridCol w="2170112"/>
              </a:tblGrid>
              <a:tr h="388536"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2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121.136,40</a:t>
                      </a:r>
                    </a:p>
                  </a:txBody>
                  <a:tcPr marT="34248" marB="34248" horzOverflow="overflow">
                    <a:lnL cap="flat">
                      <a:noFill/>
                    </a:lnL>
                    <a:lnR cap="flat"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graphicFrame>
        <p:nvGraphicFramePr>
          <p:cNvPr id="14" name="Group 49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29911085"/>
              </p:ext>
            </p:extLst>
          </p:nvPr>
        </p:nvGraphicFramePr>
        <p:xfrm>
          <a:off x="5942362" y="5154563"/>
          <a:ext cx="1993900" cy="388536"/>
        </p:xfrm>
        <a:graphic>
          <a:graphicData uri="http://schemas.openxmlformats.org/drawingml/2006/table">
            <a:tbl>
              <a:tblPr/>
              <a:tblGrid>
                <a:gridCol w="1993900"/>
              </a:tblGrid>
              <a:tr h="388536"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2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10.660,00</a:t>
                      </a:r>
                    </a:p>
                  </a:txBody>
                  <a:tcPr marT="34248" marB="34248" horzOverflow="overflow">
                    <a:lnL cap="flat">
                      <a:noFill/>
                    </a:lnL>
                    <a:lnR cap="flat"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1426734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" presetClass="entr" presetSubtype="3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out)">
                                      <p:cBhvr>
                                        <p:cTn id="7" dur="1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2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8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" fill="hold">
                      <p:stCondLst>
                        <p:cond delay="indefinite"/>
                      </p:stCondLst>
                      <p:childTnLst>
                        <p:par>
                          <p:cTn id="21" fill="hold">
                            <p:stCondLst>
                              <p:cond delay="0"/>
                            </p:stCondLst>
                            <p:childTnLst>
                              <p:par>
                                <p:cTn id="22" presetID="2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4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5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6" fill="hold">
                      <p:stCondLst>
                        <p:cond delay="indefinite"/>
                      </p:stCondLst>
                      <p:childTnLst>
                        <p:par>
                          <p:cTn id="27" fill="hold">
                            <p:stCondLst>
                              <p:cond delay="0"/>
                            </p:stCondLst>
                            <p:childTnLst>
                              <p:par>
                                <p:cTn id="28" presetID="2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0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1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2" fill="hold">
                      <p:stCondLst>
                        <p:cond delay="indefinite"/>
                      </p:stCondLst>
                      <p:childTnLst>
                        <p:par>
                          <p:cTn id="33" fill="hold">
                            <p:stCondLst>
                              <p:cond delay="0"/>
                            </p:stCondLst>
                            <p:childTnLst>
                              <p:par>
                                <p:cTn id="34" presetID="2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6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7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8" fill="hold">
                      <p:stCondLst>
                        <p:cond delay="indefinite"/>
                      </p:stCondLst>
                      <p:childTnLst>
                        <p:par>
                          <p:cTn id="39" fill="hold">
                            <p:stCondLst>
                              <p:cond delay="0"/>
                            </p:stCondLst>
                            <p:childTnLst>
                              <p:par>
                                <p:cTn id="40" presetID="2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2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3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4" fill="hold">
                      <p:stCondLst>
                        <p:cond delay="indefinite"/>
                      </p:stCondLst>
                      <p:childTnLst>
                        <p:par>
                          <p:cTn id="45" fill="hold">
                            <p:stCondLst>
                              <p:cond delay="0"/>
                            </p:stCondLst>
                            <p:childTnLst>
                              <p:par>
                                <p:cTn id="46" presetID="2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8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9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0" fill="hold">
                      <p:stCondLst>
                        <p:cond delay="indefinite"/>
                      </p:stCondLst>
                      <p:childTnLst>
                        <p:par>
                          <p:cTn id="51" fill="hold">
                            <p:stCondLst>
                              <p:cond delay="0"/>
                            </p:stCondLst>
                            <p:childTnLst>
                              <p:par>
                                <p:cTn id="52" presetID="2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4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5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6" fill="hold">
                      <p:stCondLst>
                        <p:cond delay="indefinite"/>
                      </p:stCondLst>
                      <p:childTnLst>
                        <p:par>
                          <p:cTn id="57" fill="hold">
                            <p:stCondLst>
                              <p:cond delay="0"/>
                            </p:stCondLst>
                            <p:childTnLst>
                              <p:par>
                                <p:cTn id="58" presetID="2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0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1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9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7922" name="Rectangle 2"/>
          <p:cNvSpPr>
            <a:spLocks noChangeArrowheads="1"/>
          </p:cNvSpPr>
          <p:nvPr/>
        </p:nvSpPr>
        <p:spPr bwMode="auto">
          <a:xfrm>
            <a:off x="1196625" y="897733"/>
            <a:ext cx="7947375" cy="69532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anchor="ctr"/>
          <a:lstStyle/>
          <a:p>
            <a:pPr algn="ctr">
              <a:defRPr/>
            </a:pPr>
            <a:r>
              <a:rPr lang="en-US" sz="2700" b="1" dirty="0">
                <a:solidFill>
                  <a:schemeClr val="tx2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Tahoma" pitchFamily="34" charset="0"/>
              </a:rPr>
              <a:t>CRA</a:t>
            </a:r>
          </a:p>
        </p:txBody>
      </p:sp>
      <p:graphicFrame>
        <p:nvGraphicFramePr>
          <p:cNvPr id="977933" name="Group 13"/>
          <p:cNvGraphicFramePr>
            <a:graphicFrameLocks noGrp="1"/>
          </p:cNvGraphicFramePr>
          <p:nvPr>
            <p:ph sz="quarter" idx="13"/>
            <p:extLst/>
          </p:nvPr>
        </p:nvGraphicFramePr>
        <p:xfrm>
          <a:off x="1358503" y="1538790"/>
          <a:ext cx="7615238" cy="640110"/>
        </p:xfrm>
        <a:graphic>
          <a:graphicData uri="http://schemas.openxmlformats.org/drawingml/2006/table">
            <a:tbl>
              <a:tblPr/>
              <a:tblGrid>
                <a:gridCol w="7615238"/>
              </a:tblGrid>
              <a:tr h="640110">
                <a:tc>
                  <a:txBody>
                    <a:bodyPr/>
                    <a:lstStyle/>
                    <a:p>
                      <a:pPr marL="342900" marR="0" lvl="0" indent="-34290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5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15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pitchFamily="34" charset="0"/>
                          <a:cs typeface="Times New Roman" pitchFamily="18" charset="0"/>
                        </a:rPr>
                        <a:t>CRA - Certificado de Recebíveis do Agronegócio</a:t>
                      </a:r>
                    </a:p>
                    <a:p>
                      <a:pPr marL="342900" marR="0" lvl="0" indent="-34290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5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15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pitchFamily="34" charset="0"/>
                          <a:cs typeface="Times New Roman" pitchFamily="18" charset="0"/>
                        </a:rPr>
                        <a:t>Emissões, por indexador, em 2016</a:t>
                      </a:r>
                    </a:p>
                  </a:txBody>
                  <a:tcPr marL="91496" marR="91496" marT="34305" marB="34305" anchor="ctr" horzOverflow="overflow">
                    <a:lnL cap="flat">
                      <a:noFill/>
                    </a:lnL>
                    <a:lnR cap="flat"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graphicFrame>
        <p:nvGraphicFramePr>
          <p:cNvPr id="2" name="Object 7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685818170"/>
              </p:ext>
            </p:extLst>
          </p:nvPr>
        </p:nvGraphicFramePr>
        <p:xfrm>
          <a:off x="179512" y="2052639"/>
          <a:ext cx="8794230" cy="451536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7" name="CaixaDeTexto 6"/>
          <p:cNvSpPr txBox="1"/>
          <p:nvPr/>
        </p:nvSpPr>
        <p:spPr>
          <a:xfrm>
            <a:off x="323528" y="6381328"/>
            <a:ext cx="2448272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050" dirty="0">
                <a:solidFill>
                  <a:schemeClr val="bg1">
                    <a:lumMod val="65000"/>
                  </a:schemeClr>
                </a:solidFill>
              </a:rPr>
              <a:t>Fonte: UQBAR (2016)</a:t>
            </a:r>
          </a:p>
        </p:txBody>
      </p:sp>
    </p:spTree>
    <p:extLst>
      <p:ext uri="{BB962C8B-B14F-4D97-AF65-F5344CB8AC3E}">
        <p14:creationId xmlns:p14="http://schemas.microsoft.com/office/powerpoint/2010/main" val="41927931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9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7922" name="Rectangle 2"/>
          <p:cNvSpPr>
            <a:spLocks noChangeArrowheads="1"/>
          </p:cNvSpPr>
          <p:nvPr/>
        </p:nvSpPr>
        <p:spPr bwMode="auto">
          <a:xfrm>
            <a:off x="0" y="897733"/>
            <a:ext cx="9144000" cy="69532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anchor="ctr"/>
          <a:lstStyle/>
          <a:p>
            <a:pPr algn="ctr">
              <a:defRPr/>
            </a:pPr>
            <a:r>
              <a:rPr lang="en-US" sz="2700" b="1">
                <a:solidFill>
                  <a:schemeClr val="tx2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Tahoma" pitchFamily="34" charset="0"/>
              </a:rPr>
              <a:t>CRA</a:t>
            </a:r>
          </a:p>
        </p:txBody>
      </p:sp>
      <p:pic>
        <p:nvPicPr>
          <p:cNvPr id="4" name="Imagem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-36512" y="836712"/>
            <a:ext cx="2825827" cy="5164038"/>
          </a:xfrm>
          <a:prstGeom prst="rect">
            <a:avLst/>
          </a:prstGeom>
        </p:spPr>
      </p:pic>
      <p:pic>
        <p:nvPicPr>
          <p:cNvPr id="9" name="Imagem 8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789314" y="1593047"/>
            <a:ext cx="6354686" cy="3408201"/>
          </a:xfrm>
          <a:prstGeom prst="rect">
            <a:avLst/>
          </a:prstGeom>
        </p:spPr>
      </p:pic>
      <p:pic>
        <p:nvPicPr>
          <p:cNvPr id="10" name="Imagem 9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954702" y="927090"/>
            <a:ext cx="6023910" cy="50736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135256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2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7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9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00806" name="Rectangle 6"/>
          <p:cNvSpPr>
            <a:spLocks noChangeArrowheads="1"/>
          </p:cNvSpPr>
          <p:nvPr/>
        </p:nvSpPr>
        <p:spPr bwMode="auto">
          <a:xfrm>
            <a:off x="0" y="897733"/>
            <a:ext cx="9144000" cy="69532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anchor="ctr"/>
          <a:lstStyle/>
          <a:p>
            <a:pPr algn="ctr">
              <a:defRPr/>
            </a:pPr>
            <a:r>
              <a:rPr lang="en-US" sz="2700" b="1" dirty="0" err="1">
                <a:solidFill>
                  <a:schemeClr val="tx2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Tahoma" pitchFamily="34" charset="0"/>
              </a:rPr>
              <a:t>Exemplo</a:t>
            </a:r>
            <a:endParaRPr lang="en-US" sz="2700" b="1" dirty="0">
              <a:solidFill>
                <a:schemeClr val="tx2"/>
              </a:solidFill>
              <a:effectLst>
                <a:outerShdw blurRad="38100" dist="38100" dir="2700000" algn="tl">
                  <a:srgbClr val="C0C0C0"/>
                </a:outerShdw>
              </a:effectLst>
              <a:latin typeface="Tahoma" pitchFamily="34" charset="0"/>
            </a:endParaRPr>
          </a:p>
        </p:txBody>
      </p:sp>
      <p:sp>
        <p:nvSpPr>
          <p:cNvPr id="1100824" name="Text Box 24"/>
          <p:cNvSpPr txBox="1">
            <a:spLocks noChangeArrowheads="1"/>
          </p:cNvSpPr>
          <p:nvPr/>
        </p:nvSpPr>
        <p:spPr bwMode="auto">
          <a:xfrm>
            <a:off x="5571111" y="2159859"/>
            <a:ext cx="3467100" cy="2751522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>
            <a:spAutoFit/>
          </a:bodyPr>
          <a:lstStyle/>
          <a:p>
            <a:pPr algn="ctr">
              <a:lnSpc>
                <a:spcPct val="120000"/>
              </a:lnSpc>
              <a:spcBef>
                <a:spcPct val="20000"/>
              </a:spcBef>
              <a:defRPr/>
            </a:pPr>
            <a:r>
              <a:rPr lang="pt-BR" sz="2400" b="1" dirty="0">
                <a:solidFill>
                  <a:schemeClr val="tx2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pitchFamily="34" charset="0"/>
              </a:rPr>
              <a:t>FUNDO DE INVESTIMENTO EM DIREITOS CREDITÓRIOS MERCANTIS MONSANTO</a:t>
            </a:r>
          </a:p>
        </p:txBody>
      </p:sp>
      <p:pic>
        <p:nvPicPr>
          <p:cNvPr id="236549" name="Picture 25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58643" y="1538790"/>
            <a:ext cx="4158462" cy="40161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5959368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008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7" dur="500"/>
                                        <p:tgtEl>
                                          <p:spTgt spid="11008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00824" grpId="0" autoUpdateAnimBg="0"/>
    </p:bldLst>
  </p:timing>
</p:sld>
</file>

<file path=ppt/slides/slide9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02872" name="Text Box 24"/>
          <p:cNvSpPr txBox="1">
            <a:spLocks noChangeArrowheads="1"/>
          </p:cNvSpPr>
          <p:nvPr/>
        </p:nvSpPr>
        <p:spPr bwMode="auto">
          <a:xfrm>
            <a:off x="5727679" y="3510009"/>
            <a:ext cx="1571624" cy="5539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9pPr>
          </a:lstStyle>
          <a:p>
            <a:pPr algn="ctr">
              <a:spcBef>
                <a:spcPct val="50000"/>
              </a:spcBef>
            </a:pPr>
            <a:r>
              <a:rPr lang="pt-BR" sz="1500" dirty="0">
                <a:solidFill>
                  <a:schemeClr val="tx2"/>
                </a:solidFill>
                <a:latin typeface="Arial" pitchFamily="34" charset="0"/>
              </a:rPr>
              <a:t>Direitos Creditórios</a:t>
            </a:r>
          </a:p>
        </p:txBody>
      </p:sp>
      <p:sp>
        <p:nvSpPr>
          <p:cNvPr id="237572" name="Text Box 34"/>
          <p:cNvSpPr txBox="1">
            <a:spLocks noChangeArrowheads="1"/>
          </p:cNvSpPr>
          <p:nvPr/>
        </p:nvSpPr>
        <p:spPr bwMode="auto">
          <a:xfrm>
            <a:off x="5517432" y="3648912"/>
            <a:ext cx="393700" cy="3231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9pPr>
          </a:lstStyle>
          <a:p>
            <a:pPr algn="ctr">
              <a:spcBef>
                <a:spcPct val="50000"/>
              </a:spcBef>
            </a:pPr>
            <a:r>
              <a:rPr lang="pt-BR" sz="1500" dirty="0">
                <a:solidFill>
                  <a:schemeClr val="tx2"/>
                </a:solidFill>
                <a:latin typeface="Arial" pitchFamily="34" charset="0"/>
              </a:rPr>
              <a:t>4</a:t>
            </a:r>
          </a:p>
        </p:txBody>
      </p:sp>
      <p:sp>
        <p:nvSpPr>
          <p:cNvPr id="237573" name="Oval 35"/>
          <p:cNvSpPr>
            <a:spLocks noChangeArrowheads="1"/>
          </p:cNvSpPr>
          <p:nvPr/>
        </p:nvSpPr>
        <p:spPr bwMode="auto">
          <a:xfrm>
            <a:off x="5530131" y="3633433"/>
            <a:ext cx="355600" cy="323850"/>
          </a:xfrm>
          <a:prstGeom prst="ellipse">
            <a:avLst/>
          </a:prstGeom>
          <a:noFill/>
          <a:ln w="28575">
            <a:solidFill>
              <a:schemeClr val="tx2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anchor="ctr"/>
          <a:lstStyle/>
          <a:p>
            <a:pPr algn="ctr"/>
            <a:endParaRPr lang="pt-BR" sz="1500">
              <a:solidFill>
                <a:schemeClr val="tx2"/>
              </a:solidFill>
            </a:endParaRPr>
          </a:p>
        </p:txBody>
      </p:sp>
      <p:sp>
        <p:nvSpPr>
          <p:cNvPr id="1102851" name="Rectangle 3"/>
          <p:cNvSpPr>
            <a:spLocks noChangeArrowheads="1"/>
          </p:cNvSpPr>
          <p:nvPr/>
        </p:nvSpPr>
        <p:spPr bwMode="auto">
          <a:xfrm>
            <a:off x="0" y="897733"/>
            <a:ext cx="9144000" cy="69532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anchor="ctr"/>
          <a:lstStyle/>
          <a:p>
            <a:pPr algn="ctr">
              <a:defRPr/>
            </a:pPr>
            <a:r>
              <a:rPr lang="en-US" sz="2700" b="1">
                <a:solidFill>
                  <a:schemeClr val="tx2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Tahoma" pitchFamily="34" charset="0"/>
              </a:rPr>
              <a:t>Securitização de Créditos</a:t>
            </a:r>
          </a:p>
        </p:txBody>
      </p:sp>
      <p:sp>
        <p:nvSpPr>
          <p:cNvPr id="237575" name="Text Box 4"/>
          <p:cNvSpPr txBox="1">
            <a:spLocks noChangeArrowheads="1"/>
          </p:cNvSpPr>
          <p:nvPr/>
        </p:nvSpPr>
        <p:spPr bwMode="auto">
          <a:xfrm>
            <a:off x="1161333" y="4162871"/>
            <a:ext cx="1993900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9pPr>
          </a:lstStyle>
          <a:p>
            <a:pPr algn="ctr">
              <a:spcBef>
                <a:spcPct val="50000"/>
              </a:spcBef>
            </a:pPr>
            <a:r>
              <a:rPr lang="pt-BR" dirty="0">
                <a:solidFill>
                  <a:schemeClr val="tx2"/>
                </a:solidFill>
                <a:latin typeface="Arial" pitchFamily="34" charset="0"/>
              </a:rPr>
              <a:t>C/C do Fundo</a:t>
            </a:r>
          </a:p>
        </p:txBody>
      </p:sp>
      <p:sp>
        <p:nvSpPr>
          <p:cNvPr id="237576" name="Rectangle 5"/>
          <p:cNvSpPr>
            <a:spLocks noChangeArrowheads="1"/>
          </p:cNvSpPr>
          <p:nvPr/>
        </p:nvSpPr>
        <p:spPr bwMode="auto">
          <a:xfrm>
            <a:off x="1255884" y="4100158"/>
            <a:ext cx="1912047" cy="451144"/>
          </a:xfrm>
          <a:prstGeom prst="rect">
            <a:avLst/>
          </a:prstGeom>
          <a:noFill/>
          <a:ln w="28575">
            <a:solidFill>
              <a:schemeClr val="tx2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anchor="ctr"/>
          <a:lstStyle/>
          <a:p>
            <a:endParaRPr lang="pt-BR" sz="1500"/>
          </a:p>
        </p:txBody>
      </p:sp>
      <p:sp>
        <p:nvSpPr>
          <p:cNvPr id="237577" name="Text Box 6"/>
          <p:cNvSpPr txBox="1">
            <a:spLocks noChangeArrowheads="1"/>
          </p:cNvSpPr>
          <p:nvPr/>
        </p:nvSpPr>
        <p:spPr bwMode="auto">
          <a:xfrm>
            <a:off x="1124616" y="5026967"/>
            <a:ext cx="2151240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9pPr>
          </a:lstStyle>
          <a:p>
            <a:pPr algn="ctr">
              <a:spcBef>
                <a:spcPct val="50000"/>
              </a:spcBef>
            </a:pPr>
            <a:r>
              <a:rPr lang="pt-BR" sz="1600" dirty="0">
                <a:solidFill>
                  <a:schemeClr val="tx2"/>
                </a:solidFill>
                <a:latin typeface="Arial" pitchFamily="34" charset="0"/>
              </a:rPr>
              <a:t>Banco </a:t>
            </a:r>
            <a:r>
              <a:rPr lang="pt-BR" sz="1600" dirty="0" smtClean="0">
                <a:solidFill>
                  <a:schemeClr val="tx2"/>
                </a:solidFill>
                <a:latin typeface="Arial" pitchFamily="34" charset="0"/>
              </a:rPr>
              <a:t>Arrecadador</a:t>
            </a:r>
            <a:endParaRPr lang="pt-BR" sz="1600" dirty="0">
              <a:solidFill>
                <a:schemeClr val="tx2"/>
              </a:solidFill>
              <a:latin typeface="Arial" pitchFamily="34" charset="0"/>
            </a:endParaRPr>
          </a:p>
        </p:txBody>
      </p:sp>
      <p:sp>
        <p:nvSpPr>
          <p:cNvPr id="237578" name="Rectangle 7"/>
          <p:cNvSpPr>
            <a:spLocks noChangeArrowheads="1"/>
          </p:cNvSpPr>
          <p:nvPr/>
        </p:nvSpPr>
        <p:spPr bwMode="auto">
          <a:xfrm>
            <a:off x="1250631" y="5008847"/>
            <a:ext cx="1904600" cy="340519"/>
          </a:xfrm>
          <a:prstGeom prst="rect">
            <a:avLst/>
          </a:prstGeom>
          <a:noFill/>
          <a:ln w="28575">
            <a:solidFill>
              <a:schemeClr val="tx2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anchor="ctr"/>
          <a:lstStyle/>
          <a:p>
            <a:endParaRPr lang="pt-BR" sz="1500"/>
          </a:p>
        </p:txBody>
      </p:sp>
      <p:sp>
        <p:nvSpPr>
          <p:cNvPr id="237579" name="Text Box 8"/>
          <p:cNvSpPr txBox="1">
            <a:spLocks noChangeArrowheads="1"/>
          </p:cNvSpPr>
          <p:nvPr/>
        </p:nvSpPr>
        <p:spPr bwMode="auto">
          <a:xfrm>
            <a:off x="4996732" y="5132672"/>
            <a:ext cx="1993900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9pPr>
          </a:lstStyle>
          <a:p>
            <a:pPr algn="ctr">
              <a:spcBef>
                <a:spcPct val="50000"/>
              </a:spcBef>
            </a:pPr>
            <a:r>
              <a:rPr lang="pt-BR">
                <a:solidFill>
                  <a:schemeClr val="tx2"/>
                </a:solidFill>
                <a:latin typeface="Arial" pitchFamily="34" charset="0"/>
              </a:rPr>
              <a:t>Clientes</a:t>
            </a:r>
          </a:p>
        </p:txBody>
      </p:sp>
      <p:sp>
        <p:nvSpPr>
          <p:cNvPr id="237580" name="Rectangle 9"/>
          <p:cNvSpPr>
            <a:spLocks noChangeArrowheads="1"/>
          </p:cNvSpPr>
          <p:nvPr/>
        </p:nvSpPr>
        <p:spPr bwMode="auto">
          <a:xfrm>
            <a:off x="4971331" y="5008847"/>
            <a:ext cx="2032000" cy="514350"/>
          </a:xfrm>
          <a:prstGeom prst="rect">
            <a:avLst/>
          </a:prstGeom>
          <a:noFill/>
          <a:ln w="28575">
            <a:solidFill>
              <a:schemeClr val="tx2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anchor="ctr"/>
          <a:lstStyle/>
          <a:p>
            <a:endParaRPr lang="pt-BR" sz="1500"/>
          </a:p>
        </p:txBody>
      </p:sp>
      <p:sp>
        <p:nvSpPr>
          <p:cNvPr id="237581" name="Text Box 10"/>
          <p:cNvSpPr txBox="1">
            <a:spLocks noChangeArrowheads="1"/>
          </p:cNvSpPr>
          <p:nvPr/>
        </p:nvSpPr>
        <p:spPr bwMode="auto">
          <a:xfrm>
            <a:off x="5047533" y="1430778"/>
            <a:ext cx="1993900" cy="6463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9pPr>
          </a:lstStyle>
          <a:p>
            <a:pPr algn="ctr">
              <a:spcBef>
                <a:spcPct val="50000"/>
              </a:spcBef>
            </a:pPr>
            <a:r>
              <a:rPr lang="pt-BR">
                <a:solidFill>
                  <a:schemeClr val="tx2"/>
                </a:solidFill>
                <a:latin typeface="Arial" pitchFamily="34" charset="0"/>
              </a:rPr>
              <a:t>Investidor Qualificado</a:t>
            </a:r>
          </a:p>
        </p:txBody>
      </p:sp>
      <p:sp>
        <p:nvSpPr>
          <p:cNvPr id="237582" name="Rectangle 11"/>
          <p:cNvSpPr>
            <a:spLocks noChangeArrowheads="1"/>
          </p:cNvSpPr>
          <p:nvPr/>
        </p:nvSpPr>
        <p:spPr bwMode="auto">
          <a:xfrm>
            <a:off x="5022132" y="1506976"/>
            <a:ext cx="2032000" cy="514350"/>
          </a:xfrm>
          <a:prstGeom prst="rect">
            <a:avLst/>
          </a:prstGeom>
          <a:noFill/>
          <a:ln w="28575">
            <a:solidFill>
              <a:schemeClr val="tx2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anchor="ctr"/>
          <a:lstStyle/>
          <a:p>
            <a:endParaRPr lang="pt-BR" sz="1500"/>
          </a:p>
        </p:txBody>
      </p:sp>
      <p:sp>
        <p:nvSpPr>
          <p:cNvPr id="237583" name="Text Box 12"/>
          <p:cNvSpPr txBox="1">
            <a:spLocks noChangeArrowheads="1"/>
          </p:cNvSpPr>
          <p:nvPr/>
        </p:nvSpPr>
        <p:spPr bwMode="auto">
          <a:xfrm>
            <a:off x="5004048" y="4162871"/>
            <a:ext cx="1993900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9pPr>
          </a:lstStyle>
          <a:p>
            <a:pPr algn="ctr">
              <a:spcBef>
                <a:spcPct val="50000"/>
              </a:spcBef>
            </a:pPr>
            <a:r>
              <a:rPr lang="pt-BR" dirty="0">
                <a:solidFill>
                  <a:schemeClr val="tx2"/>
                </a:solidFill>
                <a:latin typeface="Arial" pitchFamily="34" charset="0"/>
              </a:rPr>
              <a:t>Cedente (</a:t>
            </a:r>
            <a:r>
              <a:rPr lang="pt-BR" dirty="0" err="1">
                <a:solidFill>
                  <a:schemeClr val="tx2"/>
                </a:solidFill>
                <a:latin typeface="Arial" pitchFamily="34" charset="0"/>
              </a:rPr>
              <a:t>MdB</a:t>
            </a:r>
            <a:r>
              <a:rPr lang="pt-BR" dirty="0">
                <a:solidFill>
                  <a:schemeClr val="tx2"/>
                </a:solidFill>
                <a:latin typeface="Arial" pitchFamily="34" charset="0"/>
              </a:rPr>
              <a:t>)</a:t>
            </a:r>
          </a:p>
        </p:txBody>
      </p:sp>
      <p:sp>
        <p:nvSpPr>
          <p:cNvPr id="237584" name="Rectangle 13"/>
          <p:cNvSpPr>
            <a:spLocks noChangeArrowheads="1"/>
          </p:cNvSpPr>
          <p:nvPr/>
        </p:nvSpPr>
        <p:spPr bwMode="auto">
          <a:xfrm>
            <a:off x="4971331" y="4116826"/>
            <a:ext cx="2032000" cy="428673"/>
          </a:xfrm>
          <a:prstGeom prst="rect">
            <a:avLst/>
          </a:prstGeom>
          <a:noFill/>
          <a:ln w="28575">
            <a:solidFill>
              <a:schemeClr val="tx2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anchor="ctr"/>
          <a:lstStyle/>
          <a:p>
            <a:endParaRPr lang="pt-BR" sz="1500"/>
          </a:p>
        </p:txBody>
      </p:sp>
      <p:sp>
        <p:nvSpPr>
          <p:cNvPr id="237585" name="Text Box 14"/>
          <p:cNvSpPr txBox="1">
            <a:spLocks noChangeArrowheads="1"/>
          </p:cNvSpPr>
          <p:nvPr/>
        </p:nvSpPr>
        <p:spPr bwMode="auto">
          <a:xfrm>
            <a:off x="2132883" y="1561745"/>
            <a:ext cx="1993900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9pPr>
          </a:lstStyle>
          <a:p>
            <a:pPr algn="ctr">
              <a:spcBef>
                <a:spcPct val="50000"/>
              </a:spcBef>
            </a:pPr>
            <a:r>
              <a:rPr lang="pt-BR">
                <a:solidFill>
                  <a:schemeClr val="tx2"/>
                </a:solidFill>
                <a:latin typeface="Arial" pitchFamily="34" charset="0"/>
              </a:rPr>
              <a:t>Mercado</a:t>
            </a:r>
          </a:p>
        </p:txBody>
      </p:sp>
      <p:sp>
        <p:nvSpPr>
          <p:cNvPr id="237586" name="Rectangle 15"/>
          <p:cNvSpPr>
            <a:spLocks noChangeArrowheads="1"/>
          </p:cNvSpPr>
          <p:nvPr/>
        </p:nvSpPr>
        <p:spPr bwMode="auto">
          <a:xfrm>
            <a:off x="2088432" y="1495070"/>
            <a:ext cx="2032000" cy="514350"/>
          </a:xfrm>
          <a:prstGeom prst="rect">
            <a:avLst/>
          </a:prstGeom>
          <a:noFill/>
          <a:ln w="28575">
            <a:solidFill>
              <a:schemeClr val="tx2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anchor="ctr"/>
          <a:lstStyle/>
          <a:p>
            <a:endParaRPr lang="pt-BR" sz="1500"/>
          </a:p>
        </p:txBody>
      </p:sp>
      <p:sp>
        <p:nvSpPr>
          <p:cNvPr id="1102864" name="Text Box 16"/>
          <p:cNvSpPr txBox="1">
            <a:spLocks noChangeArrowheads="1"/>
          </p:cNvSpPr>
          <p:nvPr/>
        </p:nvSpPr>
        <p:spPr bwMode="auto">
          <a:xfrm>
            <a:off x="1389933" y="2109434"/>
            <a:ext cx="1993900" cy="3231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9pPr>
          </a:lstStyle>
          <a:p>
            <a:pPr algn="ctr">
              <a:spcBef>
                <a:spcPct val="50000"/>
              </a:spcBef>
            </a:pPr>
            <a:r>
              <a:rPr lang="pt-BR" sz="1500">
                <a:solidFill>
                  <a:schemeClr val="tx2"/>
                </a:solidFill>
                <a:latin typeface="Arial" pitchFamily="34" charset="0"/>
              </a:rPr>
              <a:t>Outros Ativos</a:t>
            </a:r>
          </a:p>
        </p:txBody>
      </p:sp>
      <p:sp>
        <p:nvSpPr>
          <p:cNvPr id="1102865" name="Text Box 17"/>
          <p:cNvSpPr txBox="1">
            <a:spLocks noChangeArrowheads="1"/>
          </p:cNvSpPr>
          <p:nvPr/>
        </p:nvSpPr>
        <p:spPr bwMode="auto">
          <a:xfrm>
            <a:off x="3224850" y="2497578"/>
            <a:ext cx="710704" cy="3231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9pPr>
          </a:lstStyle>
          <a:p>
            <a:pPr algn="ctr">
              <a:spcBef>
                <a:spcPct val="50000"/>
              </a:spcBef>
            </a:pPr>
            <a:r>
              <a:rPr lang="pt-BR" sz="1500" dirty="0">
                <a:solidFill>
                  <a:schemeClr val="tx2"/>
                </a:solidFill>
                <a:latin typeface="Arial" pitchFamily="34" charset="0"/>
              </a:rPr>
              <a:t>R$</a:t>
            </a:r>
          </a:p>
        </p:txBody>
      </p:sp>
      <p:sp>
        <p:nvSpPr>
          <p:cNvPr id="1102866" name="Text Box 18"/>
          <p:cNvSpPr txBox="1">
            <a:spLocks noChangeArrowheads="1"/>
          </p:cNvSpPr>
          <p:nvPr/>
        </p:nvSpPr>
        <p:spPr bwMode="auto">
          <a:xfrm>
            <a:off x="6514383" y="2070141"/>
            <a:ext cx="1993900" cy="5539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9pPr>
          </a:lstStyle>
          <a:p>
            <a:pPr algn="ctr">
              <a:spcBef>
                <a:spcPct val="50000"/>
              </a:spcBef>
            </a:pPr>
            <a:r>
              <a:rPr lang="pt-BR" sz="1500" dirty="0">
                <a:solidFill>
                  <a:schemeClr val="tx2"/>
                </a:solidFill>
                <a:latin typeface="Arial" pitchFamily="34" charset="0"/>
              </a:rPr>
              <a:t>Aplicação de Quotas Seniores</a:t>
            </a:r>
          </a:p>
        </p:txBody>
      </p:sp>
      <p:sp>
        <p:nvSpPr>
          <p:cNvPr id="1102867" name="Text Box 19"/>
          <p:cNvSpPr txBox="1">
            <a:spLocks noChangeArrowheads="1"/>
          </p:cNvSpPr>
          <p:nvPr/>
        </p:nvSpPr>
        <p:spPr bwMode="auto">
          <a:xfrm>
            <a:off x="5760133" y="4644135"/>
            <a:ext cx="1549400" cy="3231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9pPr>
          </a:lstStyle>
          <a:p>
            <a:pPr algn="ctr">
              <a:spcBef>
                <a:spcPct val="50000"/>
              </a:spcBef>
            </a:pPr>
            <a:r>
              <a:rPr lang="pt-BR" sz="1500" dirty="0">
                <a:solidFill>
                  <a:schemeClr val="tx2"/>
                </a:solidFill>
                <a:latin typeface="Arial" pitchFamily="34" charset="0"/>
              </a:rPr>
              <a:t>Produtos</a:t>
            </a:r>
          </a:p>
        </p:txBody>
      </p:sp>
      <p:sp>
        <p:nvSpPr>
          <p:cNvPr id="1102868" name="Text Box 20"/>
          <p:cNvSpPr txBox="1">
            <a:spLocks noChangeArrowheads="1"/>
          </p:cNvSpPr>
          <p:nvPr/>
        </p:nvSpPr>
        <p:spPr bwMode="auto">
          <a:xfrm>
            <a:off x="4857031" y="2155868"/>
            <a:ext cx="711200" cy="3231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9pPr>
          </a:lstStyle>
          <a:p>
            <a:pPr algn="ctr">
              <a:spcBef>
                <a:spcPct val="50000"/>
              </a:spcBef>
            </a:pPr>
            <a:r>
              <a:rPr lang="pt-BR" sz="1500" dirty="0">
                <a:solidFill>
                  <a:schemeClr val="tx2"/>
                </a:solidFill>
                <a:latin typeface="Arial" pitchFamily="34" charset="0"/>
              </a:rPr>
              <a:t>R$</a:t>
            </a:r>
          </a:p>
        </p:txBody>
      </p:sp>
      <p:sp>
        <p:nvSpPr>
          <p:cNvPr id="1102869" name="Text Box 21"/>
          <p:cNvSpPr txBox="1">
            <a:spLocks noChangeArrowheads="1"/>
          </p:cNvSpPr>
          <p:nvPr/>
        </p:nvSpPr>
        <p:spPr bwMode="auto">
          <a:xfrm>
            <a:off x="1496658" y="4665948"/>
            <a:ext cx="642573" cy="3231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9pPr>
          </a:lstStyle>
          <a:p>
            <a:pPr algn="ctr">
              <a:spcBef>
                <a:spcPct val="50000"/>
              </a:spcBef>
            </a:pPr>
            <a:r>
              <a:rPr lang="pt-BR" sz="1500" dirty="0">
                <a:solidFill>
                  <a:schemeClr val="tx2"/>
                </a:solidFill>
                <a:latin typeface="Arial" pitchFamily="34" charset="0"/>
              </a:rPr>
              <a:t>R$</a:t>
            </a:r>
          </a:p>
        </p:txBody>
      </p:sp>
      <p:sp>
        <p:nvSpPr>
          <p:cNvPr id="1102870" name="Text Box 22"/>
          <p:cNvSpPr txBox="1">
            <a:spLocks noChangeArrowheads="1"/>
          </p:cNvSpPr>
          <p:nvPr/>
        </p:nvSpPr>
        <p:spPr bwMode="auto">
          <a:xfrm>
            <a:off x="3485432" y="5000514"/>
            <a:ext cx="603515" cy="3231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9pPr>
          </a:lstStyle>
          <a:p>
            <a:pPr algn="ctr">
              <a:spcBef>
                <a:spcPct val="50000"/>
              </a:spcBef>
            </a:pPr>
            <a:r>
              <a:rPr lang="pt-BR" sz="1500" dirty="0">
                <a:solidFill>
                  <a:schemeClr val="tx2"/>
                </a:solidFill>
                <a:latin typeface="Arial" pitchFamily="34" charset="0"/>
              </a:rPr>
              <a:t>R$</a:t>
            </a:r>
          </a:p>
        </p:txBody>
      </p:sp>
      <p:sp>
        <p:nvSpPr>
          <p:cNvPr id="1102871" name="Text Box 23"/>
          <p:cNvSpPr txBox="1">
            <a:spLocks noChangeArrowheads="1"/>
          </p:cNvSpPr>
          <p:nvPr/>
        </p:nvSpPr>
        <p:spPr bwMode="auto">
          <a:xfrm>
            <a:off x="7155732" y="3544135"/>
            <a:ext cx="1925769" cy="5539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9pPr>
          </a:lstStyle>
          <a:p>
            <a:pPr algn="ctr">
              <a:spcBef>
                <a:spcPct val="50000"/>
              </a:spcBef>
            </a:pPr>
            <a:r>
              <a:rPr lang="pt-BR" sz="1500" dirty="0">
                <a:solidFill>
                  <a:schemeClr val="tx2"/>
                </a:solidFill>
                <a:latin typeface="Arial" pitchFamily="34" charset="0"/>
              </a:rPr>
              <a:t>R$ e/ou Quotas Subordinadas</a:t>
            </a:r>
          </a:p>
        </p:txBody>
      </p:sp>
      <p:sp>
        <p:nvSpPr>
          <p:cNvPr id="1102873" name="Text Box 25"/>
          <p:cNvSpPr txBox="1">
            <a:spLocks noChangeArrowheads="1"/>
          </p:cNvSpPr>
          <p:nvPr/>
        </p:nvSpPr>
        <p:spPr bwMode="auto">
          <a:xfrm>
            <a:off x="3047282" y="4363285"/>
            <a:ext cx="1282700" cy="5539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9pPr>
          </a:lstStyle>
          <a:p>
            <a:pPr algn="ctr">
              <a:spcBef>
                <a:spcPct val="50000"/>
              </a:spcBef>
            </a:pPr>
            <a:r>
              <a:rPr lang="pt-BR" sz="1500" dirty="0">
                <a:solidFill>
                  <a:schemeClr val="tx2"/>
                </a:solidFill>
                <a:latin typeface="Arial" pitchFamily="34" charset="0"/>
              </a:rPr>
              <a:t>Depósito em R$ conta</a:t>
            </a:r>
          </a:p>
        </p:txBody>
      </p:sp>
      <p:sp>
        <p:nvSpPr>
          <p:cNvPr id="237596" name="Text Box 26"/>
          <p:cNvSpPr txBox="1">
            <a:spLocks noChangeArrowheads="1"/>
          </p:cNvSpPr>
          <p:nvPr/>
        </p:nvSpPr>
        <p:spPr bwMode="auto">
          <a:xfrm>
            <a:off x="5504733" y="4668089"/>
            <a:ext cx="393700" cy="3231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9pPr>
          </a:lstStyle>
          <a:p>
            <a:pPr algn="ctr">
              <a:spcBef>
                <a:spcPct val="50000"/>
              </a:spcBef>
            </a:pPr>
            <a:r>
              <a:rPr lang="pt-BR" sz="1500" dirty="0">
                <a:solidFill>
                  <a:schemeClr val="tx2"/>
                </a:solidFill>
                <a:latin typeface="Arial" pitchFamily="34" charset="0"/>
              </a:rPr>
              <a:t>1</a:t>
            </a:r>
          </a:p>
        </p:txBody>
      </p:sp>
      <p:sp>
        <p:nvSpPr>
          <p:cNvPr id="237597" name="Oval 27"/>
          <p:cNvSpPr>
            <a:spLocks noChangeArrowheads="1"/>
          </p:cNvSpPr>
          <p:nvPr/>
        </p:nvSpPr>
        <p:spPr bwMode="auto">
          <a:xfrm>
            <a:off x="5517432" y="4644135"/>
            <a:ext cx="355600" cy="323850"/>
          </a:xfrm>
          <a:prstGeom prst="ellipse">
            <a:avLst/>
          </a:prstGeom>
          <a:noFill/>
          <a:ln w="28575">
            <a:solidFill>
              <a:schemeClr val="tx2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anchor="ctr"/>
          <a:lstStyle/>
          <a:p>
            <a:endParaRPr lang="pt-BR" sz="1500"/>
          </a:p>
        </p:txBody>
      </p:sp>
      <p:sp>
        <p:nvSpPr>
          <p:cNvPr id="237598" name="Text Box 28"/>
          <p:cNvSpPr txBox="1">
            <a:spLocks noChangeArrowheads="1"/>
          </p:cNvSpPr>
          <p:nvPr/>
        </p:nvSpPr>
        <p:spPr bwMode="auto">
          <a:xfrm>
            <a:off x="7779621" y="3220287"/>
            <a:ext cx="393700" cy="3231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9pPr>
          </a:lstStyle>
          <a:p>
            <a:pPr algn="ctr">
              <a:spcBef>
                <a:spcPct val="50000"/>
              </a:spcBef>
            </a:pPr>
            <a:r>
              <a:rPr lang="pt-BR" sz="1500" dirty="0">
                <a:solidFill>
                  <a:schemeClr val="tx2"/>
                </a:solidFill>
                <a:latin typeface="Arial" pitchFamily="34" charset="0"/>
              </a:rPr>
              <a:t>2</a:t>
            </a:r>
          </a:p>
        </p:txBody>
      </p:sp>
      <p:sp>
        <p:nvSpPr>
          <p:cNvPr id="237599" name="Oval 29"/>
          <p:cNvSpPr>
            <a:spLocks noChangeArrowheads="1"/>
          </p:cNvSpPr>
          <p:nvPr/>
        </p:nvSpPr>
        <p:spPr bwMode="auto">
          <a:xfrm>
            <a:off x="7792320" y="3204808"/>
            <a:ext cx="355600" cy="323850"/>
          </a:xfrm>
          <a:prstGeom prst="ellipse">
            <a:avLst/>
          </a:prstGeom>
          <a:noFill/>
          <a:ln w="28575">
            <a:solidFill>
              <a:schemeClr val="tx2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anchor="ctr"/>
          <a:lstStyle/>
          <a:p>
            <a:endParaRPr lang="pt-BR" sz="1500"/>
          </a:p>
        </p:txBody>
      </p:sp>
      <p:sp>
        <p:nvSpPr>
          <p:cNvPr id="237600" name="Text Box 30"/>
          <p:cNvSpPr txBox="1">
            <a:spLocks noChangeArrowheads="1"/>
          </p:cNvSpPr>
          <p:nvPr/>
        </p:nvSpPr>
        <p:spPr bwMode="auto">
          <a:xfrm>
            <a:off x="5796832" y="2146343"/>
            <a:ext cx="393700" cy="3231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9pPr>
          </a:lstStyle>
          <a:p>
            <a:pPr algn="ctr">
              <a:spcBef>
                <a:spcPct val="50000"/>
              </a:spcBef>
            </a:pPr>
            <a:r>
              <a:rPr lang="pt-BR" sz="1500" dirty="0">
                <a:solidFill>
                  <a:schemeClr val="tx2"/>
                </a:solidFill>
                <a:latin typeface="Arial" pitchFamily="34" charset="0"/>
              </a:rPr>
              <a:t>3</a:t>
            </a:r>
          </a:p>
        </p:txBody>
      </p:sp>
      <p:sp>
        <p:nvSpPr>
          <p:cNvPr id="237601" name="Oval 31"/>
          <p:cNvSpPr>
            <a:spLocks noChangeArrowheads="1"/>
          </p:cNvSpPr>
          <p:nvPr/>
        </p:nvSpPr>
        <p:spPr bwMode="auto">
          <a:xfrm>
            <a:off x="5809531" y="2130863"/>
            <a:ext cx="355600" cy="323850"/>
          </a:xfrm>
          <a:prstGeom prst="ellipse">
            <a:avLst/>
          </a:prstGeom>
          <a:noFill/>
          <a:ln w="28575">
            <a:solidFill>
              <a:schemeClr val="tx2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anchor="ctr"/>
          <a:lstStyle/>
          <a:p>
            <a:endParaRPr lang="pt-BR" sz="1500"/>
          </a:p>
        </p:txBody>
      </p:sp>
      <p:sp>
        <p:nvSpPr>
          <p:cNvPr id="237602" name="Text Box 32"/>
          <p:cNvSpPr txBox="1">
            <a:spLocks noChangeArrowheads="1"/>
          </p:cNvSpPr>
          <p:nvPr/>
        </p:nvSpPr>
        <p:spPr bwMode="auto">
          <a:xfrm>
            <a:off x="3802932" y="2477337"/>
            <a:ext cx="393700" cy="3231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9pPr>
          </a:lstStyle>
          <a:p>
            <a:pPr algn="ctr">
              <a:spcBef>
                <a:spcPct val="50000"/>
              </a:spcBef>
            </a:pPr>
            <a:r>
              <a:rPr lang="pt-BR" sz="1500">
                <a:solidFill>
                  <a:schemeClr val="tx2"/>
                </a:solidFill>
                <a:latin typeface="Arial" pitchFamily="34" charset="0"/>
              </a:rPr>
              <a:t>4</a:t>
            </a:r>
          </a:p>
        </p:txBody>
      </p:sp>
      <p:sp>
        <p:nvSpPr>
          <p:cNvPr id="237603" name="Oval 33"/>
          <p:cNvSpPr>
            <a:spLocks noChangeArrowheads="1"/>
          </p:cNvSpPr>
          <p:nvPr/>
        </p:nvSpPr>
        <p:spPr bwMode="auto">
          <a:xfrm>
            <a:off x="3815631" y="2461858"/>
            <a:ext cx="355600" cy="323850"/>
          </a:xfrm>
          <a:prstGeom prst="ellipse">
            <a:avLst/>
          </a:prstGeom>
          <a:noFill/>
          <a:ln w="28575">
            <a:solidFill>
              <a:schemeClr val="tx2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anchor="ctr"/>
          <a:lstStyle/>
          <a:p>
            <a:endParaRPr lang="pt-BR" sz="1500"/>
          </a:p>
        </p:txBody>
      </p:sp>
      <p:sp>
        <p:nvSpPr>
          <p:cNvPr id="237604" name="Text Box 36"/>
          <p:cNvSpPr txBox="1">
            <a:spLocks noChangeArrowheads="1"/>
          </p:cNvSpPr>
          <p:nvPr/>
        </p:nvSpPr>
        <p:spPr bwMode="auto">
          <a:xfrm>
            <a:off x="3416871" y="5307685"/>
            <a:ext cx="558304" cy="30008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9pPr>
          </a:lstStyle>
          <a:p>
            <a:pPr algn="ctr">
              <a:spcBef>
                <a:spcPct val="50000"/>
              </a:spcBef>
            </a:pPr>
            <a:r>
              <a:rPr lang="pt-BR" sz="1350" dirty="0">
                <a:solidFill>
                  <a:schemeClr val="tx2"/>
                </a:solidFill>
                <a:latin typeface="Arial" pitchFamily="34" charset="0"/>
              </a:rPr>
              <a:t>5a</a:t>
            </a:r>
          </a:p>
        </p:txBody>
      </p:sp>
      <p:sp>
        <p:nvSpPr>
          <p:cNvPr id="237605" name="Oval 37"/>
          <p:cNvSpPr>
            <a:spLocks noChangeArrowheads="1"/>
          </p:cNvSpPr>
          <p:nvPr/>
        </p:nvSpPr>
        <p:spPr bwMode="auto">
          <a:xfrm>
            <a:off x="3485431" y="5292207"/>
            <a:ext cx="355600" cy="323850"/>
          </a:xfrm>
          <a:prstGeom prst="ellipse">
            <a:avLst/>
          </a:prstGeom>
          <a:noFill/>
          <a:ln w="28575">
            <a:solidFill>
              <a:schemeClr val="tx2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anchor="ctr"/>
          <a:lstStyle/>
          <a:p>
            <a:endParaRPr lang="pt-BR" sz="1350"/>
          </a:p>
        </p:txBody>
      </p:sp>
      <p:sp>
        <p:nvSpPr>
          <p:cNvPr id="1102888" name="Text Box 40"/>
          <p:cNvSpPr txBox="1">
            <a:spLocks noChangeArrowheads="1"/>
          </p:cNvSpPr>
          <p:nvPr/>
        </p:nvSpPr>
        <p:spPr bwMode="auto">
          <a:xfrm>
            <a:off x="5441232" y="2861909"/>
            <a:ext cx="1240003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9pPr>
          </a:lstStyle>
          <a:p>
            <a:pPr algn="ctr">
              <a:spcBef>
                <a:spcPct val="50000"/>
              </a:spcBef>
            </a:pPr>
            <a:r>
              <a:rPr lang="pt-BR" b="1" dirty="0">
                <a:solidFill>
                  <a:schemeClr val="tx2"/>
                </a:solidFill>
                <a:latin typeface="Arial" pitchFamily="34" charset="0"/>
              </a:rPr>
              <a:t>Fundo</a:t>
            </a:r>
          </a:p>
        </p:txBody>
      </p:sp>
      <p:sp>
        <p:nvSpPr>
          <p:cNvPr id="1102889" name="Rectangle 41"/>
          <p:cNvSpPr>
            <a:spLocks noChangeArrowheads="1"/>
          </p:cNvSpPr>
          <p:nvPr/>
        </p:nvSpPr>
        <p:spPr bwMode="auto">
          <a:xfrm>
            <a:off x="5022132" y="2585683"/>
            <a:ext cx="1943100" cy="895350"/>
          </a:xfrm>
          <a:prstGeom prst="rect">
            <a:avLst/>
          </a:prstGeom>
          <a:noFill/>
          <a:ln w="28575">
            <a:solidFill>
              <a:schemeClr val="tx2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anchor="ctr"/>
          <a:lstStyle/>
          <a:p>
            <a:endParaRPr lang="pt-BR" sz="1500"/>
          </a:p>
        </p:txBody>
      </p:sp>
      <p:sp>
        <p:nvSpPr>
          <p:cNvPr id="1102890" name="Freeform 42"/>
          <p:cNvSpPr>
            <a:spLocks/>
          </p:cNvSpPr>
          <p:nvPr/>
        </p:nvSpPr>
        <p:spPr bwMode="auto">
          <a:xfrm>
            <a:off x="5625381" y="2654740"/>
            <a:ext cx="857251" cy="189309"/>
          </a:xfrm>
          <a:custGeom>
            <a:avLst/>
            <a:gdLst>
              <a:gd name="T0" fmla="*/ 0 w 540"/>
              <a:gd name="T1" fmla="*/ 2147483647 h 159"/>
              <a:gd name="T2" fmla="*/ 2147483647 w 540"/>
              <a:gd name="T3" fmla="*/ 2147483647 h 159"/>
              <a:gd name="T4" fmla="*/ 2147483647 w 540"/>
              <a:gd name="T5" fmla="*/ 2147483647 h 159"/>
              <a:gd name="T6" fmla="*/ 2147483647 w 540"/>
              <a:gd name="T7" fmla="*/ 2147483647 h 159"/>
              <a:gd name="T8" fmla="*/ 2147483647 w 540"/>
              <a:gd name="T9" fmla="*/ 2147483647 h 159"/>
              <a:gd name="T10" fmla="*/ 2147483647 w 540"/>
              <a:gd name="T11" fmla="*/ 2147483647 h 159"/>
              <a:gd name="T12" fmla="*/ 2147483647 w 540"/>
              <a:gd name="T13" fmla="*/ 2147483647 h 159"/>
              <a:gd name="T14" fmla="*/ 2147483647 w 540"/>
              <a:gd name="T15" fmla="*/ 2147483647 h 159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540"/>
              <a:gd name="T25" fmla="*/ 0 h 159"/>
              <a:gd name="T26" fmla="*/ 540 w 540"/>
              <a:gd name="T27" fmla="*/ 159 h 159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540" h="159">
                <a:moveTo>
                  <a:pt x="0" y="98"/>
                </a:moveTo>
                <a:cubicBezTo>
                  <a:pt x="22" y="75"/>
                  <a:pt x="45" y="53"/>
                  <a:pt x="75" y="38"/>
                </a:cubicBezTo>
                <a:cubicBezTo>
                  <a:pt x="105" y="23"/>
                  <a:pt x="153" y="12"/>
                  <a:pt x="183" y="6"/>
                </a:cubicBezTo>
                <a:cubicBezTo>
                  <a:pt x="213" y="0"/>
                  <a:pt x="230" y="1"/>
                  <a:pt x="254" y="2"/>
                </a:cubicBezTo>
                <a:cubicBezTo>
                  <a:pt x="278" y="3"/>
                  <a:pt x="302" y="7"/>
                  <a:pt x="327" y="14"/>
                </a:cubicBezTo>
                <a:cubicBezTo>
                  <a:pt x="352" y="21"/>
                  <a:pt x="379" y="32"/>
                  <a:pt x="404" y="47"/>
                </a:cubicBezTo>
                <a:cubicBezTo>
                  <a:pt x="429" y="62"/>
                  <a:pt x="454" y="83"/>
                  <a:pt x="477" y="102"/>
                </a:cubicBezTo>
                <a:cubicBezTo>
                  <a:pt x="500" y="121"/>
                  <a:pt x="520" y="140"/>
                  <a:pt x="540" y="159"/>
                </a:cubicBezTo>
              </a:path>
            </a:pathLst>
          </a:custGeom>
          <a:noFill/>
          <a:ln w="76200" cmpd="sng">
            <a:solidFill>
              <a:schemeClr val="tx2"/>
            </a:solidFill>
            <a:round/>
            <a:headEnd type="none" w="med" len="med"/>
            <a:tailEnd type="triangle" w="lg" len="med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/>
          <a:p>
            <a:endParaRPr lang="pt-BR" sz="1350"/>
          </a:p>
        </p:txBody>
      </p:sp>
      <p:sp>
        <p:nvSpPr>
          <p:cNvPr id="1102891" name="Freeform 43"/>
          <p:cNvSpPr>
            <a:spLocks/>
          </p:cNvSpPr>
          <p:nvPr/>
        </p:nvSpPr>
        <p:spPr bwMode="auto">
          <a:xfrm>
            <a:off x="5439646" y="2680934"/>
            <a:ext cx="319087" cy="600075"/>
          </a:xfrm>
          <a:custGeom>
            <a:avLst/>
            <a:gdLst>
              <a:gd name="T0" fmla="*/ 2147483647 w 171"/>
              <a:gd name="T1" fmla="*/ 2147483647 h 517"/>
              <a:gd name="T2" fmla="*/ 2147483647 w 171"/>
              <a:gd name="T3" fmla="*/ 2147483647 h 517"/>
              <a:gd name="T4" fmla="*/ 2147483647 w 171"/>
              <a:gd name="T5" fmla="*/ 2147483647 h 517"/>
              <a:gd name="T6" fmla="*/ 2147483647 w 171"/>
              <a:gd name="T7" fmla="*/ 2147483647 h 517"/>
              <a:gd name="T8" fmla="*/ 2147483647 w 171"/>
              <a:gd name="T9" fmla="*/ 2147483647 h 517"/>
              <a:gd name="T10" fmla="*/ 2147483647 w 171"/>
              <a:gd name="T11" fmla="*/ 2147483647 h 517"/>
              <a:gd name="T12" fmla="*/ 2147483647 w 171"/>
              <a:gd name="T13" fmla="*/ 2147483647 h 517"/>
              <a:gd name="T14" fmla="*/ 2147483647 w 171"/>
              <a:gd name="T15" fmla="*/ 2147483647 h 517"/>
              <a:gd name="T16" fmla="*/ 2147483647 w 171"/>
              <a:gd name="T17" fmla="*/ 0 h 517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w 171"/>
              <a:gd name="T28" fmla="*/ 0 h 517"/>
              <a:gd name="T29" fmla="*/ 171 w 171"/>
              <a:gd name="T30" fmla="*/ 517 h 517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T27" t="T28" r="T29" b="T30"/>
            <a:pathLst>
              <a:path w="171" h="517">
                <a:moveTo>
                  <a:pt x="86" y="517"/>
                </a:moveTo>
                <a:cubicBezTo>
                  <a:pt x="69" y="497"/>
                  <a:pt x="53" y="478"/>
                  <a:pt x="41" y="456"/>
                </a:cubicBezTo>
                <a:cubicBezTo>
                  <a:pt x="29" y="434"/>
                  <a:pt x="18" y="403"/>
                  <a:pt x="12" y="384"/>
                </a:cubicBezTo>
                <a:cubicBezTo>
                  <a:pt x="6" y="365"/>
                  <a:pt x="7" y="355"/>
                  <a:pt x="6" y="340"/>
                </a:cubicBezTo>
                <a:cubicBezTo>
                  <a:pt x="5" y="325"/>
                  <a:pt x="3" y="306"/>
                  <a:pt x="3" y="292"/>
                </a:cubicBezTo>
                <a:cubicBezTo>
                  <a:pt x="3" y="278"/>
                  <a:pt x="0" y="276"/>
                  <a:pt x="6" y="253"/>
                </a:cubicBezTo>
                <a:cubicBezTo>
                  <a:pt x="12" y="230"/>
                  <a:pt x="23" y="183"/>
                  <a:pt x="39" y="151"/>
                </a:cubicBezTo>
                <a:cubicBezTo>
                  <a:pt x="55" y="119"/>
                  <a:pt x="83" y="86"/>
                  <a:pt x="105" y="61"/>
                </a:cubicBezTo>
                <a:cubicBezTo>
                  <a:pt x="127" y="36"/>
                  <a:pt x="149" y="18"/>
                  <a:pt x="171" y="0"/>
                </a:cubicBezTo>
              </a:path>
            </a:pathLst>
          </a:custGeom>
          <a:noFill/>
          <a:ln w="76200" cmpd="sng">
            <a:solidFill>
              <a:schemeClr val="tx2"/>
            </a:solidFill>
            <a:round/>
            <a:headEnd type="none" w="med" len="med"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/>
          <a:p>
            <a:endParaRPr lang="pt-BR" sz="1350"/>
          </a:p>
        </p:txBody>
      </p:sp>
      <p:sp>
        <p:nvSpPr>
          <p:cNvPr id="1102892" name="Freeform 44"/>
          <p:cNvSpPr>
            <a:spLocks/>
          </p:cNvSpPr>
          <p:nvPr/>
        </p:nvSpPr>
        <p:spPr bwMode="auto">
          <a:xfrm flipH="1" flipV="1">
            <a:off x="5479332" y="3232192"/>
            <a:ext cx="857251" cy="189310"/>
          </a:xfrm>
          <a:custGeom>
            <a:avLst/>
            <a:gdLst>
              <a:gd name="T0" fmla="*/ 0 w 540"/>
              <a:gd name="T1" fmla="*/ 2147483647 h 159"/>
              <a:gd name="T2" fmla="*/ 2147483647 w 540"/>
              <a:gd name="T3" fmla="*/ 2147483647 h 159"/>
              <a:gd name="T4" fmla="*/ 2147483647 w 540"/>
              <a:gd name="T5" fmla="*/ 2147483647 h 159"/>
              <a:gd name="T6" fmla="*/ 2147483647 w 540"/>
              <a:gd name="T7" fmla="*/ 2147483647 h 159"/>
              <a:gd name="T8" fmla="*/ 2147483647 w 540"/>
              <a:gd name="T9" fmla="*/ 2147483647 h 159"/>
              <a:gd name="T10" fmla="*/ 2147483647 w 540"/>
              <a:gd name="T11" fmla="*/ 2147483647 h 159"/>
              <a:gd name="T12" fmla="*/ 2147483647 w 540"/>
              <a:gd name="T13" fmla="*/ 2147483647 h 159"/>
              <a:gd name="T14" fmla="*/ 2147483647 w 540"/>
              <a:gd name="T15" fmla="*/ 2147483647 h 159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540"/>
              <a:gd name="T25" fmla="*/ 0 h 159"/>
              <a:gd name="T26" fmla="*/ 540 w 540"/>
              <a:gd name="T27" fmla="*/ 159 h 159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540" h="159">
                <a:moveTo>
                  <a:pt x="0" y="98"/>
                </a:moveTo>
                <a:cubicBezTo>
                  <a:pt x="22" y="75"/>
                  <a:pt x="45" y="53"/>
                  <a:pt x="75" y="38"/>
                </a:cubicBezTo>
                <a:cubicBezTo>
                  <a:pt x="105" y="23"/>
                  <a:pt x="153" y="12"/>
                  <a:pt x="183" y="6"/>
                </a:cubicBezTo>
                <a:cubicBezTo>
                  <a:pt x="213" y="0"/>
                  <a:pt x="230" y="1"/>
                  <a:pt x="254" y="2"/>
                </a:cubicBezTo>
                <a:cubicBezTo>
                  <a:pt x="278" y="3"/>
                  <a:pt x="302" y="7"/>
                  <a:pt x="327" y="14"/>
                </a:cubicBezTo>
                <a:cubicBezTo>
                  <a:pt x="352" y="21"/>
                  <a:pt x="379" y="32"/>
                  <a:pt x="404" y="47"/>
                </a:cubicBezTo>
                <a:cubicBezTo>
                  <a:pt x="429" y="62"/>
                  <a:pt x="454" y="83"/>
                  <a:pt x="477" y="102"/>
                </a:cubicBezTo>
                <a:cubicBezTo>
                  <a:pt x="500" y="121"/>
                  <a:pt x="520" y="140"/>
                  <a:pt x="540" y="159"/>
                </a:cubicBezTo>
              </a:path>
            </a:pathLst>
          </a:custGeom>
          <a:noFill/>
          <a:ln w="76200" cmpd="sng">
            <a:solidFill>
              <a:schemeClr val="tx2"/>
            </a:solidFill>
            <a:round/>
            <a:headEnd type="none" w="med" len="med"/>
            <a:tailEnd type="triangle" w="lg" len="med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/>
          <a:p>
            <a:endParaRPr lang="pt-BR" sz="1350"/>
          </a:p>
        </p:txBody>
      </p:sp>
      <p:sp>
        <p:nvSpPr>
          <p:cNvPr id="237611" name="Freeform 2"/>
          <p:cNvSpPr>
            <a:spLocks/>
          </p:cNvSpPr>
          <p:nvPr/>
        </p:nvSpPr>
        <p:spPr bwMode="auto">
          <a:xfrm>
            <a:off x="6390557" y="2783328"/>
            <a:ext cx="146051" cy="260747"/>
          </a:xfrm>
          <a:custGeom>
            <a:avLst/>
            <a:gdLst>
              <a:gd name="T0" fmla="*/ 0 w 92"/>
              <a:gd name="T1" fmla="*/ 0 h 219"/>
              <a:gd name="T2" fmla="*/ 2147483647 w 92"/>
              <a:gd name="T3" fmla="*/ 2147483647 h 219"/>
              <a:gd name="T4" fmla="*/ 2147483647 w 92"/>
              <a:gd name="T5" fmla="*/ 2147483647 h 219"/>
              <a:gd name="T6" fmla="*/ 2147483647 w 92"/>
              <a:gd name="T7" fmla="*/ 2147483647 h 219"/>
              <a:gd name="T8" fmla="*/ 2147483647 w 92"/>
              <a:gd name="T9" fmla="*/ 2147483647 h 219"/>
              <a:gd name="T10" fmla="*/ 2147483647 w 92"/>
              <a:gd name="T11" fmla="*/ 2147483647 h 219"/>
              <a:gd name="T12" fmla="*/ 2147483647 w 92"/>
              <a:gd name="T13" fmla="*/ 2147483647 h 219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92"/>
              <a:gd name="T22" fmla="*/ 0 h 219"/>
              <a:gd name="T23" fmla="*/ 92 w 92"/>
              <a:gd name="T24" fmla="*/ 219 h 219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92" h="219">
                <a:moveTo>
                  <a:pt x="0" y="0"/>
                </a:moveTo>
                <a:cubicBezTo>
                  <a:pt x="16" y="18"/>
                  <a:pt x="33" y="36"/>
                  <a:pt x="44" y="51"/>
                </a:cubicBezTo>
                <a:cubicBezTo>
                  <a:pt x="55" y="66"/>
                  <a:pt x="60" y="80"/>
                  <a:pt x="66" y="93"/>
                </a:cubicBezTo>
                <a:cubicBezTo>
                  <a:pt x="72" y="106"/>
                  <a:pt x="77" y="120"/>
                  <a:pt x="81" y="132"/>
                </a:cubicBezTo>
                <a:cubicBezTo>
                  <a:pt x="85" y="144"/>
                  <a:pt x="87" y="157"/>
                  <a:pt x="89" y="167"/>
                </a:cubicBezTo>
                <a:cubicBezTo>
                  <a:pt x="91" y="177"/>
                  <a:pt x="92" y="186"/>
                  <a:pt x="92" y="195"/>
                </a:cubicBezTo>
                <a:cubicBezTo>
                  <a:pt x="92" y="204"/>
                  <a:pt x="92" y="211"/>
                  <a:pt x="92" y="219"/>
                </a:cubicBezTo>
              </a:path>
            </a:pathLst>
          </a:custGeom>
          <a:noFill/>
          <a:ln w="76200" cmpd="sng">
            <a:solidFill>
              <a:schemeClr val="tx2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/>
          <a:p>
            <a:endParaRPr lang="pt-BR" sz="1350"/>
          </a:p>
        </p:txBody>
      </p:sp>
      <p:sp>
        <p:nvSpPr>
          <p:cNvPr id="237612" name="Freeform 45"/>
          <p:cNvSpPr>
            <a:spLocks/>
          </p:cNvSpPr>
          <p:nvPr/>
        </p:nvSpPr>
        <p:spPr bwMode="auto">
          <a:xfrm>
            <a:off x="6246094" y="2990496"/>
            <a:ext cx="290512" cy="386953"/>
          </a:xfrm>
          <a:custGeom>
            <a:avLst/>
            <a:gdLst>
              <a:gd name="T0" fmla="*/ 2147483647 w 132"/>
              <a:gd name="T1" fmla="*/ 0 h 284"/>
              <a:gd name="T2" fmla="*/ 2147483647 w 132"/>
              <a:gd name="T3" fmla="*/ 2147483647 h 284"/>
              <a:gd name="T4" fmla="*/ 2147483647 w 132"/>
              <a:gd name="T5" fmla="*/ 2147483647 h 284"/>
              <a:gd name="T6" fmla="*/ 2147483647 w 132"/>
              <a:gd name="T7" fmla="*/ 2147483647 h 284"/>
              <a:gd name="T8" fmla="*/ 2147483647 w 132"/>
              <a:gd name="T9" fmla="*/ 2147483647 h 284"/>
              <a:gd name="T10" fmla="*/ 2147483647 w 132"/>
              <a:gd name="T11" fmla="*/ 2147483647 h 284"/>
              <a:gd name="T12" fmla="*/ 2147483647 w 132"/>
              <a:gd name="T13" fmla="*/ 2147483647 h 284"/>
              <a:gd name="T14" fmla="*/ 0 w 132"/>
              <a:gd name="T15" fmla="*/ 2147483647 h 284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132"/>
              <a:gd name="T25" fmla="*/ 0 h 284"/>
              <a:gd name="T26" fmla="*/ 132 w 132"/>
              <a:gd name="T27" fmla="*/ 284 h 284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132" h="284">
                <a:moveTo>
                  <a:pt x="132" y="0"/>
                </a:moveTo>
                <a:cubicBezTo>
                  <a:pt x="132" y="7"/>
                  <a:pt x="132" y="15"/>
                  <a:pt x="132" y="27"/>
                </a:cubicBezTo>
                <a:cubicBezTo>
                  <a:pt x="132" y="39"/>
                  <a:pt x="131" y="57"/>
                  <a:pt x="129" y="72"/>
                </a:cubicBezTo>
                <a:cubicBezTo>
                  <a:pt x="127" y="87"/>
                  <a:pt x="123" y="101"/>
                  <a:pt x="118" y="116"/>
                </a:cubicBezTo>
                <a:cubicBezTo>
                  <a:pt x="113" y="131"/>
                  <a:pt x="107" y="150"/>
                  <a:pt x="100" y="164"/>
                </a:cubicBezTo>
                <a:cubicBezTo>
                  <a:pt x="93" y="178"/>
                  <a:pt x="84" y="190"/>
                  <a:pt x="75" y="203"/>
                </a:cubicBezTo>
                <a:cubicBezTo>
                  <a:pt x="66" y="216"/>
                  <a:pt x="56" y="226"/>
                  <a:pt x="43" y="240"/>
                </a:cubicBezTo>
                <a:cubicBezTo>
                  <a:pt x="30" y="254"/>
                  <a:pt x="15" y="269"/>
                  <a:pt x="0" y="284"/>
                </a:cubicBezTo>
              </a:path>
            </a:pathLst>
          </a:custGeom>
          <a:noFill/>
          <a:ln w="76200" cmpd="sng">
            <a:solidFill>
              <a:schemeClr val="tx2"/>
            </a:solidFill>
            <a:round/>
            <a:headEnd type="none" w="med" len="med"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/>
          <a:p>
            <a:endParaRPr lang="pt-BR" sz="1350"/>
          </a:p>
        </p:txBody>
      </p:sp>
      <p:sp>
        <p:nvSpPr>
          <p:cNvPr id="1102894" name="Line 46"/>
          <p:cNvSpPr>
            <a:spLocks noChangeShapeType="1"/>
          </p:cNvSpPr>
          <p:nvPr/>
        </p:nvSpPr>
        <p:spPr bwMode="auto">
          <a:xfrm>
            <a:off x="2164633" y="3223858"/>
            <a:ext cx="2860675" cy="0"/>
          </a:xfrm>
          <a:prstGeom prst="line">
            <a:avLst/>
          </a:prstGeom>
          <a:noFill/>
          <a:ln w="28575">
            <a:solidFill>
              <a:schemeClr val="tx2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pt-BR" sz="1350"/>
          </a:p>
        </p:txBody>
      </p:sp>
      <p:sp>
        <p:nvSpPr>
          <p:cNvPr id="1102895" name="Line 47"/>
          <p:cNvSpPr>
            <a:spLocks noChangeShapeType="1"/>
          </p:cNvSpPr>
          <p:nvPr/>
        </p:nvSpPr>
        <p:spPr bwMode="auto">
          <a:xfrm flipV="1">
            <a:off x="2161457" y="3215523"/>
            <a:ext cx="4763" cy="871538"/>
          </a:xfrm>
          <a:prstGeom prst="line">
            <a:avLst/>
          </a:prstGeom>
          <a:noFill/>
          <a:ln w="28575">
            <a:solidFill>
              <a:schemeClr val="tx2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pt-BR" sz="1350"/>
          </a:p>
        </p:txBody>
      </p:sp>
      <p:sp>
        <p:nvSpPr>
          <p:cNvPr id="1102896" name="Line 48"/>
          <p:cNvSpPr>
            <a:spLocks noChangeShapeType="1"/>
          </p:cNvSpPr>
          <p:nvPr/>
        </p:nvSpPr>
        <p:spPr bwMode="auto">
          <a:xfrm>
            <a:off x="3156819" y="2037996"/>
            <a:ext cx="0" cy="877490"/>
          </a:xfrm>
          <a:prstGeom prst="line">
            <a:avLst/>
          </a:prstGeom>
          <a:noFill/>
          <a:ln w="28575">
            <a:solidFill>
              <a:schemeClr val="tx2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pt-BR" sz="1350"/>
          </a:p>
        </p:txBody>
      </p:sp>
      <p:sp>
        <p:nvSpPr>
          <p:cNvPr id="1102897" name="Line 49"/>
          <p:cNvSpPr>
            <a:spLocks noChangeShapeType="1"/>
          </p:cNvSpPr>
          <p:nvPr/>
        </p:nvSpPr>
        <p:spPr bwMode="auto">
          <a:xfrm>
            <a:off x="3156821" y="2908342"/>
            <a:ext cx="1868487" cy="0"/>
          </a:xfrm>
          <a:prstGeom prst="line">
            <a:avLst/>
          </a:prstGeom>
          <a:noFill/>
          <a:ln w="28575">
            <a:solidFill>
              <a:schemeClr val="tx2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pt-BR" sz="1350"/>
          </a:p>
        </p:txBody>
      </p:sp>
      <p:sp>
        <p:nvSpPr>
          <p:cNvPr id="1102898" name="Line 50"/>
          <p:cNvSpPr>
            <a:spLocks noChangeShapeType="1"/>
          </p:cNvSpPr>
          <p:nvPr/>
        </p:nvSpPr>
        <p:spPr bwMode="auto">
          <a:xfrm>
            <a:off x="5533306" y="2037995"/>
            <a:ext cx="0" cy="541734"/>
          </a:xfrm>
          <a:prstGeom prst="line">
            <a:avLst/>
          </a:prstGeom>
          <a:noFill/>
          <a:ln w="28575">
            <a:solidFill>
              <a:schemeClr val="tx2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pt-BR" sz="1350"/>
          </a:p>
        </p:txBody>
      </p:sp>
      <p:sp>
        <p:nvSpPr>
          <p:cNvPr id="1102899" name="Line 51"/>
          <p:cNvSpPr>
            <a:spLocks noChangeShapeType="1"/>
          </p:cNvSpPr>
          <p:nvPr/>
        </p:nvSpPr>
        <p:spPr bwMode="auto">
          <a:xfrm flipV="1">
            <a:off x="6461994" y="2037995"/>
            <a:ext cx="0" cy="541734"/>
          </a:xfrm>
          <a:prstGeom prst="line">
            <a:avLst/>
          </a:prstGeom>
          <a:noFill/>
          <a:ln w="28575">
            <a:solidFill>
              <a:schemeClr val="tx2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pt-BR" sz="1350"/>
          </a:p>
        </p:txBody>
      </p:sp>
      <p:sp>
        <p:nvSpPr>
          <p:cNvPr id="1102900" name="Line 52"/>
          <p:cNvSpPr>
            <a:spLocks noChangeShapeType="1"/>
          </p:cNvSpPr>
          <p:nvPr/>
        </p:nvSpPr>
        <p:spPr bwMode="auto">
          <a:xfrm>
            <a:off x="6985870" y="3047645"/>
            <a:ext cx="285751" cy="0"/>
          </a:xfrm>
          <a:prstGeom prst="line">
            <a:avLst/>
          </a:prstGeom>
          <a:noFill/>
          <a:ln w="28575">
            <a:solidFill>
              <a:schemeClr val="tx2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pt-BR" sz="1350"/>
          </a:p>
        </p:txBody>
      </p:sp>
      <p:sp>
        <p:nvSpPr>
          <p:cNvPr id="1102901" name="Line 53"/>
          <p:cNvSpPr>
            <a:spLocks noChangeShapeType="1"/>
          </p:cNvSpPr>
          <p:nvPr/>
        </p:nvSpPr>
        <p:spPr bwMode="auto">
          <a:xfrm>
            <a:off x="7262094" y="3040501"/>
            <a:ext cx="0" cy="1314450"/>
          </a:xfrm>
          <a:prstGeom prst="line">
            <a:avLst/>
          </a:prstGeom>
          <a:noFill/>
          <a:ln w="28575">
            <a:solidFill>
              <a:schemeClr val="tx2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pt-BR" sz="1350"/>
          </a:p>
        </p:txBody>
      </p:sp>
      <p:sp>
        <p:nvSpPr>
          <p:cNvPr id="1102902" name="Line 54"/>
          <p:cNvSpPr>
            <a:spLocks noChangeShapeType="1"/>
          </p:cNvSpPr>
          <p:nvPr/>
        </p:nvSpPr>
        <p:spPr bwMode="auto">
          <a:xfrm flipH="1">
            <a:off x="7009680" y="4351379"/>
            <a:ext cx="261939" cy="0"/>
          </a:xfrm>
          <a:prstGeom prst="line">
            <a:avLst/>
          </a:prstGeom>
          <a:noFill/>
          <a:ln w="28575">
            <a:solidFill>
              <a:schemeClr val="tx2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pt-BR" sz="1350"/>
          </a:p>
        </p:txBody>
      </p:sp>
      <p:sp>
        <p:nvSpPr>
          <p:cNvPr id="1102903" name="Line 55"/>
          <p:cNvSpPr>
            <a:spLocks noChangeShapeType="1"/>
          </p:cNvSpPr>
          <p:nvPr/>
        </p:nvSpPr>
        <p:spPr bwMode="auto">
          <a:xfrm flipV="1">
            <a:off x="5995270" y="3490558"/>
            <a:ext cx="0" cy="610790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pt-BR" sz="1350"/>
          </a:p>
        </p:txBody>
      </p:sp>
      <p:sp>
        <p:nvSpPr>
          <p:cNvPr id="1102904" name="Line 56"/>
          <p:cNvSpPr>
            <a:spLocks noChangeShapeType="1"/>
          </p:cNvSpPr>
          <p:nvPr/>
        </p:nvSpPr>
        <p:spPr bwMode="auto">
          <a:xfrm>
            <a:off x="5995270" y="4509121"/>
            <a:ext cx="0" cy="489347"/>
          </a:xfrm>
          <a:prstGeom prst="line">
            <a:avLst/>
          </a:prstGeom>
          <a:noFill/>
          <a:ln w="28575">
            <a:solidFill>
              <a:schemeClr val="tx2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pt-BR" sz="1350"/>
          </a:p>
        </p:txBody>
      </p:sp>
      <p:sp>
        <p:nvSpPr>
          <p:cNvPr id="1102905" name="Line 57"/>
          <p:cNvSpPr>
            <a:spLocks noChangeShapeType="1"/>
          </p:cNvSpPr>
          <p:nvPr/>
        </p:nvSpPr>
        <p:spPr bwMode="auto">
          <a:xfrm flipH="1" flipV="1">
            <a:off x="3166345" y="5263641"/>
            <a:ext cx="1790700" cy="3572"/>
          </a:xfrm>
          <a:prstGeom prst="line">
            <a:avLst/>
          </a:prstGeom>
          <a:noFill/>
          <a:ln w="28575">
            <a:solidFill>
              <a:schemeClr val="tx2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pt-BR" sz="1350"/>
          </a:p>
        </p:txBody>
      </p:sp>
      <p:sp>
        <p:nvSpPr>
          <p:cNvPr id="1102906" name="Line 58"/>
          <p:cNvSpPr>
            <a:spLocks noChangeShapeType="1"/>
          </p:cNvSpPr>
          <p:nvPr/>
        </p:nvSpPr>
        <p:spPr bwMode="auto">
          <a:xfrm flipV="1">
            <a:off x="2151931" y="4568838"/>
            <a:ext cx="0" cy="503635"/>
          </a:xfrm>
          <a:prstGeom prst="line">
            <a:avLst/>
          </a:prstGeom>
          <a:noFill/>
          <a:ln w="28575">
            <a:solidFill>
              <a:schemeClr val="tx2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pt-BR" sz="1350"/>
          </a:p>
        </p:txBody>
      </p:sp>
      <p:sp>
        <p:nvSpPr>
          <p:cNvPr id="237626" name="Text Box 38"/>
          <p:cNvSpPr txBox="1">
            <a:spLocks noChangeArrowheads="1"/>
          </p:cNvSpPr>
          <p:nvPr/>
        </p:nvSpPr>
        <p:spPr bwMode="auto">
          <a:xfrm>
            <a:off x="3377482" y="3987049"/>
            <a:ext cx="546100" cy="3231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pitchFamily="18" charset="0"/>
                <a:cs typeface="Arial" pitchFamily="34" charset="0"/>
              </a:defRPr>
            </a:lvl9pPr>
          </a:lstStyle>
          <a:p>
            <a:pPr algn="ctr">
              <a:spcBef>
                <a:spcPct val="50000"/>
              </a:spcBef>
            </a:pPr>
            <a:r>
              <a:rPr lang="pt-BR" sz="1500">
                <a:solidFill>
                  <a:schemeClr val="tx2"/>
                </a:solidFill>
                <a:latin typeface="Arial" pitchFamily="34" charset="0"/>
              </a:rPr>
              <a:t>5b</a:t>
            </a:r>
          </a:p>
        </p:txBody>
      </p:sp>
      <p:sp>
        <p:nvSpPr>
          <p:cNvPr id="237627" name="Oval 39"/>
          <p:cNvSpPr>
            <a:spLocks noChangeArrowheads="1"/>
          </p:cNvSpPr>
          <p:nvPr/>
        </p:nvSpPr>
        <p:spPr bwMode="auto">
          <a:xfrm>
            <a:off x="3447331" y="3971570"/>
            <a:ext cx="355600" cy="323850"/>
          </a:xfrm>
          <a:prstGeom prst="ellipse">
            <a:avLst/>
          </a:prstGeom>
          <a:noFill/>
          <a:ln w="28575">
            <a:solidFill>
              <a:schemeClr val="tx2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anchor="ctr"/>
          <a:lstStyle/>
          <a:p>
            <a:endParaRPr lang="pt-BR" sz="1500"/>
          </a:p>
        </p:txBody>
      </p:sp>
      <p:sp>
        <p:nvSpPr>
          <p:cNvPr id="1102907" name="Line 59"/>
          <p:cNvSpPr>
            <a:spLocks noChangeShapeType="1"/>
          </p:cNvSpPr>
          <p:nvPr/>
        </p:nvSpPr>
        <p:spPr bwMode="auto">
          <a:xfrm flipH="1">
            <a:off x="3180634" y="4365667"/>
            <a:ext cx="1033463" cy="0"/>
          </a:xfrm>
          <a:prstGeom prst="line">
            <a:avLst/>
          </a:prstGeom>
          <a:noFill/>
          <a:ln w="28575">
            <a:solidFill>
              <a:schemeClr val="tx2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pt-BR" sz="1350"/>
          </a:p>
        </p:txBody>
      </p:sp>
      <p:sp>
        <p:nvSpPr>
          <p:cNvPr id="1102908" name="Line 60"/>
          <p:cNvSpPr>
            <a:spLocks noChangeShapeType="1"/>
          </p:cNvSpPr>
          <p:nvPr/>
        </p:nvSpPr>
        <p:spPr bwMode="auto">
          <a:xfrm flipH="1">
            <a:off x="4202980" y="4354951"/>
            <a:ext cx="11114" cy="908690"/>
          </a:xfrm>
          <a:prstGeom prst="line">
            <a:avLst/>
          </a:prstGeom>
          <a:noFill/>
          <a:ln w="28575">
            <a:solidFill>
              <a:schemeClr val="tx2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pt-BR" sz="1350"/>
          </a:p>
        </p:txBody>
      </p:sp>
      <p:sp>
        <p:nvSpPr>
          <p:cNvPr id="62" name="Line 58"/>
          <p:cNvSpPr>
            <a:spLocks noChangeShapeType="1"/>
          </p:cNvSpPr>
          <p:nvPr/>
        </p:nvSpPr>
        <p:spPr bwMode="auto">
          <a:xfrm flipH="1" flipV="1">
            <a:off x="5961931" y="3549785"/>
            <a:ext cx="14216" cy="532050"/>
          </a:xfrm>
          <a:prstGeom prst="line">
            <a:avLst/>
          </a:prstGeom>
          <a:noFill/>
          <a:ln w="28575">
            <a:solidFill>
              <a:schemeClr val="tx2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pt-BR" sz="1350"/>
          </a:p>
        </p:txBody>
      </p:sp>
    </p:spTree>
    <p:extLst>
      <p:ext uri="{BB962C8B-B14F-4D97-AF65-F5344CB8AC3E}">
        <p14:creationId xmlns:p14="http://schemas.microsoft.com/office/powerpoint/2010/main" val="14952238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75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in)">
                                      <p:cBhvr>
                                        <p:cTn id="7" dur="500"/>
                                        <p:tgtEl>
                                          <p:spTgt spid="23758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4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75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in)">
                                      <p:cBhvr>
                                        <p:cTn id="10" dur="500"/>
                                        <p:tgtEl>
                                          <p:spTgt spid="23758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500"/>
                            </p:stCondLst>
                            <p:childTnLst>
                              <p:par>
                                <p:cTn id="12" presetID="4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75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in)">
                                      <p:cBhvr>
                                        <p:cTn id="14" dur="500"/>
                                        <p:tgtEl>
                                          <p:spTgt spid="23757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4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75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in)">
                                      <p:cBhvr>
                                        <p:cTn id="17" dur="500"/>
                                        <p:tgtEl>
                                          <p:spTgt spid="23758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0290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2" dur="500"/>
                                        <p:tgtEl>
                                          <p:spTgt spid="110290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759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759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028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9" dur="500"/>
                                        <p:tgtEl>
                                          <p:spTgt spid="110286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0" fill="hold">
                      <p:stCondLst>
                        <p:cond delay="indefinite"/>
                      </p:stCondLst>
                      <p:childTnLst>
                        <p:par>
                          <p:cTn id="31" fill="hold">
                            <p:stCondLst>
                              <p:cond delay="0"/>
                            </p:stCondLst>
                            <p:childTnLst>
                              <p:par>
                                <p:cTn id="32" presetID="4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0288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in)">
                                      <p:cBhvr>
                                        <p:cTn id="34" dur="500"/>
                                        <p:tgtEl>
                                          <p:spTgt spid="110288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4" presetClass="entr" presetSubtype="3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028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out)">
                                      <p:cBhvr>
                                        <p:cTn id="37" dur="500"/>
                                        <p:tgtEl>
                                          <p:spTgt spid="110288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8" fill="hold">
                            <p:stCondLst>
                              <p:cond delay="500"/>
                            </p:stCondLst>
                            <p:childTnLst>
                              <p:par>
                                <p:cTn id="3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0290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1" dur="500"/>
                                        <p:tgtEl>
                                          <p:spTgt spid="110290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2" fill="hold">
                            <p:stCondLst>
                              <p:cond delay="1000"/>
                            </p:stCondLst>
                            <p:childTnLst>
                              <p:par>
                                <p:cTn id="43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0290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45" dur="500"/>
                                        <p:tgtEl>
                                          <p:spTgt spid="110290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6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759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8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759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0" presetID="4" presetClass="entr" presetSubtype="3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028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out)">
                                      <p:cBhvr>
                                        <p:cTn id="52" dur="500"/>
                                        <p:tgtEl>
                                          <p:spTgt spid="110287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3" fill="hold">
                            <p:stCondLst>
                              <p:cond delay="1500"/>
                            </p:stCondLst>
                            <p:childTnLst>
                              <p:par>
                                <p:cTn id="54" presetID="2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0290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56" dur="500"/>
                                        <p:tgtEl>
                                          <p:spTgt spid="110290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7" fill="hold">
                      <p:stCondLst>
                        <p:cond delay="indefinite"/>
                      </p:stCondLst>
                      <p:childTnLst>
                        <p:par>
                          <p:cTn id="58" fill="hold">
                            <p:stCondLst>
                              <p:cond delay="0"/>
                            </p:stCondLst>
                            <p:childTnLst>
                              <p:par>
                                <p:cTn id="59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0289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61" dur="500"/>
                                        <p:tgtEl>
                                          <p:spTgt spid="110289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2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028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64" dur="500"/>
                                        <p:tgtEl>
                                          <p:spTgt spid="110286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760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760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9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0289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1" dur="500"/>
                                        <p:tgtEl>
                                          <p:spTgt spid="110289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2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028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4" dur="500"/>
                                        <p:tgtEl>
                                          <p:spTgt spid="110286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5" presetID="1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760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7" presetID="4" presetClass="entr" presetSubtype="3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75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out)">
                                      <p:cBhvr>
                                        <p:cTn id="79" dur="500"/>
                                        <p:tgtEl>
                                          <p:spTgt spid="23758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0" presetID="4" presetClass="entr" presetSubtype="3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75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out)">
                                      <p:cBhvr>
                                        <p:cTn id="82" dur="500"/>
                                        <p:tgtEl>
                                          <p:spTgt spid="23758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3" fill="hold">
                      <p:stCondLst>
                        <p:cond delay="indefinite"/>
                      </p:stCondLst>
                      <p:childTnLst>
                        <p:par>
                          <p:cTn id="84" fill="hold">
                            <p:stCondLst>
                              <p:cond delay="0"/>
                            </p:stCondLst>
                            <p:childTnLst>
                              <p:par>
                                <p:cTn id="85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87" dur="500"/>
                                        <p:tgtEl>
                                          <p:spTgt spid="6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8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75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0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75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2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028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94" dur="500"/>
                                        <p:tgtEl>
                                          <p:spTgt spid="110287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5" fill="hold">
                      <p:stCondLst>
                        <p:cond delay="indefinite"/>
                      </p:stCondLst>
                      <p:childTnLst>
                        <p:par>
                          <p:cTn id="96" fill="hold">
                            <p:stCondLst>
                              <p:cond delay="0"/>
                            </p:stCondLst>
                            <p:childTnLst>
                              <p:par>
                                <p:cTn id="97" presetID="4" presetClass="entr" presetSubtype="3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75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out)">
                                      <p:cBhvr>
                                        <p:cTn id="99" dur="500"/>
                                        <p:tgtEl>
                                          <p:spTgt spid="23758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0" presetID="4" presetClass="entr" presetSubtype="3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75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out)">
                                      <p:cBhvr>
                                        <p:cTn id="102" dur="500"/>
                                        <p:tgtEl>
                                          <p:spTgt spid="23758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3" fill="hold">
                            <p:stCondLst>
                              <p:cond delay="500"/>
                            </p:stCondLst>
                            <p:childTnLst>
                              <p:par>
                                <p:cTn id="104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0289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06" dur="500"/>
                                        <p:tgtEl>
                                          <p:spTgt spid="110289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7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028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09" dur="500"/>
                                        <p:tgtEl>
                                          <p:spTgt spid="110286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0" fill="hold">
                            <p:stCondLst>
                              <p:cond delay="1000"/>
                            </p:stCondLst>
                            <p:childTnLst>
                              <p:par>
                                <p:cTn id="111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0289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3" dur="500"/>
                                        <p:tgtEl>
                                          <p:spTgt spid="110289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4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760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6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760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8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028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20" dur="500"/>
                                        <p:tgtEl>
                                          <p:spTgt spid="110286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1" fill="hold">
                      <p:stCondLst>
                        <p:cond delay="indefinite"/>
                      </p:stCondLst>
                      <p:childTnLst>
                        <p:par>
                          <p:cTn id="122" fill="hold">
                            <p:stCondLst>
                              <p:cond delay="0"/>
                            </p:stCondLst>
                            <p:childTnLst>
                              <p:par>
                                <p:cTn id="123" presetID="22" presetClass="entr" presetSubtype="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0290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25" dur="500"/>
                                        <p:tgtEl>
                                          <p:spTgt spid="110290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6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760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28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760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0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028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32" dur="500"/>
                                        <p:tgtEl>
                                          <p:spTgt spid="110287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3" fill="hold">
                            <p:stCondLst>
                              <p:cond delay="500"/>
                            </p:stCondLst>
                            <p:childTnLst>
                              <p:par>
                                <p:cTn id="134" presetID="4" presetClass="entr" presetSubtype="3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75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out)">
                                      <p:cBhvr>
                                        <p:cTn id="136" dur="500"/>
                                        <p:tgtEl>
                                          <p:spTgt spid="23757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7" presetID="4" presetClass="entr" presetSubtype="3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75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out)">
                                      <p:cBhvr>
                                        <p:cTn id="139" dur="500"/>
                                        <p:tgtEl>
                                          <p:spTgt spid="23757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0" fill="hold">
                            <p:stCondLst>
                              <p:cond delay="1000"/>
                            </p:stCondLst>
                            <p:childTnLst>
                              <p:par>
                                <p:cTn id="141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0290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43" dur="500"/>
                                        <p:tgtEl>
                                          <p:spTgt spid="110290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4" fill="hold">
                            <p:stCondLst>
                              <p:cond delay="1500"/>
                            </p:stCondLst>
                            <p:childTnLst>
                              <p:par>
                                <p:cTn id="145" presetID="2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0290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47" dur="500"/>
                                        <p:tgtEl>
                                          <p:spTgt spid="110290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8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76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0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76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2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028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54" dur="500"/>
                                        <p:tgtEl>
                                          <p:spTgt spid="110287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5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0290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57" dur="500"/>
                                        <p:tgtEl>
                                          <p:spTgt spid="110290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8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028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60" dur="500"/>
                                        <p:tgtEl>
                                          <p:spTgt spid="110286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1" fill="hold">
                            <p:stCondLst>
                              <p:cond delay="2000"/>
                            </p:stCondLst>
                            <p:childTnLst>
                              <p:par>
                                <p:cTn id="162" presetID="4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75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in)">
                                      <p:cBhvr>
                                        <p:cTn id="164" dur="500"/>
                                        <p:tgtEl>
                                          <p:spTgt spid="23757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5" presetID="4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75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in)">
                                      <p:cBhvr>
                                        <p:cTn id="167" dur="500"/>
                                        <p:tgtEl>
                                          <p:spTgt spid="23757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8" fill="hold">
                            <p:stCondLst>
                              <p:cond delay="2500"/>
                            </p:stCondLst>
                            <p:childTnLst>
                              <p:par>
                                <p:cTn id="169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0289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71" dur="500"/>
                                        <p:tgtEl>
                                          <p:spTgt spid="110289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2" fill="hold">
                            <p:stCondLst>
                              <p:cond delay="3000"/>
                            </p:stCondLst>
                            <p:childTnLst>
                              <p:par>
                                <p:cTn id="173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028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75" dur="500"/>
                                        <p:tgtEl>
                                          <p:spTgt spid="110289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6" fill="hold">
                            <p:stCondLst>
                              <p:cond delay="3500"/>
                            </p:stCondLst>
                            <p:childTnLst>
                              <p:par>
                                <p:cTn id="177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0289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79" dur="500"/>
                                        <p:tgtEl>
                                          <p:spTgt spid="110289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0" fill="hold">
                            <p:stCondLst>
                              <p:cond delay="4000"/>
                            </p:stCondLst>
                            <p:childTnLst>
                              <p:par>
                                <p:cTn id="181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028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83" dur="500"/>
                                        <p:tgtEl>
                                          <p:spTgt spid="110289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4" fill="hold">
                            <p:stCondLst>
                              <p:cond delay="4500"/>
                            </p:stCondLst>
                            <p:childTnLst>
                              <p:par>
                                <p:cTn id="185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76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87" dur="500"/>
                                        <p:tgtEl>
                                          <p:spTgt spid="2376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8" fill="hold">
                            <p:stCondLst>
                              <p:cond delay="5000"/>
                            </p:stCondLst>
                            <p:childTnLst>
                              <p:par>
                                <p:cTn id="189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76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91" dur="500"/>
                                        <p:tgtEl>
                                          <p:spTgt spid="2376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2" fill="hold">
                            <p:stCondLst>
                              <p:cond delay="5500"/>
                            </p:stCondLst>
                            <p:childTnLst>
                              <p:par>
                                <p:cTn id="193" presetID="2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028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95" dur="500"/>
                                        <p:tgtEl>
                                          <p:spTgt spid="110289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02872" grpId="0"/>
      <p:bldP spid="237572" grpId="0"/>
      <p:bldP spid="237573" grpId="0" animBg="1"/>
      <p:bldP spid="237575" grpId="0"/>
      <p:bldP spid="237576" grpId="0" animBg="1"/>
      <p:bldP spid="237577" grpId="0"/>
      <p:bldP spid="237578" grpId="0" animBg="1"/>
      <p:bldP spid="237579" grpId="0"/>
      <p:bldP spid="237580" grpId="0" animBg="1"/>
      <p:bldP spid="237581" grpId="0"/>
      <p:bldP spid="237582" grpId="0" animBg="1"/>
      <p:bldP spid="237583" grpId="0"/>
      <p:bldP spid="237584" grpId="0" animBg="1"/>
      <p:bldP spid="237585" grpId="0"/>
      <p:bldP spid="237586" grpId="0" animBg="1"/>
      <p:bldP spid="1102864" grpId="0"/>
      <p:bldP spid="1102865" grpId="0"/>
      <p:bldP spid="1102866" grpId="0"/>
      <p:bldP spid="1102867" grpId="0"/>
      <p:bldP spid="1102868" grpId="0"/>
      <p:bldP spid="1102869" grpId="0"/>
      <p:bldP spid="1102870" grpId="0"/>
      <p:bldP spid="1102871" grpId="0"/>
      <p:bldP spid="1102873" grpId="0"/>
      <p:bldP spid="237596" grpId="0"/>
      <p:bldP spid="237597" grpId="0" animBg="1"/>
      <p:bldP spid="237598" grpId="0"/>
      <p:bldP spid="237599" grpId="0" animBg="1"/>
      <p:bldP spid="237600" grpId="0"/>
      <p:bldP spid="237601" grpId="0" animBg="1"/>
      <p:bldP spid="237601" grpId="1" animBg="1"/>
      <p:bldP spid="237602" grpId="0"/>
      <p:bldP spid="237603" grpId="0" animBg="1"/>
      <p:bldP spid="237604" grpId="0"/>
      <p:bldP spid="237605" grpId="0" animBg="1"/>
      <p:bldP spid="1102888" grpId="0"/>
      <p:bldP spid="1102889" grpId="0" animBg="1"/>
      <p:bldP spid="1102890" grpId="0" animBg="1"/>
      <p:bldP spid="1102891" grpId="0" animBg="1"/>
      <p:bldP spid="1102892" grpId="0" animBg="1"/>
      <p:bldP spid="237611" grpId="0" animBg="1"/>
      <p:bldP spid="237612" grpId="0" animBg="1"/>
      <p:bldP spid="1102894" grpId="0" animBg="1"/>
      <p:bldP spid="1102895" grpId="0" animBg="1"/>
      <p:bldP spid="1102896" grpId="0" animBg="1"/>
      <p:bldP spid="1102897" grpId="0" animBg="1"/>
      <p:bldP spid="1102898" grpId="0" animBg="1"/>
      <p:bldP spid="1102899" grpId="0" animBg="1"/>
      <p:bldP spid="1102900" grpId="0" animBg="1"/>
      <p:bldP spid="1102901" grpId="0" animBg="1"/>
      <p:bldP spid="1102902" grpId="0" animBg="1"/>
      <p:bldP spid="1102904" grpId="0" animBg="1"/>
      <p:bldP spid="1102905" grpId="0" animBg="1"/>
      <p:bldP spid="1102906" grpId="0" animBg="1"/>
      <p:bldP spid="237626" grpId="0"/>
      <p:bldP spid="237627" grpId="0" animBg="1"/>
      <p:bldP spid="1102907" grpId="0" animBg="1"/>
      <p:bldP spid="1102908" grpId="0" animBg="1"/>
      <p:bldP spid="62" grpId="0" animBg="1"/>
    </p:bldLst>
  </p:timing>
</p:sld>
</file>

<file path=ppt/slides/slide9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3330" name="Rectangle 2"/>
          <p:cNvSpPr>
            <a:spLocks noChangeArrowheads="1"/>
          </p:cNvSpPr>
          <p:nvPr/>
        </p:nvSpPr>
        <p:spPr bwMode="auto">
          <a:xfrm>
            <a:off x="0" y="897733"/>
            <a:ext cx="9144000" cy="69532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anchor="ctr"/>
          <a:lstStyle/>
          <a:p>
            <a:pPr algn="ctr">
              <a:defRPr/>
            </a:pPr>
            <a:r>
              <a:rPr lang="en-US" sz="2700" b="1">
                <a:solidFill>
                  <a:schemeClr val="tx2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Tahoma" pitchFamily="34" charset="0"/>
              </a:rPr>
              <a:t>Securitização de Créditos</a:t>
            </a:r>
          </a:p>
        </p:txBody>
      </p:sp>
      <p:pic>
        <p:nvPicPr>
          <p:cNvPr id="238596" name="Picture 3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5829" y="1496971"/>
            <a:ext cx="8880667" cy="445230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0034889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9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3330" name="Rectangle 2"/>
          <p:cNvSpPr>
            <a:spLocks noChangeArrowheads="1"/>
          </p:cNvSpPr>
          <p:nvPr/>
        </p:nvSpPr>
        <p:spPr bwMode="auto">
          <a:xfrm>
            <a:off x="0" y="897733"/>
            <a:ext cx="9144000" cy="69532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anchor="ctr"/>
          <a:lstStyle/>
          <a:p>
            <a:pPr algn="ctr">
              <a:defRPr/>
            </a:pPr>
            <a:r>
              <a:rPr lang="en-US" sz="2700" b="1">
                <a:solidFill>
                  <a:schemeClr val="tx2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Tahoma" pitchFamily="34" charset="0"/>
              </a:rPr>
              <a:t>Securitização de Créditos</a:t>
            </a:r>
          </a:p>
        </p:txBody>
      </p:sp>
      <p:pic>
        <p:nvPicPr>
          <p:cNvPr id="239620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0784" y="2564608"/>
            <a:ext cx="8905536" cy="19445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9273061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9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03874" name="Rectangle 2"/>
          <p:cNvSpPr>
            <a:spLocks noChangeArrowheads="1"/>
          </p:cNvSpPr>
          <p:nvPr/>
        </p:nvSpPr>
        <p:spPr bwMode="auto">
          <a:xfrm>
            <a:off x="0" y="897733"/>
            <a:ext cx="9144000" cy="69532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anchor="ctr"/>
          <a:lstStyle/>
          <a:p>
            <a:pPr algn="ctr">
              <a:defRPr/>
            </a:pPr>
            <a:r>
              <a:rPr lang="en-US" sz="2700" b="1">
                <a:solidFill>
                  <a:schemeClr val="tx2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Tahoma" pitchFamily="34" charset="0"/>
              </a:rPr>
              <a:t>Algumas Características</a:t>
            </a:r>
          </a:p>
        </p:txBody>
      </p:sp>
      <p:graphicFrame>
        <p:nvGraphicFramePr>
          <p:cNvPr id="1104094" name="Group 222"/>
          <p:cNvGraphicFramePr>
            <a:graphicFrameLocks noGrp="1"/>
          </p:cNvGraphicFramePr>
          <p:nvPr>
            <p:ph sz="quarter" idx="13"/>
            <p:extLst>
              <p:ext uri="{D42A27DB-BD31-4B8C-83A1-F6EECF244321}">
                <p14:modId xmlns:p14="http://schemas.microsoft.com/office/powerpoint/2010/main" val="1108755761"/>
              </p:ext>
            </p:extLst>
          </p:nvPr>
        </p:nvGraphicFramePr>
        <p:xfrm>
          <a:off x="971601" y="1486589"/>
          <a:ext cx="7031040" cy="1295400"/>
        </p:xfrm>
        <a:graphic>
          <a:graphicData uri="http://schemas.openxmlformats.org/drawingml/2006/table">
            <a:tbl>
              <a:tblPr/>
              <a:tblGrid>
                <a:gridCol w="7031040"/>
              </a:tblGrid>
              <a:tr h="1295400">
                <a:tc>
                  <a:txBody>
                    <a:bodyPr/>
                    <a:lstStyle/>
                    <a:p>
                      <a:pPr marL="342900" marR="0" lvl="0" indent="-34290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5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1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pitchFamily="34" charset="0"/>
                          <a:cs typeface="Times New Roman" pitchFamily="18" charset="0"/>
                        </a:rPr>
                        <a:t>Critérios de Elegibilidade</a:t>
                      </a:r>
                    </a:p>
                    <a:p>
                      <a:pPr marL="342900" marR="0" lvl="0" indent="-3429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50000"/>
                        </a:spcAft>
                        <a:buClrTx/>
                        <a:buSzTx/>
                        <a:buFontTx/>
                        <a:buChar char="•"/>
                        <a:tabLst/>
                      </a:pPr>
                      <a:r>
                        <a:rPr kumimoji="0" lang="pt-BR" sz="1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pitchFamily="34" charset="0"/>
                          <a:cs typeface="Times New Roman" pitchFamily="18" charset="0"/>
                        </a:rPr>
                        <a:t>Vencimento entre 5 e 250 dias</a:t>
                      </a:r>
                    </a:p>
                    <a:p>
                      <a:pPr marL="342900" marR="0" lvl="0" indent="-3429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50000"/>
                        </a:spcAft>
                        <a:buClrTx/>
                        <a:buSzTx/>
                        <a:buFontTx/>
                        <a:buChar char="•"/>
                        <a:tabLst/>
                      </a:pPr>
                      <a:r>
                        <a:rPr kumimoji="0" lang="pt-BR" sz="1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pitchFamily="34" charset="0"/>
                          <a:cs typeface="Times New Roman" pitchFamily="18" charset="0"/>
                        </a:rPr>
                        <a:t>Concentração por Região Geográfica:</a:t>
                      </a:r>
                      <a:endParaRPr kumimoji="0" lang="pt-BR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1496" marR="91496" marT="34290" marB="34290" horzOverflow="overflow">
                    <a:lnL cap="flat">
                      <a:noFill/>
                    </a:lnL>
                    <a:lnR cap="flat"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graphicFrame>
        <p:nvGraphicFramePr>
          <p:cNvPr id="1104100" name="Group 22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62964994"/>
              </p:ext>
            </p:extLst>
          </p:nvPr>
        </p:nvGraphicFramePr>
        <p:xfrm>
          <a:off x="971600" y="2704597"/>
          <a:ext cx="7545389" cy="2614614"/>
        </p:xfrm>
        <a:graphic>
          <a:graphicData uri="http://schemas.openxmlformats.org/drawingml/2006/table">
            <a:tbl>
              <a:tblPr/>
              <a:tblGrid>
                <a:gridCol w="5156114"/>
                <a:gridCol w="2389275"/>
              </a:tblGrid>
              <a:tr h="435769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1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Região Geográfica</a:t>
                      </a:r>
                    </a:p>
                  </a:txBody>
                  <a:tcPr marT="34290" marB="34290" anchor="ctr" horzOverflow="overflow">
                    <a:lnL cap="flat"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1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% máximo do PL</a:t>
                      </a:r>
                    </a:p>
                  </a:txBody>
                  <a:tcPr marT="34290" marB="34290" anchor="ctr" horzOverflow="overflow">
                    <a:lnL>
                      <a:noFill/>
                    </a:lnL>
                    <a:lnR cap="flat">
                      <a:noFill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435769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1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Cerrado – Leste</a:t>
                      </a:r>
                    </a:p>
                  </a:txBody>
                  <a:tcPr marT="34290" marB="34290" anchor="ctr" horzOverflow="overflow">
                    <a:lnL cap="flat"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1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30%</a:t>
                      </a:r>
                    </a:p>
                  </a:txBody>
                  <a:tcPr marT="34290" marB="34290" anchor="ctr" horzOverflow="overflow">
                    <a:lnL>
                      <a:noFill/>
                    </a:lnL>
                    <a:lnR cap="flat">
                      <a:noFill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435769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1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Cerrado – Oeste</a:t>
                      </a:r>
                    </a:p>
                  </a:txBody>
                  <a:tcPr marT="34290" marB="34290" anchor="ctr" horzOverflow="overflow">
                    <a:lnL cap="flat"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1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25%</a:t>
                      </a:r>
                    </a:p>
                  </a:txBody>
                  <a:tcPr marT="34290" marB="34290" anchor="ctr" horzOverflow="overflow">
                    <a:lnL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435769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1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Paraná</a:t>
                      </a:r>
                    </a:p>
                  </a:txBody>
                  <a:tcPr marT="34290" marB="34290" anchor="ctr" horzOverflow="overflow">
                    <a:lnL cap="flat"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1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35%</a:t>
                      </a:r>
                    </a:p>
                  </a:txBody>
                  <a:tcPr marT="34290" marB="34290" anchor="ctr" horzOverflow="overflow">
                    <a:lnL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435769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1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Santa Catarina e Rio Grande do Norte</a:t>
                      </a:r>
                    </a:p>
                  </a:txBody>
                  <a:tcPr marT="34290" marB="34290" anchor="ctr" horzOverflow="overflow">
                    <a:lnL cap="flat"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1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25%</a:t>
                      </a:r>
                    </a:p>
                  </a:txBody>
                  <a:tcPr marT="34290" marB="34290" anchor="ctr" horzOverflow="overflow">
                    <a:lnL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435769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1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Sudeste e Nordeste</a:t>
                      </a:r>
                    </a:p>
                  </a:txBody>
                  <a:tcPr marT="34290" marB="34290" anchor="ctr" horzOverflow="overflow">
                    <a:lnL cap="flat"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1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35%</a:t>
                      </a:r>
                    </a:p>
                  </a:txBody>
                  <a:tcPr marT="34290" marB="34290" anchor="ctr" horzOverflow="overflow">
                    <a:lnL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4563473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9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0258" name="Rectangle 2"/>
          <p:cNvSpPr>
            <a:spLocks noChangeArrowheads="1"/>
          </p:cNvSpPr>
          <p:nvPr/>
        </p:nvSpPr>
        <p:spPr bwMode="auto">
          <a:xfrm>
            <a:off x="0" y="897733"/>
            <a:ext cx="9144000" cy="69532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anchor="ctr"/>
          <a:lstStyle/>
          <a:p>
            <a:pPr algn="ctr">
              <a:defRPr/>
            </a:pPr>
            <a:r>
              <a:rPr lang="en-US" sz="2700" b="1">
                <a:solidFill>
                  <a:schemeClr val="tx2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Tahoma" pitchFamily="34" charset="0"/>
              </a:rPr>
              <a:t>Algumas Características</a:t>
            </a:r>
          </a:p>
        </p:txBody>
      </p:sp>
      <p:graphicFrame>
        <p:nvGraphicFramePr>
          <p:cNvPr id="1120303" name="Group 47"/>
          <p:cNvGraphicFramePr>
            <a:graphicFrameLocks noGrp="1"/>
          </p:cNvGraphicFramePr>
          <p:nvPr>
            <p:ph sz="quarter" idx="13"/>
            <p:extLst/>
          </p:nvPr>
        </p:nvGraphicFramePr>
        <p:xfrm>
          <a:off x="1357313" y="1844280"/>
          <a:ext cx="7031040" cy="2263379"/>
        </p:xfrm>
        <a:graphic>
          <a:graphicData uri="http://schemas.openxmlformats.org/drawingml/2006/table">
            <a:tbl>
              <a:tblPr/>
              <a:tblGrid>
                <a:gridCol w="7031040"/>
              </a:tblGrid>
              <a:tr h="2263379">
                <a:tc>
                  <a:txBody>
                    <a:bodyPr/>
                    <a:lstStyle/>
                    <a:p>
                      <a:pPr marL="342900" marR="0" lvl="0" indent="-34290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5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1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pitchFamily="34" charset="0"/>
                          <a:cs typeface="Times New Roman" pitchFamily="18" charset="0"/>
                        </a:rPr>
                        <a:t>Critérios de Elegibilidade</a:t>
                      </a:r>
                    </a:p>
                    <a:p>
                      <a:pPr marL="342900" marR="0" lvl="0" indent="-3429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50000"/>
                        </a:spcAft>
                        <a:buClrTx/>
                        <a:buSzTx/>
                        <a:buFontTx/>
                        <a:buChar char="•"/>
                        <a:tabLst/>
                      </a:pPr>
                      <a:r>
                        <a:rPr kumimoji="0" lang="pt-BR" sz="1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pitchFamily="34" charset="0"/>
                          <a:cs typeface="Times New Roman" pitchFamily="18" charset="0"/>
                        </a:rPr>
                        <a:t>Vencimento entre 5 e 250 dias</a:t>
                      </a:r>
                    </a:p>
                    <a:p>
                      <a:pPr marL="342900" marR="0" lvl="0" indent="-3429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50000"/>
                        </a:spcAft>
                        <a:buClrTx/>
                        <a:buSzTx/>
                        <a:buFontTx/>
                        <a:buChar char="•"/>
                        <a:tabLst/>
                      </a:pPr>
                      <a:r>
                        <a:rPr kumimoji="0" lang="pt-BR" sz="1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pitchFamily="34" charset="0"/>
                          <a:cs typeface="Times New Roman" pitchFamily="18" charset="0"/>
                        </a:rPr>
                        <a:t>Concentração por Região Geográfica</a:t>
                      </a:r>
                    </a:p>
                    <a:p>
                      <a:pPr marL="342900" marR="0" lvl="0" indent="-3429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50000"/>
                        </a:spcAft>
                        <a:buClrTx/>
                        <a:buSzTx/>
                        <a:buFontTx/>
                        <a:buChar char="•"/>
                        <a:tabLst/>
                      </a:pPr>
                      <a:r>
                        <a:rPr kumimoji="0" lang="pt-BR" sz="1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Direitos creditórios cujos produtos tenham sido entregues há mais de 15 dias</a:t>
                      </a:r>
                    </a:p>
                    <a:p>
                      <a:pPr marL="342900" marR="0" lvl="0" indent="-3429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50000"/>
                        </a:spcAft>
                        <a:buClrTx/>
                        <a:buSzTx/>
                        <a:buFontTx/>
                        <a:buChar char="•"/>
                        <a:tabLst/>
                      </a:pPr>
                      <a:r>
                        <a:rPr kumimoji="0" lang="pt-BR" sz="1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…</a:t>
                      </a:r>
                    </a:p>
                  </a:txBody>
                  <a:tcPr marL="91496" marR="91496" marT="34294" marB="34294" horzOverflow="overflow">
                    <a:lnL cap="flat">
                      <a:noFill/>
                    </a:lnL>
                    <a:lnR cap="flat"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7880311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9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06946" name="Rectangle 2"/>
          <p:cNvSpPr>
            <a:spLocks noChangeArrowheads="1"/>
          </p:cNvSpPr>
          <p:nvPr/>
        </p:nvSpPr>
        <p:spPr bwMode="auto">
          <a:xfrm>
            <a:off x="0" y="897733"/>
            <a:ext cx="9144000" cy="69532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anchor="ctr"/>
          <a:lstStyle/>
          <a:p>
            <a:pPr algn="ctr">
              <a:defRPr/>
            </a:pPr>
            <a:r>
              <a:rPr lang="en-US" sz="2700" b="1">
                <a:solidFill>
                  <a:schemeClr val="tx2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Tahoma" pitchFamily="34" charset="0"/>
              </a:rPr>
              <a:t>Algumas Características</a:t>
            </a:r>
          </a:p>
        </p:txBody>
      </p:sp>
      <p:graphicFrame>
        <p:nvGraphicFramePr>
          <p:cNvPr id="1107176" name="Group 232"/>
          <p:cNvGraphicFramePr>
            <a:graphicFrameLocks noGrp="1"/>
          </p:cNvGraphicFramePr>
          <p:nvPr>
            <p:ph sz="quarter" idx="13"/>
            <p:extLst/>
          </p:nvPr>
        </p:nvGraphicFramePr>
        <p:xfrm>
          <a:off x="683420" y="1573078"/>
          <a:ext cx="7777163" cy="1316831"/>
        </p:xfrm>
        <a:graphic>
          <a:graphicData uri="http://schemas.openxmlformats.org/drawingml/2006/table">
            <a:tbl>
              <a:tblPr/>
              <a:tblGrid>
                <a:gridCol w="7777163"/>
              </a:tblGrid>
              <a:tr h="1316831">
                <a:tc>
                  <a:txBody>
                    <a:bodyPr/>
                    <a:lstStyle/>
                    <a:p>
                      <a:pPr marL="342900" marR="0" lvl="0" indent="-34290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5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1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pitchFamily="34" charset="0"/>
                          <a:cs typeface="Times New Roman" pitchFamily="18" charset="0"/>
                        </a:rPr>
                        <a:t>Direitos Creditórios</a:t>
                      </a:r>
                    </a:p>
                  </a:txBody>
                  <a:tcPr marL="91496" marR="91496" marT="34290" marB="34290" horzOverflow="overflow">
                    <a:lnL cap="flat">
                      <a:noFill/>
                    </a:lnL>
                    <a:lnR cap="flat"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pic>
        <p:nvPicPr>
          <p:cNvPr id="242694" name="Picture 371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7544" y="1862827"/>
            <a:ext cx="8392296" cy="431778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564978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9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34594" name="Rectangle 2"/>
          <p:cNvSpPr>
            <a:spLocks noChangeArrowheads="1"/>
          </p:cNvSpPr>
          <p:nvPr/>
        </p:nvSpPr>
        <p:spPr bwMode="auto">
          <a:xfrm>
            <a:off x="0" y="897733"/>
            <a:ext cx="9144000" cy="69532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anchor="ctr"/>
          <a:lstStyle/>
          <a:p>
            <a:pPr algn="ctr">
              <a:defRPr/>
            </a:pPr>
            <a:r>
              <a:rPr lang="en-US" sz="2700" b="1">
                <a:solidFill>
                  <a:schemeClr val="tx2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Tahoma" pitchFamily="34" charset="0"/>
              </a:rPr>
              <a:t>Algumas Características</a:t>
            </a:r>
          </a:p>
        </p:txBody>
      </p:sp>
      <p:graphicFrame>
        <p:nvGraphicFramePr>
          <p:cNvPr id="1134595" name="Group 3"/>
          <p:cNvGraphicFramePr>
            <a:graphicFrameLocks noGrp="1"/>
          </p:cNvGraphicFramePr>
          <p:nvPr>
            <p:ph sz="quarter" idx="13"/>
            <p:extLst/>
          </p:nvPr>
        </p:nvGraphicFramePr>
        <p:xfrm>
          <a:off x="1357313" y="1538793"/>
          <a:ext cx="7031040" cy="1316831"/>
        </p:xfrm>
        <a:graphic>
          <a:graphicData uri="http://schemas.openxmlformats.org/drawingml/2006/table">
            <a:tbl>
              <a:tblPr/>
              <a:tblGrid>
                <a:gridCol w="7031040"/>
              </a:tblGrid>
              <a:tr h="1316831">
                <a:tc>
                  <a:txBody>
                    <a:bodyPr/>
                    <a:lstStyle/>
                    <a:p>
                      <a:pPr marL="342900" marR="0" lvl="0" indent="-34290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50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1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pitchFamily="34" charset="0"/>
                          <a:cs typeface="Times New Roman" pitchFamily="18" charset="0"/>
                        </a:rPr>
                        <a:t>Direitos Creditórios</a:t>
                      </a:r>
                    </a:p>
                    <a:p>
                      <a:pPr marL="342900" marR="0" lvl="0" indent="-3429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50000"/>
                        </a:spcAft>
                        <a:buClrTx/>
                        <a:buSzTx/>
                        <a:buFontTx/>
                        <a:buChar char="•"/>
                        <a:tabLst/>
                      </a:pPr>
                      <a:r>
                        <a:rPr kumimoji="0" lang="pt-BR" sz="1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pitchFamily="34" charset="0"/>
                          <a:cs typeface="Times New Roman" pitchFamily="18" charset="0"/>
                        </a:rPr>
                        <a:t>Concentração por tipo de cliente</a:t>
                      </a:r>
                      <a:endParaRPr kumimoji="0" lang="pt-BR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1496" marR="91496" marT="34290" marB="34290" horzOverflow="overflow">
                    <a:lnL cap="flat">
                      <a:noFill/>
                    </a:lnL>
                    <a:lnR cap="flat"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graphicFrame>
        <p:nvGraphicFramePr>
          <p:cNvPr id="1134684" name="Group 9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93631629"/>
              </p:ext>
            </p:extLst>
          </p:nvPr>
        </p:nvGraphicFramePr>
        <p:xfrm>
          <a:off x="899592" y="2448429"/>
          <a:ext cx="7418391" cy="2818316"/>
        </p:xfrm>
        <a:graphic>
          <a:graphicData uri="http://schemas.openxmlformats.org/drawingml/2006/table">
            <a:tbl>
              <a:tblPr/>
              <a:tblGrid>
                <a:gridCol w="3158452"/>
                <a:gridCol w="2191636"/>
                <a:gridCol w="595400"/>
                <a:gridCol w="1472903"/>
              </a:tblGrid>
              <a:tr h="486764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21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Carteira securitizável</a:t>
                      </a:r>
                    </a:p>
                  </a:txBody>
                  <a:tcPr marT="34276" marB="34276" anchor="ctr" horzOverflow="overflow">
                    <a:lnL cap="flat"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21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Milhares de Reais</a:t>
                      </a:r>
                    </a:p>
                  </a:txBody>
                  <a:tcPr marT="34276" marB="34276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21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%</a:t>
                      </a:r>
                    </a:p>
                  </a:txBody>
                  <a:tcPr marT="34276" marB="34276" anchor="ctr" horzOverflow="overflow">
                    <a:lnL>
                      <a:noFill/>
                    </a:lnL>
                    <a:lnR cap="flat">
                      <a:noFill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88592">
                <a:tc>
                  <a:txBody>
                    <a:bodyPr/>
                    <a:lstStyle/>
                    <a:p>
                      <a:pPr marL="0" marR="0" lvl="0" indent="536575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21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Direto</a:t>
                      </a:r>
                    </a:p>
                  </a:txBody>
                  <a:tcPr marT="34276" marB="34276" anchor="ctr" horzOverflow="overflow">
                    <a:lnL cap="flat"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2511425" algn="l"/>
                          <a:tab pos="3048000" algn="l"/>
                        </a:tabLst>
                      </a:pPr>
                      <a:r>
                        <a:rPr kumimoji="0" lang="pt-BR" sz="21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664.874</a:t>
                      </a:r>
                    </a:p>
                  </a:txBody>
                  <a:tcPr marT="34276" marB="34276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21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13,82%</a:t>
                      </a:r>
                    </a:p>
                  </a:txBody>
                  <a:tcPr marT="34276" marB="34276" anchor="ctr" horzOverflow="overflow">
                    <a:lnL>
                      <a:noFill/>
                    </a:lnL>
                    <a:lnR cap="flat">
                      <a:noFill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</a:tr>
              <a:tr h="388592">
                <a:tc>
                  <a:txBody>
                    <a:bodyPr/>
                    <a:lstStyle/>
                    <a:p>
                      <a:pPr marL="0" marR="0" lvl="0" indent="536575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21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Distribuidor</a:t>
                      </a:r>
                    </a:p>
                  </a:txBody>
                  <a:tcPr marT="34276" marB="34276" anchor="ctr" horzOverflow="overflow">
                    <a:lnL cap="flat"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21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1.763.255</a:t>
                      </a:r>
                    </a:p>
                  </a:txBody>
                  <a:tcPr marT="34276" marB="34276"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21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36,66%</a:t>
                      </a:r>
                    </a:p>
                  </a:txBody>
                  <a:tcPr marT="34276" marB="34276" anchor="ctr" horzOverflow="overflow">
                    <a:lnL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88592">
                <a:tc>
                  <a:txBody>
                    <a:bodyPr/>
                    <a:lstStyle/>
                    <a:p>
                      <a:pPr marL="0" marR="0" lvl="0" indent="536575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21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Cooperativa</a:t>
                      </a:r>
                    </a:p>
                  </a:txBody>
                  <a:tcPr marT="34276" marB="34276" anchor="ctr" horzOverflow="overflow">
                    <a:lnL cap="flat"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21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1.121.873</a:t>
                      </a:r>
                    </a:p>
                  </a:txBody>
                  <a:tcPr marT="34276" marB="34276"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21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23,32%</a:t>
                      </a:r>
                    </a:p>
                  </a:txBody>
                  <a:tcPr marT="34276" marB="34276" anchor="ctr" horzOverflow="overflow">
                    <a:lnL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88592">
                <a:tc>
                  <a:txBody>
                    <a:bodyPr/>
                    <a:lstStyle/>
                    <a:p>
                      <a:pPr marL="0" marR="0" lvl="0" indent="536575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21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Industrial</a:t>
                      </a:r>
                    </a:p>
                  </a:txBody>
                  <a:tcPr marT="34276" marB="34276" anchor="ctr" horzOverflow="overflow">
                    <a:lnL cap="flat"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21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1.259.941</a:t>
                      </a:r>
                    </a:p>
                  </a:txBody>
                  <a:tcPr marT="34276" marB="34276"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21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26,19%</a:t>
                      </a:r>
                    </a:p>
                  </a:txBody>
                  <a:tcPr marT="34276" marB="34276" anchor="ctr" horzOverflow="overflow">
                    <a:lnL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88592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pt-BR" sz="21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T="34276" marB="34276" anchor="ctr" horzOverflow="overflow">
                    <a:lnL cap="flat"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pt-BR" sz="21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T="34276" marB="34276"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pt-BR" sz="21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T="34276" marB="34276" anchor="ctr" horzOverflow="overflow">
                    <a:lnL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88592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21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Total</a:t>
                      </a:r>
                    </a:p>
                  </a:txBody>
                  <a:tcPr marT="34276" marB="34276" anchor="ctr" horzOverflow="overflow">
                    <a:lnL cap="flat"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21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4.809.943</a:t>
                      </a:r>
                    </a:p>
                  </a:txBody>
                  <a:tcPr marT="34276" marB="34276"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2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100,00%</a:t>
                      </a:r>
                    </a:p>
                  </a:txBody>
                  <a:tcPr marT="34276" marB="34276" anchor="ctr" horzOverflow="overflow">
                    <a:lnL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2172502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_rels/them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theme1.xml><?xml version="1.0" encoding="utf-8"?>
<a:theme xmlns:a="http://schemas.openxmlformats.org/drawingml/2006/main" name="Capital Próprio">
  <a:themeElements>
    <a:clrScheme name="Capital Próprio">
      <a:dk1>
        <a:sysClr val="windowText" lastClr="000000"/>
      </a:dk1>
      <a:lt1>
        <a:sysClr val="window" lastClr="FFFFFF"/>
      </a:lt1>
      <a:dk2>
        <a:srgbClr val="696464"/>
      </a:dk2>
      <a:lt2>
        <a:srgbClr val="E9E5DC"/>
      </a:lt2>
      <a:accent1>
        <a:srgbClr val="D34817"/>
      </a:accent1>
      <a:accent2>
        <a:srgbClr val="9B2D1F"/>
      </a:accent2>
      <a:accent3>
        <a:srgbClr val="A28E6A"/>
      </a:accent3>
      <a:accent4>
        <a:srgbClr val="956251"/>
      </a:accent4>
      <a:accent5>
        <a:srgbClr val="918485"/>
      </a:accent5>
      <a:accent6>
        <a:srgbClr val="855D5D"/>
      </a:accent6>
      <a:hlink>
        <a:srgbClr val="CC9900"/>
      </a:hlink>
      <a:folHlink>
        <a:srgbClr val="96A9A9"/>
      </a:folHlink>
    </a:clrScheme>
    <a:fontScheme name="Capital Próprio">
      <a:majorFont>
        <a:latin typeface="Franklin Gothic Book"/>
        <a:ea typeface=""/>
        <a:cs typeface=""/>
        <a:font script="Grek" typeface="Calibri"/>
        <a:font script="Cyrl" typeface="Calibri"/>
        <a:font script="Jpan" typeface="HGｺﾞｼｯｸM"/>
        <a:font script="Hang" typeface="바탕"/>
        <a:font script="Hans" typeface="幼圆"/>
        <a:font script="Hant" typeface="微軟正黑體"/>
        <a:font script="Arab" typeface="Tahoma"/>
        <a:font script="Hebr" typeface="Aharoni"/>
        <a:font script="Thai" typeface="Lily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Perpetua"/>
        <a:ea typeface=""/>
        <a:cs typeface=""/>
        <a:font script="Grek" typeface="Cambria"/>
        <a:font script="Cyrl" typeface="Cambria"/>
        <a:font script="Jpan" typeface="HG創英ﾌﾟﾚｾﾞﾝｽEB"/>
        <a:font script="Hang" typeface="맑은 고딕"/>
        <a:font script="Hans" typeface="宋体"/>
        <a:font script="Hant" typeface="新細明體"/>
        <a:font script="Arab" typeface="Times New Roman"/>
        <a:font script="Hebr" typeface="Aharoni"/>
        <a:font script="Thai" typeface="EucrosiaUPC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inorFont>
    </a:fontScheme>
    <a:fmtScheme name="Capital Próprio">
      <a:fillStyleLst>
        <a:solidFill>
          <a:schemeClr val="phClr"/>
        </a:solidFill>
        <a:blipFill>
          <a:blip xmlns:r="http://schemas.openxmlformats.org/officeDocument/2006/relationships" r:embed="rId1">
            <a:duotone>
              <a:schemeClr val="phClr">
                <a:tint val="30000"/>
                <a:satMod val="300000"/>
              </a:schemeClr>
              <a:schemeClr val="phClr">
                <a:tint val="40000"/>
                <a:satMod val="200000"/>
              </a:schemeClr>
            </a:duotone>
          </a:blip>
          <a:tile tx="0" ty="0" sx="70000" sy="70000" flip="none" algn="ctr"/>
        </a:blipFill>
        <a:blipFill>
          <a:blip xmlns:r="http://schemas.openxmlformats.org/officeDocument/2006/relationships" r:embed="rId1">
            <a:duotone>
              <a:schemeClr val="phClr">
                <a:shade val="22000"/>
                <a:satMod val="160000"/>
              </a:schemeClr>
              <a:schemeClr val="phClr">
                <a:shade val="45000"/>
                <a:satMod val="100000"/>
              </a:schemeClr>
            </a:duotone>
          </a:blip>
          <a:tile tx="0" ty="0" sx="65000" sy="65000" flip="none" algn="ctr"/>
        </a:blipFill>
      </a:fillStyleLst>
      <a:lnStyleLst>
        <a:ln w="9525" cap="flat" cmpd="sng" algn="ctr">
          <a:solidFill>
            <a:schemeClr val="phClr">
              <a:shade val="60000"/>
              <a:satMod val="110000"/>
            </a:schemeClr>
          </a:solidFill>
          <a:prstDash val="solid"/>
        </a:ln>
        <a:ln w="127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38100" dist="25400" dir="5400000" algn="t" rotWithShape="0">
              <a:srgbClr val="000000">
                <a:alpha val="50000"/>
              </a:srgbClr>
            </a:outerShdw>
          </a:effectLst>
        </a:effectStyle>
        <a:effectStyle>
          <a:effectLst>
            <a:outerShdw blurRad="38100" dist="25400" dir="5400000" algn="t" rotWithShape="0">
              <a:srgbClr val="000000">
                <a:alpha val="50000"/>
              </a:srgbClr>
            </a:outerShdw>
          </a:effectLst>
        </a:effectStyle>
        <a:effectStyle>
          <a:effectLst>
            <a:outerShdw blurRad="50800" dist="50800" dir="5400000" algn="t" rotWithShape="0">
              <a:srgbClr val="000000">
                <a:alpha val="60000"/>
              </a:srgbClr>
            </a:outerShdw>
          </a:effectLst>
          <a:scene3d>
            <a:camera prst="isometricBottomUp" fov="0">
              <a:rot lat="0" lon="0" rev="0"/>
            </a:camera>
            <a:lightRig rig="soft" dir="b">
              <a:rot lat="0" lon="0" rev="9000000"/>
            </a:lightRig>
          </a:scene3d>
          <a:sp3d contourW="35000" prstMaterial="matte">
            <a:bevelT w="45000" h="38100" prst="convex"/>
            <a:contourClr>
              <a:schemeClr val="phClr">
                <a:tint val="10000"/>
                <a:satMod val="13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shade val="40000"/>
                <a:satMod val="165000"/>
              </a:schemeClr>
            </a:gs>
            <a:gs pos="50000">
              <a:schemeClr val="phClr">
                <a:shade val="80000"/>
                <a:satMod val="155000"/>
              </a:schemeClr>
            </a:gs>
            <a:gs pos="100000">
              <a:schemeClr val="phClr">
                <a:tint val="95000"/>
                <a:satMod val="200000"/>
              </a:schemeClr>
            </a:gs>
          </a:gsLst>
          <a:lin ang="16200000" scaled="1"/>
        </a:gradFill>
        <a:blipFill>
          <a:blip xmlns:r="http://schemas.openxmlformats.org/officeDocument/2006/relationships" r:embed="rId1">
            <a:duotone>
              <a:schemeClr val="phClr">
                <a:tint val="95000"/>
                <a:satMod val="200000"/>
              </a:schemeClr>
              <a:schemeClr val="phClr">
                <a:shade val="80000"/>
                <a:satMod val="100000"/>
              </a:schemeClr>
            </a:duotone>
          </a:blip>
          <a:tile tx="0" ty="0" sx="55000" sy="55000" flip="none" algn="tl"/>
        </a:blip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Tema do Office">
  <a:themeElements>
    <a:clrScheme name="Escritório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Escritório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Tema do Office">
  <a:themeElements>
    <a:clrScheme name="Escritório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Escritório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03 BASF darkgreen_colorsheme">
    <a:dk1>
      <a:sysClr val="windowText" lastClr="000000"/>
    </a:dk1>
    <a:lt1>
      <a:sysClr val="window" lastClr="FFFFFF"/>
    </a:lt1>
    <a:dk2>
      <a:srgbClr val="004E18"/>
    </a:dk2>
    <a:lt2>
      <a:srgbClr val="FFFFFF"/>
    </a:lt2>
    <a:accent1>
      <a:srgbClr val="00793A"/>
    </a:accent1>
    <a:accent2>
      <a:srgbClr val="379665"/>
    </a:accent2>
    <a:accent3>
      <a:srgbClr val="62AC86"/>
    </a:accent3>
    <a:accent4>
      <a:srgbClr val="A6D0BA"/>
    </a:accent4>
    <a:accent5>
      <a:srgbClr val="E0EFE7"/>
    </a:accent5>
    <a:accent6>
      <a:srgbClr val="808080"/>
    </a:accent6>
    <a:hlink>
      <a:srgbClr val="F39500"/>
    </a:hlink>
    <a:folHlink>
      <a:srgbClr val="FACF8C"/>
    </a:folHlink>
  </a:clrScheme>
  <a:fontScheme name="Larissa Klassisch 2">
    <a:majorFont>
      <a:latin typeface="Arial"/>
      <a:ea typeface=""/>
      <a:cs typeface="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ajorFont>
    <a:minorFont>
      <a:latin typeface="Arial"/>
      <a:ea typeface=""/>
      <a:cs typeface="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Larissa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Equity</Template>
  <TotalTime>18510</TotalTime>
  <Words>5610</Words>
  <Application>Microsoft Office PowerPoint</Application>
  <PresentationFormat>Apresentação na tela (4:3)</PresentationFormat>
  <Paragraphs>1300</Paragraphs>
  <Slides>117</Slides>
  <Notes>9</Notes>
  <HiddenSlides>0</HiddenSlides>
  <MMClips>0</MMClips>
  <ScaleCrop>false</ScaleCrop>
  <HeadingPairs>
    <vt:vector size="6" baseType="variant">
      <vt:variant>
        <vt:lpstr>Tema</vt:lpstr>
      </vt:variant>
      <vt:variant>
        <vt:i4>1</vt:i4>
      </vt:variant>
      <vt:variant>
        <vt:lpstr>Servidores OLE incorporados</vt:lpstr>
      </vt:variant>
      <vt:variant>
        <vt:i4>2</vt:i4>
      </vt:variant>
      <vt:variant>
        <vt:lpstr>Títulos de slides</vt:lpstr>
      </vt:variant>
      <vt:variant>
        <vt:i4>117</vt:i4>
      </vt:variant>
    </vt:vector>
  </HeadingPairs>
  <TitlesOfParts>
    <vt:vector size="120" baseType="lpstr">
      <vt:lpstr>Capital Próprio</vt:lpstr>
      <vt:lpstr>think-cell Folie</vt:lpstr>
      <vt:lpstr>Imagem de Bitmap</vt:lpstr>
      <vt:lpstr>Do Barter à Securitização</vt:lpstr>
      <vt:lpstr>Aula dia 30 de maio de 2017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Dinheiro Rural 104  junho 2013</vt:lpstr>
      <vt:lpstr>Apresentação do PowerPoint</vt:lpstr>
      <vt:lpstr>Apresentação do PowerPoint</vt:lpstr>
      <vt:lpstr>Diagnóstico....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O Crédito</vt:lpstr>
      <vt:lpstr>O Crédito</vt:lpstr>
      <vt:lpstr>O Crédito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ula dia 06 de junho de 2017</vt:lpstr>
      <vt:lpstr>Exercício </vt:lpstr>
      <vt:lpstr>Exercício </vt:lpstr>
      <vt:lpstr>Apresentação do PowerPoint</vt:lpstr>
      <vt:lpstr>Apresentação do PowerPoint</vt:lpstr>
      <vt:lpstr>Exercício </vt:lpstr>
      <vt:lpstr>Exercício </vt:lpstr>
      <vt:lpstr>Apresentação do PowerPoint</vt:lpstr>
      <vt:lpstr>Apresentação do PowerPoint</vt:lpstr>
      <vt:lpstr>Total: R$ 161,89 bilhões</vt:lpstr>
      <vt:lpstr>Instituições Públicas</vt:lpstr>
      <vt:lpstr>Apresentação do PowerPoint</vt:lpstr>
      <vt:lpstr>Apresentação do PowerPoint</vt:lpstr>
      <vt:lpstr>Apresentação do PowerPoint</vt:lpstr>
      <vt:lpstr>Apresentação do PowerPoint</vt:lpstr>
      <vt:lpstr>Total: R$ 161,81 bilhões</vt:lpstr>
      <vt:lpstr>Total: R$ 161,81 bilhões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Mecanismo de funcionamento do FIDC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presentação do PowerPoint</dc:title>
  <dc:creator>Roberto</dc:creator>
  <cp:lastModifiedBy>Roberto</cp:lastModifiedBy>
  <cp:revision>72</cp:revision>
  <cp:lastPrinted>2017-01-12T20:06:18Z</cp:lastPrinted>
  <dcterms:created xsi:type="dcterms:W3CDTF">2017-01-03T10:36:52Z</dcterms:created>
  <dcterms:modified xsi:type="dcterms:W3CDTF">2017-06-06T11:50:17Z</dcterms:modified>
</cp:coreProperties>
</file>